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3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90" r:id="rId2"/>
    <p:sldMasterId id="2147483709" r:id="rId3"/>
    <p:sldMasterId id="2147483744" r:id="rId4"/>
  </p:sldMasterIdLst>
  <p:notesMasterIdLst>
    <p:notesMasterId r:id="rId17"/>
  </p:notesMasterIdLst>
  <p:sldIdLst>
    <p:sldId id="14444" r:id="rId5"/>
    <p:sldId id="14375" r:id="rId6"/>
    <p:sldId id="14438" r:id="rId7"/>
    <p:sldId id="2147483613" r:id="rId8"/>
    <p:sldId id="2147483441" r:id="rId9"/>
    <p:sldId id="2147483450" r:id="rId10"/>
    <p:sldId id="2147483429" r:id="rId11"/>
    <p:sldId id="2147483424" r:id="rId12"/>
    <p:sldId id="2147483443" r:id="rId13"/>
    <p:sldId id="2147483612" r:id="rId14"/>
    <p:sldId id="2147483614" r:id="rId15"/>
    <p:sldId id="2147480453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923B79-0CD2-4CAB-BD46-3F7A432575C1}" v="35" dt="2025-04-03T13:15:43.44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55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lson Kuwabara" userId="1d9421ce-8841-4d39-87d6-ab608b836038" providerId="ADAL" clId="{5C923B79-0CD2-4CAB-BD46-3F7A432575C1}"/>
    <pc:docChg chg="undo redo custSel addSld delSld modSld sldOrd">
      <pc:chgData name="Wilson Kuwabara" userId="1d9421ce-8841-4d39-87d6-ab608b836038" providerId="ADAL" clId="{5C923B79-0CD2-4CAB-BD46-3F7A432575C1}" dt="2025-04-03T13:16:34.177" v="1077" actId="207"/>
      <pc:docMkLst>
        <pc:docMk/>
      </pc:docMkLst>
      <pc:sldChg chg="modSp mod">
        <pc:chgData name="Wilson Kuwabara" userId="1d9421ce-8841-4d39-87d6-ab608b836038" providerId="ADAL" clId="{5C923B79-0CD2-4CAB-BD46-3F7A432575C1}" dt="2025-04-03T13:12:39.142" v="987" actId="1076"/>
        <pc:sldMkLst>
          <pc:docMk/>
          <pc:sldMk cId="743832696" sldId="14375"/>
        </pc:sldMkLst>
        <pc:spChg chg="mod">
          <ac:chgData name="Wilson Kuwabara" userId="1d9421ce-8841-4d39-87d6-ab608b836038" providerId="ADAL" clId="{5C923B79-0CD2-4CAB-BD46-3F7A432575C1}" dt="2025-04-03T13:12:39.142" v="987" actId="1076"/>
          <ac:spMkLst>
            <pc:docMk/>
            <pc:sldMk cId="743832696" sldId="14375"/>
            <ac:spMk id="2" creationId="{00000000-0000-0000-0000-000000000000}"/>
          </ac:spMkLst>
        </pc:spChg>
        <pc:spChg chg="mod">
          <ac:chgData name="Wilson Kuwabara" userId="1d9421ce-8841-4d39-87d6-ab608b836038" providerId="ADAL" clId="{5C923B79-0CD2-4CAB-BD46-3F7A432575C1}" dt="2025-04-03T11:57:10.627" v="541"/>
          <ac:spMkLst>
            <pc:docMk/>
            <pc:sldMk cId="743832696" sldId="14375"/>
            <ac:spMk id="4" creationId="{00000000-0000-0000-0000-000000000000}"/>
          </ac:spMkLst>
        </pc:spChg>
      </pc:sldChg>
      <pc:sldChg chg="modSp mod">
        <pc:chgData name="Wilson Kuwabara" userId="1d9421ce-8841-4d39-87d6-ab608b836038" providerId="ADAL" clId="{5C923B79-0CD2-4CAB-BD46-3F7A432575C1}" dt="2025-04-03T12:28:40.029" v="973" actId="1076"/>
        <pc:sldMkLst>
          <pc:docMk/>
          <pc:sldMk cId="3598188095" sldId="14438"/>
        </pc:sldMkLst>
        <pc:spChg chg="mod">
          <ac:chgData name="Wilson Kuwabara" userId="1d9421ce-8841-4d39-87d6-ab608b836038" providerId="ADAL" clId="{5C923B79-0CD2-4CAB-BD46-3F7A432575C1}" dt="2025-04-03T12:28:40.029" v="973" actId="1076"/>
          <ac:spMkLst>
            <pc:docMk/>
            <pc:sldMk cId="3598188095" sldId="14438"/>
            <ac:spMk id="15" creationId="{103DA72F-4F1D-40CA-8983-67FE62E5B83F}"/>
          </ac:spMkLst>
        </pc:spChg>
      </pc:sldChg>
      <pc:sldChg chg="modSp mod">
        <pc:chgData name="Wilson Kuwabara" userId="1d9421ce-8841-4d39-87d6-ab608b836038" providerId="ADAL" clId="{5C923B79-0CD2-4CAB-BD46-3F7A432575C1}" dt="2025-04-03T13:12:24.186" v="986" actId="1076"/>
        <pc:sldMkLst>
          <pc:docMk/>
          <pc:sldMk cId="1308870148" sldId="14444"/>
        </pc:sldMkLst>
        <pc:spChg chg="mod">
          <ac:chgData name="Wilson Kuwabara" userId="1d9421ce-8841-4d39-87d6-ab608b836038" providerId="ADAL" clId="{5C923B79-0CD2-4CAB-BD46-3F7A432575C1}" dt="2025-04-03T13:12:24.186" v="986" actId="1076"/>
          <ac:spMkLst>
            <pc:docMk/>
            <pc:sldMk cId="1308870148" sldId="14444"/>
            <ac:spMk id="9" creationId="{00000000-0000-0000-0000-000000000000}"/>
          </ac:spMkLst>
        </pc:spChg>
      </pc:sldChg>
      <pc:sldChg chg="addSp delSp modSp mod ord">
        <pc:chgData name="Wilson Kuwabara" userId="1d9421ce-8841-4d39-87d6-ab608b836038" providerId="ADAL" clId="{5C923B79-0CD2-4CAB-BD46-3F7A432575C1}" dt="2025-04-03T12:14:29.035" v="864" actId="20577"/>
        <pc:sldMkLst>
          <pc:docMk/>
          <pc:sldMk cId="2211004703" sldId="2147483424"/>
        </pc:sldMkLst>
        <pc:spChg chg="mod">
          <ac:chgData name="Wilson Kuwabara" userId="1d9421ce-8841-4d39-87d6-ab608b836038" providerId="ADAL" clId="{5C923B79-0CD2-4CAB-BD46-3F7A432575C1}" dt="2025-04-03T12:14:29.035" v="864" actId="20577"/>
          <ac:spMkLst>
            <pc:docMk/>
            <pc:sldMk cId="2211004703" sldId="2147483424"/>
            <ac:spMk id="2" creationId="{F358DD9D-84AB-C2FA-33D7-2797493A41E5}"/>
          </ac:spMkLst>
        </pc:spChg>
        <pc:spChg chg="mod">
          <ac:chgData name="Wilson Kuwabara" userId="1d9421ce-8841-4d39-87d6-ab608b836038" providerId="ADAL" clId="{5C923B79-0CD2-4CAB-BD46-3F7A432575C1}" dt="2025-04-03T12:12:55.246" v="856" actId="20577"/>
          <ac:spMkLst>
            <pc:docMk/>
            <pc:sldMk cId="2211004703" sldId="2147483424"/>
            <ac:spMk id="5" creationId="{8495D899-0658-6A2E-16B5-2FF84BCF2D00}"/>
          </ac:spMkLst>
        </pc:spChg>
        <pc:spChg chg="mod topLvl">
          <ac:chgData name="Wilson Kuwabara" userId="1d9421ce-8841-4d39-87d6-ab608b836038" providerId="ADAL" clId="{5C923B79-0CD2-4CAB-BD46-3F7A432575C1}" dt="2025-04-03T11:59:51.860" v="548"/>
          <ac:spMkLst>
            <pc:docMk/>
            <pc:sldMk cId="2211004703" sldId="2147483424"/>
            <ac:spMk id="13" creationId="{43748E65-93A6-69A8-92D6-7AC5296DDA04}"/>
          </ac:spMkLst>
        </pc:spChg>
        <pc:spChg chg="mod">
          <ac:chgData name="Wilson Kuwabara" userId="1d9421ce-8841-4d39-87d6-ab608b836038" providerId="ADAL" clId="{5C923B79-0CD2-4CAB-BD46-3F7A432575C1}" dt="2025-04-03T11:48:12.057" v="126" actId="164"/>
          <ac:spMkLst>
            <pc:docMk/>
            <pc:sldMk cId="2211004703" sldId="2147483424"/>
            <ac:spMk id="15" creationId="{B2F69805-BDDF-141B-5E57-749F27F56E32}"/>
          </ac:spMkLst>
        </pc:spChg>
        <pc:spChg chg="mod topLvl">
          <ac:chgData name="Wilson Kuwabara" userId="1d9421ce-8841-4d39-87d6-ab608b836038" providerId="ADAL" clId="{5C923B79-0CD2-4CAB-BD46-3F7A432575C1}" dt="2025-04-03T11:59:51.860" v="548"/>
          <ac:spMkLst>
            <pc:docMk/>
            <pc:sldMk cId="2211004703" sldId="2147483424"/>
            <ac:spMk id="16" creationId="{E9FF8D79-C329-A808-0BB5-5AFF38742C61}"/>
          </ac:spMkLst>
        </pc:spChg>
        <pc:spChg chg="mod">
          <ac:chgData name="Wilson Kuwabara" userId="1d9421ce-8841-4d39-87d6-ab608b836038" providerId="ADAL" clId="{5C923B79-0CD2-4CAB-BD46-3F7A432575C1}" dt="2025-04-03T11:45:39.617" v="84" actId="165"/>
          <ac:spMkLst>
            <pc:docMk/>
            <pc:sldMk cId="2211004703" sldId="2147483424"/>
            <ac:spMk id="17" creationId="{37F09688-EE99-3183-F0BC-78565C0A7998}"/>
          </ac:spMkLst>
        </pc:spChg>
        <pc:spChg chg="mod topLvl">
          <ac:chgData name="Wilson Kuwabara" userId="1d9421ce-8841-4d39-87d6-ab608b836038" providerId="ADAL" clId="{5C923B79-0CD2-4CAB-BD46-3F7A432575C1}" dt="2025-04-03T11:59:51.860" v="548"/>
          <ac:spMkLst>
            <pc:docMk/>
            <pc:sldMk cId="2211004703" sldId="2147483424"/>
            <ac:spMk id="18" creationId="{7A6C268A-4528-6572-8C33-E95BC5A3584A}"/>
          </ac:spMkLst>
        </pc:spChg>
        <pc:spChg chg="mod">
          <ac:chgData name="Wilson Kuwabara" userId="1d9421ce-8841-4d39-87d6-ab608b836038" providerId="ADAL" clId="{5C923B79-0CD2-4CAB-BD46-3F7A432575C1}" dt="2025-04-03T11:48:12.057" v="126" actId="164"/>
          <ac:spMkLst>
            <pc:docMk/>
            <pc:sldMk cId="2211004703" sldId="2147483424"/>
            <ac:spMk id="19" creationId="{E1D686E3-7AB3-DD44-6FC2-B0DD652DBBF2}"/>
          </ac:spMkLst>
        </pc:spChg>
        <pc:spChg chg="mod">
          <ac:chgData name="Wilson Kuwabara" userId="1d9421ce-8841-4d39-87d6-ab608b836038" providerId="ADAL" clId="{5C923B79-0CD2-4CAB-BD46-3F7A432575C1}" dt="2025-04-03T11:48:12.057" v="126" actId="164"/>
          <ac:spMkLst>
            <pc:docMk/>
            <pc:sldMk cId="2211004703" sldId="2147483424"/>
            <ac:spMk id="21" creationId="{E955E56F-6C99-7816-C333-B95932460ADD}"/>
          </ac:spMkLst>
        </pc:spChg>
        <pc:spChg chg="mod topLvl">
          <ac:chgData name="Wilson Kuwabara" userId="1d9421ce-8841-4d39-87d6-ab608b836038" providerId="ADAL" clId="{5C923B79-0CD2-4CAB-BD46-3F7A432575C1}" dt="2025-04-03T11:59:51.860" v="548"/>
          <ac:spMkLst>
            <pc:docMk/>
            <pc:sldMk cId="2211004703" sldId="2147483424"/>
            <ac:spMk id="22" creationId="{DA148930-C79D-F61A-E7A2-3591D2CF5648}"/>
          </ac:spMkLst>
        </pc:spChg>
        <pc:spChg chg="mod">
          <ac:chgData name="Wilson Kuwabara" userId="1d9421ce-8841-4d39-87d6-ab608b836038" providerId="ADAL" clId="{5C923B79-0CD2-4CAB-BD46-3F7A432575C1}" dt="2025-04-03T11:48:12.057" v="126" actId="164"/>
          <ac:spMkLst>
            <pc:docMk/>
            <pc:sldMk cId="2211004703" sldId="2147483424"/>
            <ac:spMk id="23" creationId="{E6252F96-CBF7-FA00-42ED-4A372AAC3473}"/>
          </ac:spMkLst>
        </pc:spChg>
        <pc:spChg chg="mod">
          <ac:chgData name="Wilson Kuwabara" userId="1d9421ce-8841-4d39-87d6-ab608b836038" providerId="ADAL" clId="{5C923B79-0CD2-4CAB-BD46-3F7A432575C1}" dt="2025-04-03T11:47:53.964" v="125" actId="20577"/>
          <ac:spMkLst>
            <pc:docMk/>
            <pc:sldMk cId="2211004703" sldId="2147483424"/>
            <ac:spMk id="28" creationId="{5ABAD7DA-1D1C-2319-7521-0D6CA627B0E8}"/>
          </ac:spMkLst>
        </pc:spChg>
        <pc:spChg chg="mod topLvl">
          <ac:chgData name="Wilson Kuwabara" userId="1d9421ce-8841-4d39-87d6-ab608b836038" providerId="ADAL" clId="{5C923B79-0CD2-4CAB-BD46-3F7A432575C1}" dt="2025-04-03T11:59:51.860" v="548"/>
          <ac:spMkLst>
            <pc:docMk/>
            <pc:sldMk cId="2211004703" sldId="2147483424"/>
            <ac:spMk id="29" creationId="{F0BCEF58-12A6-0A5E-167F-64783545327E}"/>
          </ac:spMkLst>
        </pc:spChg>
        <pc:spChg chg="mod">
          <ac:chgData name="Wilson Kuwabara" userId="1d9421ce-8841-4d39-87d6-ab608b836038" providerId="ADAL" clId="{5C923B79-0CD2-4CAB-BD46-3F7A432575C1}" dt="2025-04-03T11:48:12.057" v="126" actId="164"/>
          <ac:spMkLst>
            <pc:docMk/>
            <pc:sldMk cId="2211004703" sldId="2147483424"/>
            <ac:spMk id="30" creationId="{91FF0AE0-7E2B-6D71-F85E-0EDE4B2E42B6}"/>
          </ac:spMkLst>
        </pc:spChg>
        <pc:spChg chg="mod">
          <ac:chgData name="Wilson Kuwabara" userId="1d9421ce-8841-4d39-87d6-ab608b836038" providerId="ADAL" clId="{5C923B79-0CD2-4CAB-BD46-3F7A432575C1}" dt="2025-04-03T11:45:39.617" v="84" actId="165"/>
          <ac:spMkLst>
            <pc:docMk/>
            <pc:sldMk cId="2211004703" sldId="2147483424"/>
            <ac:spMk id="64" creationId="{4B5921D5-6E3F-3C81-7806-1987E7BE5C8B}"/>
          </ac:spMkLst>
        </pc:spChg>
        <pc:spChg chg="mod">
          <ac:chgData name="Wilson Kuwabara" userId="1d9421ce-8841-4d39-87d6-ab608b836038" providerId="ADAL" clId="{5C923B79-0CD2-4CAB-BD46-3F7A432575C1}" dt="2025-04-03T11:45:39.617" v="84" actId="165"/>
          <ac:spMkLst>
            <pc:docMk/>
            <pc:sldMk cId="2211004703" sldId="2147483424"/>
            <ac:spMk id="65" creationId="{B28A3D55-BC90-5742-6E08-0493A02AA0BD}"/>
          </ac:spMkLst>
        </pc:spChg>
        <pc:spChg chg="mod">
          <ac:chgData name="Wilson Kuwabara" userId="1d9421ce-8841-4d39-87d6-ab608b836038" providerId="ADAL" clId="{5C923B79-0CD2-4CAB-BD46-3F7A432575C1}" dt="2025-04-03T11:48:12.057" v="126" actId="164"/>
          <ac:spMkLst>
            <pc:docMk/>
            <pc:sldMk cId="2211004703" sldId="2147483424"/>
            <ac:spMk id="67" creationId="{3401CA54-B054-DB79-124B-97A68C321102}"/>
          </ac:spMkLst>
        </pc:spChg>
        <pc:spChg chg="mod">
          <ac:chgData name="Wilson Kuwabara" userId="1d9421ce-8841-4d39-87d6-ab608b836038" providerId="ADAL" clId="{5C923B79-0CD2-4CAB-BD46-3F7A432575C1}" dt="2025-04-03T11:44:35.366" v="62" actId="20577"/>
          <ac:spMkLst>
            <pc:docMk/>
            <pc:sldMk cId="2211004703" sldId="2147483424"/>
            <ac:spMk id="68" creationId="{D21613DD-270A-1F0B-87D2-B78EB63C687B}"/>
          </ac:spMkLst>
        </pc:spChg>
        <pc:spChg chg="mod topLvl">
          <ac:chgData name="Wilson Kuwabara" userId="1d9421ce-8841-4d39-87d6-ab608b836038" providerId="ADAL" clId="{5C923B79-0CD2-4CAB-BD46-3F7A432575C1}" dt="2025-04-03T11:59:51.860" v="548"/>
          <ac:spMkLst>
            <pc:docMk/>
            <pc:sldMk cId="2211004703" sldId="2147483424"/>
            <ac:spMk id="69" creationId="{F15B2411-6BEF-610A-F472-3AA832467CD8}"/>
          </ac:spMkLst>
        </pc:spChg>
        <pc:spChg chg="mod">
          <ac:chgData name="Wilson Kuwabara" userId="1d9421ce-8841-4d39-87d6-ab608b836038" providerId="ADAL" clId="{5C923B79-0CD2-4CAB-BD46-3F7A432575C1}" dt="2025-04-03T11:44:43.988" v="74" actId="20577"/>
          <ac:spMkLst>
            <pc:docMk/>
            <pc:sldMk cId="2211004703" sldId="2147483424"/>
            <ac:spMk id="70" creationId="{4E58C7B9-A42A-43B0-AB83-AC27F8475EDC}"/>
          </ac:spMkLst>
        </pc:spChg>
        <pc:spChg chg="mod topLvl">
          <ac:chgData name="Wilson Kuwabara" userId="1d9421ce-8841-4d39-87d6-ab608b836038" providerId="ADAL" clId="{5C923B79-0CD2-4CAB-BD46-3F7A432575C1}" dt="2025-04-03T11:59:51.860" v="548"/>
          <ac:spMkLst>
            <pc:docMk/>
            <pc:sldMk cId="2211004703" sldId="2147483424"/>
            <ac:spMk id="72" creationId="{5BC957A3-A224-737A-7AA4-46DA200F2FB7}"/>
          </ac:spMkLst>
        </pc:spChg>
        <pc:spChg chg="mod topLvl">
          <ac:chgData name="Wilson Kuwabara" userId="1d9421ce-8841-4d39-87d6-ab608b836038" providerId="ADAL" clId="{5C923B79-0CD2-4CAB-BD46-3F7A432575C1}" dt="2025-04-03T11:59:51.860" v="548"/>
          <ac:spMkLst>
            <pc:docMk/>
            <pc:sldMk cId="2211004703" sldId="2147483424"/>
            <ac:spMk id="74" creationId="{D2B405BF-C244-676D-FFB8-C43BFC2DC4D2}"/>
          </ac:spMkLst>
        </pc:spChg>
        <pc:spChg chg="mod">
          <ac:chgData name="Wilson Kuwabara" userId="1d9421ce-8841-4d39-87d6-ab608b836038" providerId="ADAL" clId="{5C923B79-0CD2-4CAB-BD46-3F7A432575C1}" dt="2025-04-03T11:48:12.057" v="126" actId="164"/>
          <ac:spMkLst>
            <pc:docMk/>
            <pc:sldMk cId="2211004703" sldId="2147483424"/>
            <ac:spMk id="75" creationId="{0D2DA0B5-A5A5-A099-8C6A-182A7B6EBDAF}"/>
          </ac:spMkLst>
        </pc:spChg>
        <pc:spChg chg="add mod">
          <ac:chgData name="Wilson Kuwabara" userId="1d9421ce-8841-4d39-87d6-ab608b836038" providerId="ADAL" clId="{5C923B79-0CD2-4CAB-BD46-3F7A432575C1}" dt="2025-04-03T12:12:25.139" v="846" actId="164"/>
          <ac:spMkLst>
            <pc:docMk/>
            <pc:sldMk cId="2211004703" sldId="2147483424"/>
            <ac:spMk id="88" creationId="{1A7CD74B-E942-EA6D-CBEA-0F704C67CD8B}"/>
          </ac:spMkLst>
        </pc:spChg>
        <pc:spChg chg="mod">
          <ac:chgData name="Wilson Kuwabara" userId="1d9421ce-8841-4d39-87d6-ab608b836038" providerId="ADAL" clId="{5C923B79-0CD2-4CAB-BD46-3F7A432575C1}" dt="2025-04-03T11:59:51.860" v="548"/>
          <ac:spMkLst>
            <pc:docMk/>
            <pc:sldMk cId="2211004703" sldId="2147483424"/>
            <ac:spMk id="99" creationId="{CC8D687B-F7C8-2E72-BC14-1B976BFDD6AF}"/>
          </ac:spMkLst>
        </pc:spChg>
        <pc:spChg chg="mod">
          <ac:chgData name="Wilson Kuwabara" userId="1d9421ce-8841-4d39-87d6-ab608b836038" providerId="ADAL" clId="{5C923B79-0CD2-4CAB-BD46-3F7A432575C1}" dt="2025-04-03T11:45:39.617" v="84" actId="165"/>
          <ac:spMkLst>
            <pc:docMk/>
            <pc:sldMk cId="2211004703" sldId="2147483424"/>
            <ac:spMk id="100" creationId="{0520F15F-F17B-BAE9-0D2A-C10FE6D9BEA8}"/>
          </ac:spMkLst>
        </pc:spChg>
        <pc:spChg chg="mod">
          <ac:chgData name="Wilson Kuwabara" userId="1d9421ce-8841-4d39-87d6-ab608b836038" providerId="ADAL" clId="{5C923B79-0CD2-4CAB-BD46-3F7A432575C1}" dt="2025-04-03T11:59:51.860" v="548"/>
          <ac:spMkLst>
            <pc:docMk/>
            <pc:sldMk cId="2211004703" sldId="2147483424"/>
            <ac:spMk id="113" creationId="{5A659B5D-FB5A-9DAE-BC6E-4CE44A528DFF}"/>
          </ac:spMkLst>
        </pc:spChg>
        <pc:spChg chg="mod">
          <ac:chgData name="Wilson Kuwabara" userId="1d9421ce-8841-4d39-87d6-ab608b836038" providerId="ADAL" clId="{5C923B79-0CD2-4CAB-BD46-3F7A432575C1}" dt="2025-04-03T11:45:39.617" v="84" actId="165"/>
          <ac:spMkLst>
            <pc:docMk/>
            <pc:sldMk cId="2211004703" sldId="2147483424"/>
            <ac:spMk id="114" creationId="{5711C323-9824-3329-BE60-5A61F061D71B}"/>
          </ac:spMkLst>
        </pc:spChg>
        <pc:spChg chg="mod">
          <ac:chgData name="Wilson Kuwabara" userId="1d9421ce-8841-4d39-87d6-ab608b836038" providerId="ADAL" clId="{5C923B79-0CD2-4CAB-BD46-3F7A432575C1}" dt="2025-04-03T11:45:39.617" v="84" actId="165"/>
          <ac:spMkLst>
            <pc:docMk/>
            <pc:sldMk cId="2211004703" sldId="2147483424"/>
            <ac:spMk id="116" creationId="{F37ABAA7-32B9-3FDE-9590-FE55184B6AB1}"/>
          </ac:spMkLst>
        </pc:spChg>
        <pc:spChg chg="mod">
          <ac:chgData name="Wilson Kuwabara" userId="1d9421ce-8841-4d39-87d6-ab608b836038" providerId="ADAL" clId="{5C923B79-0CD2-4CAB-BD46-3F7A432575C1}" dt="2025-04-03T11:45:39.617" v="84" actId="165"/>
          <ac:spMkLst>
            <pc:docMk/>
            <pc:sldMk cId="2211004703" sldId="2147483424"/>
            <ac:spMk id="121" creationId="{D5EE3EDB-10CA-EA7D-7F3B-5C41D391734A}"/>
          </ac:spMkLst>
        </pc:spChg>
        <pc:spChg chg="mod">
          <ac:chgData name="Wilson Kuwabara" userId="1d9421ce-8841-4d39-87d6-ab608b836038" providerId="ADAL" clId="{5C923B79-0CD2-4CAB-BD46-3F7A432575C1}" dt="2025-04-03T11:46:59.089" v="99" actId="1076"/>
          <ac:spMkLst>
            <pc:docMk/>
            <pc:sldMk cId="2211004703" sldId="2147483424"/>
            <ac:spMk id="124" creationId="{50C48F55-438D-8895-B688-E51A562869E2}"/>
          </ac:spMkLst>
        </pc:spChg>
        <pc:spChg chg="mod">
          <ac:chgData name="Wilson Kuwabara" userId="1d9421ce-8841-4d39-87d6-ab608b836038" providerId="ADAL" clId="{5C923B79-0CD2-4CAB-BD46-3F7A432575C1}" dt="2025-04-03T11:57:10.627" v="541"/>
          <ac:spMkLst>
            <pc:docMk/>
            <pc:sldMk cId="2211004703" sldId="2147483424"/>
            <ac:spMk id="125" creationId="{6C39F560-D94B-9304-DF47-0503CFC32397}"/>
          </ac:spMkLst>
        </pc:spChg>
        <pc:grpChg chg="mod">
          <ac:chgData name="Wilson Kuwabara" userId="1d9421ce-8841-4d39-87d6-ab608b836038" providerId="ADAL" clId="{5C923B79-0CD2-4CAB-BD46-3F7A432575C1}" dt="2025-04-03T12:12:41.531" v="851" actId="1076"/>
          <ac:grpSpMkLst>
            <pc:docMk/>
            <pc:sldMk cId="2211004703" sldId="2147483424"/>
            <ac:grpSpMk id="3" creationId="{749F03D4-B609-C284-7EFA-7CFAA3A2F93E}"/>
          </ac:grpSpMkLst>
        </pc:grpChg>
        <pc:grpChg chg="mod">
          <ac:chgData name="Wilson Kuwabara" userId="1d9421ce-8841-4d39-87d6-ab608b836038" providerId="ADAL" clId="{5C923B79-0CD2-4CAB-BD46-3F7A432575C1}" dt="2025-04-03T11:45:45.018" v="88" actId="1076"/>
          <ac:grpSpMkLst>
            <pc:docMk/>
            <pc:sldMk cId="2211004703" sldId="2147483424"/>
            <ac:grpSpMk id="6" creationId="{85E4792D-FADE-DB4E-7B51-BD4F63B51CE2}"/>
          </ac:grpSpMkLst>
        </pc:grpChg>
        <pc:grpChg chg="mod">
          <ac:chgData name="Wilson Kuwabara" userId="1d9421ce-8841-4d39-87d6-ab608b836038" providerId="ADAL" clId="{5C923B79-0CD2-4CAB-BD46-3F7A432575C1}" dt="2025-04-03T11:46:07.280" v="92" actId="1076"/>
          <ac:grpSpMkLst>
            <pc:docMk/>
            <pc:sldMk cId="2211004703" sldId="2147483424"/>
            <ac:grpSpMk id="31" creationId="{BBFF4E78-C21F-7CE3-04D5-25DD93C92F2B}"/>
          </ac:grpSpMkLst>
        </pc:grpChg>
        <pc:grpChg chg="mod">
          <ac:chgData name="Wilson Kuwabara" userId="1d9421ce-8841-4d39-87d6-ab608b836038" providerId="ADAL" clId="{5C923B79-0CD2-4CAB-BD46-3F7A432575C1}" dt="2025-04-03T12:12:25.139" v="846" actId="164"/>
          <ac:grpSpMkLst>
            <pc:docMk/>
            <pc:sldMk cId="2211004703" sldId="2147483424"/>
            <ac:grpSpMk id="87" creationId="{030C3ED3-D0F1-8281-6031-749174F5DCCD}"/>
          </ac:grpSpMkLst>
        </pc:grpChg>
        <pc:grpChg chg="add mod">
          <ac:chgData name="Wilson Kuwabara" userId="1d9421ce-8841-4d39-87d6-ab608b836038" providerId="ADAL" clId="{5C923B79-0CD2-4CAB-BD46-3F7A432575C1}" dt="2025-04-03T12:12:38.220" v="850" actId="1076"/>
          <ac:grpSpMkLst>
            <pc:docMk/>
            <pc:sldMk cId="2211004703" sldId="2147483424"/>
            <ac:grpSpMk id="89" creationId="{754D63ED-779B-6172-1014-670ED2101B65}"/>
          </ac:grpSpMkLst>
        </pc:grpChg>
        <pc:graphicFrameChg chg="mod">
          <ac:chgData name="Wilson Kuwabara" userId="1d9421ce-8841-4d39-87d6-ab608b836038" providerId="ADAL" clId="{5C923B79-0CD2-4CAB-BD46-3F7A432575C1}" dt="2025-04-03T12:12:35.289" v="848"/>
          <ac:graphicFrameMkLst>
            <pc:docMk/>
            <pc:sldMk cId="2211004703" sldId="2147483424"/>
            <ac:graphicFrameMk id="109" creationId="{89072FA2-3CE1-4D67-277B-419466C571DC}"/>
          </ac:graphicFrameMkLst>
        </pc:graphicFrameChg>
        <pc:graphicFrameChg chg="add del mod">
          <ac:chgData name="Wilson Kuwabara" userId="1d9421ce-8841-4d39-87d6-ab608b836038" providerId="ADAL" clId="{5C923B79-0CD2-4CAB-BD46-3F7A432575C1}" dt="2025-04-03T12:11:21.264" v="837"/>
          <ac:graphicFrameMkLst>
            <pc:docMk/>
            <pc:sldMk cId="2211004703" sldId="2147483424"/>
            <ac:graphicFrameMk id="110" creationId="{F58E5B48-871B-E770-AEC3-81A2B3B937CC}"/>
          </ac:graphicFrameMkLst>
        </pc:graphicFrameChg>
      </pc:sldChg>
      <pc:sldChg chg="addSp delSp modSp add mod">
        <pc:chgData name="Wilson Kuwabara" userId="1d9421ce-8841-4d39-87d6-ab608b836038" providerId="ADAL" clId="{5C923B79-0CD2-4CAB-BD46-3F7A432575C1}" dt="2025-04-03T12:14:23.592" v="862" actId="20577"/>
        <pc:sldMkLst>
          <pc:docMk/>
          <pc:sldMk cId="2910199761" sldId="2147483429"/>
        </pc:sldMkLst>
        <pc:spChg chg="mod">
          <ac:chgData name="Wilson Kuwabara" userId="1d9421ce-8841-4d39-87d6-ab608b836038" providerId="ADAL" clId="{5C923B79-0CD2-4CAB-BD46-3F7A432575C1}" dt="2025-04-03T12:14:23.592" v="862" actId="20577"/>
          <ac:spMkLst>
            <pc:docMk/>
            <pc:sldMk cId="2910199761" sldId="2147483429"/>
            <ac:spMk id="2" creationId="{6F4B7A54-5477-0E41-A872-B73F35915EE3}"/>
          </ac:spMkLst>
        </pc:spChg>
        <pc:spChg chg="mod topLvl">
          <ac:chgData name="Wilson Kuwabara" userId="1d9421ce-8841-4d39-87d6-ab608b836038" providerId="ADAL" clId="{5C923B79-0CD2-4CAB-BD46-3F7A432575C1}" dt="2025-04-03T11:49:00.866" v="130" actId="165"/>
          <ac:spMkLst>
            <pc:docMk/>
            <pc:sldMk cId="2910199761" sldId="2147483429"/>
            <ac:spMk id="11" creationId="{80EC5218-78D4-AC12-3F6E-FF90058A4099}"/>
          </ac:spMkLst>
        </pc:spChg>
        <pc:spChg chg="mod topLvl">
          <ac:chgData name="Wilson Kuwabara" userId="1d9421ce-8841-4d39-87d6-ab608b836038" providerId="ADAL" clId="{5C923B79-0CD2-4CAB-BD46-3F7A432575C1}" dt="2025-04-03T11:49:00.866" v="130" actId="165"/>
          <ac:spMkLst>
            <pc:docMk/>
            <pc:sldMk cId="2910199761" sldId="2147483429"/>
            <ac:spMk id="12" creationId="{3F76E148-04D7-20AA-67F5-68117C751654}"/>
          </ac:spMkLst>
        </pc:spChg>
        <pc:spChg chg="mod topLvl">
          <ac:chgData name="Wilson Kuwabara" userId="1d9421ce-8841-4d39-87d6-ab608b836038" providerId="ADAL" clId="{5C923B79-0CD2-4CAB-BD46-3F7A432575C1}" dt="2025-04-03T11:49:00.866" v="130" actId="165"/>
          <ac:spMkLst>
            <pc:docMk/>
            <pc:sldMk cId="2910199761" sldId="2147483429"/>
            <ac:spMk id="16" creationId="{1059F97F-F100-33B1-8C74-92EF838E5362}"/>
          </ac:spMkLst>
        </pc:spChg>
        <pc:spChg chg="mod topLvl">
          <ac:chgData name="Wilson Kuwabara" userId="1d9421ce-8841-4d39-87d6-ab608b836038" providerId="ADAL" clId="{5C923B79-0CD2-4CAB-BD46-3F7A432575C1}" dt="2025-04-03T11:49:00.866" v="130" actId="165"/>
          <ac:spMkLst>
            <pc:docMk/>
            <pc:sldMk cId="2910199761" sldId="2147483429"/>
            <ac:spMk id="17" creationId="{1BF58139-F405-44EB-F21B-A9ED461FD4C1}"/>
          </ac:spMkLst>
        </pc:spChg>
        <pc:spChg chg="mod">
          <ac:chgData name="Wilson Kuwabara" userId="1d9421ce-8841-4d39-87d6-ab608b836038" providerId="ADAL" clId="{5C923B79-0CD2-4CAB-BD46-3F7A432575C1}" dt="2025-04-03T11:49:21.058" v="149" actId="1076"/>
          <ac:spMkLst>
            <pc:docMk/>
            <pc:sldMk cId="2910199761" sldId="2147483429"/>
            <ac:spMk id="18" creationId="{B0D3061C-5FAA-B21C-651A-663398823B2F}"/>
          </ac:spMkLst>
        </pc:spChg>
        <pc:spChg chg="mod">
          <ac:chgData name="Wilson Kuwabara" userId="1d9421ce-8841-4d39-87d6-ab608b836038" providerId="ADAL" clId="{5C923B79-0CD2-4CAB-BD46-3F7A432575C1}" dt="2025-04-03T11:49:44.802" v="169" actId="1076"/>
          <ac:spMkLst>
            <pc:docMk/>
            <pc:sldMk cId="2910199761" sldId="2147483429"/>
            <ac:spMk id="19" creationId="{A5BA31D0-608B-6954-BA85-D2F72D73837B}"/>
          </ac:spMkLst>
        </pc:spChg>
        <pc:spChg chg="mod">
          <ac:chgData name="Wilson Kuwabara" userId="1d9421ce-8841-4d39-87d6-ab608b836038" providerId="ADAL" clId="{5C923B79-0CD2-4CAB-BD46-3F7A432575C1}" dt="2025-04-03T11:49:00.866" v="130" actId="165"/>
          <ac:spMkLst>
            <pc:docMk/>
            <pc:sldMk cId="2910199761" sldId="2147483429"/>
            <ac:spMk id="25" creationId="{55BE21DA-6213-2FA3-66C3-98639A56F64E}"/>
          </ac:spMkLst>
        </pc:spChg>
        <pc:spChg chg="mod">
          <ac:chgData name="Wilson Kuwabara" userId="1d9421ce-8841-4d39-87d6-ab608b836038" providerId="ADAL" clId="{5C923B79-0CD2-4CAB-BD46-3F7A432575C1}" dt="2025-04-03T11:49:00.866" v="130" actId="165"/>
          <ac:spMkLst>
            <pc:docMk/>
            <pc:sldMk cId="2910199761" sldId="2147483429"/>
            <ac:spMk id="26" creationId="{F53B9E1E-33D2-1A59-5024-7C1B3119251A}"/>
          </ac:spMkLst>
        </pc:spChg>
        <pc:spChg chg="mod">
          <ac:chgData name="Wilson Kuwabara" userId="1d9421ce-8841-4d39-87d6-ab608b836038" providerId="ADAL" clId="{5C923B79-0CD2-4CAB-BD46-3F7A432575C1}" dt="2025-04-03T11:57:10.627" v="541"/>
          <ac:spMkLst>
            <pc:docMk/>
            <pc:sldMk cId="2910199761" sldId="2147483429"/>
            <ac:spMk id="27" creationId="{0088974B-7D33-46D0-3960-74AB36B7675B}"/>
          </ac:spMkLst>
        </pc:spChg>
        <pc:picChg chg="mod topLvl">
          <ac:chgData name="Wilson Kuwabara" userId="1d9421ce-8841-4d39-87d6-ab608b836038" providerId="ADAL" clId="{5C923B79-0CD2-4CAB-BD46-3F7A432575C1}" dt="2025-04-03T11:49:00.866" v="130" actId="165"/>
          <ac:picMkLst>
            <pc:docMk/>
            <pc:sldMk cId="2910199761" sldId="2147483429"/>
            <ac:picMk id="10" creationId="{7056FB33-DC5F-BAEC-BB91-6B18D29BFEFB}"/>
          </ac:picMkLst>
        </pc:picChg>
        <pc:picChg chg="mod topLvl">
          <ac:chgData name="Wilson Kuwabara" userId="1d9421ce-8841-4d39-87d6-ab608b836038" providerId="ADAL" clId="{5C923B79-0CD2-4CAB-BD46-3F7A432575C1}" dt="2025-04-03T11:49:00.866" v="130" actId="165"/>
          <ac:picMkLst>
            <pc:docMk/>
            <pc:sldMk cId="2910199761" sldId="2147483429"/>
            <ac:picMk id="15" creationId="{0DE0ECB3-6DE9-D504-2B0D-AC93FDF27565}"/>
          </ac:picMkLst>
        </pc:picChg>
      </pc:sldChg>
      <pc:sldChg chg="modSp mod">
        <pc:chgData name="Wilson Kuwabara" userId="1d9421ce-8841-4d39-87d6-ab608b836038" providerId="ADAL" clId="{5C923B79-0CD2-4CAB-BD46-3F7A432575C1}" dt="2025-04-03T12:17:43.736" v="913" actId="1076"/>
        <pc:sldMkLst>
          <pc:docMk/>
          <pc:sldMk cId="2398114363" sldId="2147483441"/>
        </pc:sldMkLst>
        <pc:spChg chg="mod">
          <ac:chgData name="Wilson Kuwabara" userId="1d9421ce-8841-4d39-87d6-ab608b836038" providerId="ADAL" clId="{5C923B79-0CD2-4CAB-BD46-3F7A432575C1}" dt="2025-04-03T12:17:40.468" v="912" actId="1076"/>
          <ac:spMkLst>
            <pc:docMk/>
            <pc:sldMk cId="2398114363" sldId="2147483441"/>
            <ac:spMk id="4" creationId="{DCBBF241-FF33-44C4-F47C-9A6BE33512E0}"/>
          </ac:spMkLst>
        </pc:spChg>
        <pc:spChg chg="mod">
          <ac:chgData name="Wilson Kuwabara" userId="1d9421ce-8841-4d39-87d6-ab608b836038" providerId="ADAL" clId="{5C923B79-0CD2-4CAB-BD46-3F7A432575C1}" dt="2025-04-03T12:17:43.736" v="913" actId="1076"/>
          <ac:spMkLst>
            <pc:docMk/>
            <pc:sldMk cId="2398114363" sldId="2147483441"/>
            <ac:spMk id="5" creationId="{A10E82F0-8471-B40C-EEF8-A7A372A150B1}"/>
          </ac:spMkLst>
        </pc:spChg>
        <pc:spChg chg="mod">
          <ac:chgData name="Wilson Kuwabara" userId="1d9421ce-8841-4d39-87d6-ab608b836038" providerId="ADAL" clId="{5C923B79-0CD2-4CAB-BD46-3F7A432575C1}" dt="2025-04-03T12:17:36.882" v="911" actId="1076"/>
          <ac:spMkLst>
            <pc:docMk/>
            <pc:sldMk cId="2398114363" sldId="2147483441"/>
            <ac:spMk id="6" creationId="{37584B91-E3B2-F5D8-1E8E-D2403E8B91DA}"/>
          </ac:spMkLst>
        </pc:spChg>
        <pc:spChg chg="mod">
          <ac:chgData name="Wilson Kuwabara" userId="1d9421ce-8841-4d39-87d6-ab608b836038" providerId="ADAL" clId="{5C923B79-0CD2-4CAB-BD46-3F7A432575C1}" dt="2025-04-03T11:54:46.161" v="443" actId="20577"/>
          <ac:spMkLst>
            <pc:docMk/>
            <pc:sldMk cId="2398114363" sldId="2147483441"/>
            <ac:spMk id="92" creationId="{F2EE33B1-9772-04D2-63C7-C7FC76F81FFB}"/>
          </ac:spMkLst>
        </pc:spChg>
        <pc:spChg chg="mod">
          <ac:chgData name="Wilson Kuwabara" userId="1d9421ce-8841-4d39-87d6-ab608b836038" providerId="ADAL" clId="{5C923B79-0CD2-4CAB-BD46-3F7A432575C1}" dt="2025-04-03T11:53:37.264" v="382" actId="20577"/>
          <ac:spMkLst>
            <pc:docMk/>
            <pc:sldMk cId="2398114363" sldId="2147483441"/>
            <ac:spMk id="99" creationId="{F295D651-51B8-7713-0CDA-62E478A92FFD}"/>
          </ac:spMkLst>
        </pc:spChg>
        <pc:spChg chg="mod">
          <ac:chgData name="Wilson Kuwabara" userId="1d9421ce-8841-4d39-87d6-ab608b836038" providerId="ADAL" clId="{5C923B79-0CD2-4CAB-BD46-3F7A432575C1}" dt="2025-04-03T11:54:00.645" v="414" actId="20577"/>
          <ac:spMkLst>
            <pc:docMk/>
            <pc:sldMk cId="2398114363" sldId="2147483441"/>
            <ac:spMk id="100" creationId="{7DBD101E-693D-8E16-DC1F-29D7863F1298}"/>
          </ac:spMkLst>
        </pc:spChg>
        <pc:spChg chg="mod">
          <ac:chgData name="Wilson Kuwabara" userId="1d9421ce-8841-4d39-87d6-ab608b836038" providerId="ADAL" clId="{5C923B79-0CD2-4CAB-BD46-3F7A432575C1}" dt="2025-04-03T11:57:10.627" v="541"/>
          <ac:spMkLst>
            <pc:docMk/>
            <pc:sldMk cId="2398114363" sldId="2147483441"/>
            <ac:spMk id="105" creationId="{B2B054ED-DA3E-7D31-3FB9-629459D97569}"/>
          </ac:spMkLst>
        </pc:spChg>
        <pc:spChg chg="mod">
          <ac:chgData name="Wilson Kuwabara" userId="1d9421ce-8841-4d39-87d6-ab608b836038" providerId="ADAL" clId="{5C923B79-0CD2-4CAB-BD46-3F7A432575C1}" dt="2025-04-03T11:54:51.177" v="450" actId="20577"/>
          <ac:spMkLst>
            <pc:docMk/>
            <pc:sldMk cId="2398114363" sldId="2147483441"/>
            <ac:spMk id="325" creationId="{18F55BBE-95BB-1F04-B5FC-1A3424E15AA8}"/>
          </ac:spMkLst>
        </pc:spChg>
      </pc:sldChg>
      <pc:sldChg chg="modSp mod">
        <pc:chgData name="Wilson Kuwabara" userId="1d9421ce-8841-4d39-87d6-ab608b836038" providerId="ADAL" clId="{5C923B79-0CD2-4CAB-BD46-3F7A432575C1}" dt="2025-04-03T12:14:07.351" v="858" actId="20577"/>
        <pc:sldMkLst>
          <pc:docMk/>
          <pc:sldMk cId="2217498672" sldId="2147483443"/>
        </pc:sldMkLst>
        <pc:spChg chg="mod">
          <ac:chgData name="Wilson Kuwabara" userId="1d9421ce-8841-4d39-87d6-ab608b836038" providerId="ADAL" clId="{5C923B79-0CD2-4CAB-BD46-3F7A432575C1}" dt="2025-04-03T12:14:07.351" v="858" actId="20577"/>
          <ac:spMkLst>
            <pc:docMk/>
            <pc:sldMk cId="2217498672" sldId="2147483443"/>
            <ac:spMk id="2" creationId="{9BAA0307-C476-58E7-8414-EC6002C38E30}"/>
          </ac:spMkLst>
        </pc:spChg>
        <pc:spChg chg="mod">
          <ac:chgData name="Wilson Kuwabara" userId="1d9421ce-8841-4d39-87d6-ab608b836038" providerId="ADAL" clId="{5C923B79-0CD2-4CAB-BD46-3F7A432575C1}" dt="2025-04-03T12:08:12.178" v="835" actId="947"/>
          <ac:spMkLst>
            <pc:docMk/>
            <pc:sldMk cId="2217498672" sldId="2147483443"/>
            <ac:spMk id="3" creationId="{C90A7ACB-DEBC-E1DB-C3D9-C9DCD7E7B113}"/>
          </ac:spMkLst>
        </pc:spChg>
        <pc:spChg chg="mod">
          <ac:chgData name="Wilson Kuwabara" userId="1d9421ce-8841-4d39-87d6-ab608b836038" providerId="ADAL" clId="{5C923B79-0CD2-4CAB-BD46-3F7A432575C1}" dt="2025-04-03T12:05:02.426" v="704" actId="20577"/>
          <ac:spMkLst>
            <pc:docMk/>
            <pc:sldMk cId="2217498672" sldId="2147483443"/>
            <ac:spMk id="7" creationId="{4AA44DE8-B8C1-2D52-8D2E-1BB5B6CC5FC5}"/>
          </ac:spMkLst>
        </pc:spChg>
        <pc:spChg chg="mod">
          <ac:chgData name="Wilson Kuwabara" userId="1d9421ce-8841-4d39-87d6-ab608b836038" providerId="ADAL" clId="{5C923B79-0CD2-4CAB-BD46-3F7A432575C1}" dt="2025-04-03T12:02:24.141" v="567" actId="20577"/>
          <ac:spMkLst>
            <pc:docMk/>
            <pc:sldMk cId="2217498672" sldId="2147483443"/>
            <ac:spMk id="8" creationId="{F2547BAD-2800-2494-8EC1-AF3D16DC9880}"/>
          </ac:spMkLst>
        </pc:spChg>
        <pc:spChg chg="mod">
          <ac:chgData name="Wilson Kuwabara" userId="1d9421ce-8841-4d39-87d6-ab608b836038" providerId="ADAL" clId="{5C923B79-0CD2-4CAB-BD46-3F7A432575C1}" dt="2025-04-03T12:02:33.815" v="574" actId="20577"/>
          <ac:spMkLst>
            <pc:docMk/>
            <pc:sldMk cId="2217498672" sldId="2147483443"/>
            <ac:spMk id="9" creationId="{90735234-6ACD-59B5-D001-C14FA954B897}"/>
          </ac:spMkLst>
        </pc:spChg>
        <pc:spChg chg="mod">
          <ac:chgData name="Wilson Kuwabara" userId="1d9421ce-8841-4d39-87d6-ab608b836038" providerId="ADAL" clId="{5C923B79-0CD2-4CAB-BD46-3F7A432575C1}" dt="2025-04-03T11:57:26.357" v="542"/>
          <ac:spMkLst>
            <pc:docMk/>
            <pc:sldMk cId="2217498672" sldId="2147483443"/>
            <ac:spMk id="16" creationId="{2BFADFDD-479B-A670-7D1A-93550EE8F854}"/>
          </ac:spMkLst>
        </pc:spChg>
        <pc:graphicFrameChg chg="mod modGraphic">
          <ac:chgData name="Wilson Kuwabara" userId="1d9421ce-8841-4d39-87d6-ab608b836038" providerId="ADAL" clId="{5C923B79-0CD2-4CAB-BD46-3F7A432575C1}" dt="2025-04-03T12:07:45.306" v="834"/>
          <ac:graphicFrameMkLst>
            <pc:docMk/>
            <pc:sldMk cId="2217498672" sldId="2147483443"/>
            <ac:graphicFrameMk id="6" creationId="{4438AA75-6055-942F-338F-DA6317E5B841}"/>
          </ac:graphicFrameMkLst>
        </pc:graphicFrameChg>
      </pc:sldChg>
      <pc:sldChg chg="modSp mod">
        <pc:chgData name="Wilson Kuwabara" userId="1d9421ce-8841-4d39-87d6-ab608b836038" providerId="ADAL" clId="{5C923B79-0CD2-4CAB-BD46-3F7A432575C1}" dt="2025-04-03T12:15:12.911" v="872" actId="20577"/>
        <pc:sldMkLst>
          <pc:docMk/>
          <pc:sldMk cId="2252354498" sldId="2147483450"/>
        </pc:sldMkLst>
        <pc:spChg chg="mod">
          <ac:chgData name="Wilson Kuwabara" userId="1d9421ce-8841-4d39-87d6-ab608b836038" providerId="ADAL" clId="{5C923B79-0CD2-4CAB-BD46-3F7A432575C1}" dt="2025-04-03T11:57:10.627" v="541"/>
          <ac:spMkLst>
            <pc:docMk/>
            <pc:sldMk cId="2252354498" sldId="2147483450"/>
            <ac:spMk id="9" creationId="{8227FBD9-6E2E-70DC-0B2F-304BBF4AFAAF}"/>
          </ac:spMkLst>
        </pc:spChg>
        <pc:spChg chg="mod">
          <ac:chgData name="Wilson Kuwabara" userId="1d9421ce-8841-4d39-87d6-ab608b836038" providerId="ADAL" clId="{5C923B79-0CD2-4CAB-BD46-3F7A432575C1}" dt="2025-04-03T11:50:22.454" v="170"/>
          <ac:spMkLst>
            <pc:docMk/>
            <pc:sldMk cId="2252354498" sldId="2147483450"/>
            <ac:spMk id="12" creationId="{FB759F51-74F3-506D-45C5-6807FCD9B3A9}"/>
          </ac:spMkLst>
        </pc:spChg>
        <pc:spChg chg="mod">
          <ac:chgData name="Wilson Kuwabara" userId="1d9421ce-8841-4d39-87d6-ab608b836038" providerId="ADAL" clId="{5C923B79-0CD2-4CAB-BD46-3F7A432575C1}" dt="2025-04-03T11:51:59.736" v="258" actId="20577"/>
          <ac:spMkLst>
            <pc:docMk/>
            <pc:sldMk cId="2252354498" sldId="2147483450"/>
            <ac:spMk id="13" creationId="{FC2DEF70-6E8C-8FBE-9968-51EBC1ED0418}"/>
          </ac:spMkLst>
        </pc:spChg>
        <pc:spChg chg="mod">
          <ac:chgData name="Wilson Kuwabara" userId="1d9421ce-8841-4d39-87d6-ab608b836038" providerId="ADAL" clId="{5C923B79-0CD2-4CAB-BD46-3F7A432575C1}" dt="2025-04-03T11:51:00.521" v="203" actId="20577"/>
          <ac:spMkLst>
            <pc:docMk/>
            <pc:sldMk cId="2252354498" sldId="2147483450"/>
            <ac:spMk id="14" creationId="{74236A62-B1A4-D6B5-0F13-D37AD2238C17}"/>
          </ac:spMkLst>
        </pc:spChg>
        <pc:spChg chg="mod">
          <ac:chgData name="Wilson Kuwabara" userId="1d9421ce-8841-4d39-87d6-ab608b836038" providerId="ADAL" clId="{5C923B79-0CD2-4CAB-BD46-3F7A432575C1}" dt="2025-04-03T11:51:07.716" v="205" actId="20577"/>
          <ac:spMkLst>
            <pc:docMk/>
            <pc:sldMk cId="2252354498" sldId="2147483450"/>
            <ac:spMk id="15" creationId="{A27D26E4-4BFE-8282-B38B-66763C1C4BF0}"/>
          </ac:spMkLst>
        </pc:spChg>
        <pc:spChg chg="mod">
          <ac:chgData name="Wilson Kuwabara" userId="1d9421ce-8841-4d39-87d6-ab608b836038" providerId="ADAL" clId="{5C923B79-0CD2-4CAB-BD46-3F7A432575C1}" dt="2025-04-03T11:51:17.369" v="219" actId="20577"/>
          <ac:spMkLst>
            <pc:docMk/>
            <pc:sldMk cId="2252354498" sldId="2147483450"/>
            <ac:spMk id="16" creationId="{1E3AC5C5-7B5B-CE62-5449-4430C501963A}"/>
          </ac:spMkLst>
        </pc:spChg>
        <pc:spChg chg="mod">
          <ac:chgData name="Wilson Kuwabara" userId="1d9421ce-8841-4d39-87d6-ab608b836038" providerId="ADAL" clId="{5C923B79-0CD2-4CAB-BD46-3F7A432575C1}" dt="2025-04-03T11:51:46.484" v="242" actId="20577"/>
          <ac:spMkLst>
            <pc:docMk/>
            <pc:sldMk cId="2252354498" sldId="2147483450"/>
            <ac:spMk id="17" creationId="{C3D30DE9-6237-8E30-4DB5-72496BAEDDB9}"/>
          </ac:spMkLst>
        </pc:spChg>
        <pc:spChg chg="mod">
          <ac:chgData name="Wilson Kuwabara" userId="1d9421ce-8841-4d39-87d6-ab608b836038" providerId="ADAL" clId="{5C923B79-0CD2-4CAB-BD46-3F7A432575C1}" dt="2025-04-03T11:50:41.359" v="173"/>
          <ac:spMkLst>
            <pc:docMk/>
            <pc:sldMk cId="2252354498" sldId="2147483450"/>
            <ac:spMk id="26" creationId="{054C834D-24B4-70F0-E167-C2E93FC2C7EE}"/>
          </ac:spMkLst>
        </pc:spChg>
        <pc:spChg chg="mod">
          <ac:chgData name="Wilson Kuwabara" userId="1d9421ce-8841-4d39-87d6-ab608b836038" providerId="ADAL" clId="{5C923B79-0CD2-4CAB-BD46-3F7A432575C1}" dt="2025-04-03T11:52:20.207" v="279" actId="20577"/>
          <ac:spMkLst>
            <pc:docMk/>
            <pc:sldMk cId="2252354498" sldId="2147483450"/>
            <ac:spMk id="28" creationId="{5CF322F7-9F33-D826-4CCE-58004E6B084F}"/>
          </ac:spMkLst>
        </pc:spChg>
        <pc:spChg chg="mod">
          <ac:chgData name="Wilson Kuwabara" userId="1d9421ce-8841-4d39-87d6-ab608b836038" providerId="ADAL" clId="{5C923B79-0CD2-4CAB-BD46-3F7A432575C1}" dt="2025-04-03T11:52:26.407" v="293" actId="20577"/>
          <ac:spMkLst>
            <pc:docMk/>
            <pc:sldMk cId="2252354498" sldId="2147483450"/>
            <ac:spMk id="29" creationId="{6E70E442-84E1-F24B-B040-C94789BF5730}"/>
          </ac:spMkLst>
        </pc:spChg>
        <pc:spChg chg="mod">
          <ac:chgData name="Wilson Kuwabara" userId="1d9421ce-8841-4d39-87d6-ab608b836038" providerId="ADAL" clId="{5C923B79-0CD2-4CAB-BD46-3F7A432575C1}" dt="2025-04-03T11:52:29.966" v="295" actId="20577"/>
          <ac:spMkLst>
            <pc:docMk/>
            <pc:sldMk cId="2252354498" sldId="2147483450"/>
            <ac:spMk id="30" creationId="{280DF093-DEA0-3641-E26B-A95A2E928ED2}"/>
          </ac:spMkLst>
        </pc:spChg>
        <pc:spChg chg="mod">
          <ac:chgData name="Wilson Kuwabara" userId="1d9421ce-8841-4d39-87d6-ab608b836038" providerId="ADAL" clId="{5C923B79-0CD2-4CAB-BD46-3F7A432575C1}" dt="2025-04-03T11:52:37.786" v="311" actId="20577"/>
          <ac:spMkLst>
            <pc:docMk/>
            <pc:sldMk cId="2252354498" sldId="2147483450"/>
            <ac:spMk id="32" creationId="{74B3505A-8E55-7272-0242-3C628CD8CB17}"/>
          </ac:spMkLst>
        </pc:spChg>
        <pc:spChg chg="mod">
          <ac:chgData name="Wilson Kuwabara" userId="1d9421ce-8841-4d39-87d6-ab608b836038" providerId="ADAL" clId="{5C923B79-0CD2-4CAB-BD46-3F7A432575C1}" dt="2025-04-03T11:52:48.222" v="334" actId="20577"/>
          <ac:spMkLst>
            <pc:docMk/>
            <pc:sldMk cId="2252354498" sldId="2147483450"/>
            <ac:spMk id="33" creationId="{1F91BF70-9703-8FF0-CD1E-A5D3896A2A79}"/>
          </ac:spMkLst>
        </pc:spChg>
        <pc:spChg chg="mod">
          <ac:chgData name="Wilson Kuwabara" userId="1d9421ce-8841-4d39-87d6-ab608b836038" providerId="ADAL" clId="{5C923B79-0CD2-4CAB-BD46-3F7A432575C1}" dt="2025-04-03T12:15:12.911" v="872" actId="20577"/>
          <ac:spMkLst>
            <pc:docMk/>
            <pc:sldMk cId="2252354498" sldId="2147483450"/>
            <ac:spMk id="41" creationId="{C3A8E9EE-AD64-79E0-1086-F945543D850E}"/>
          </ac:spMkLst>
        </pc:spChg>
        <pc:grpChg chg="mod">
          <ac:chgData name="Wilson Kuwabara" userId="1d9421ce-8841-4d39-87d6-ab608b836038" providerId="ADAL" clId="{5C923B79-0CD2-4CAB-BD46-3F7A432575C1}" dt="2025-04-03T11:50:29.095" v="172" actId="1076"/>
          <ac:grpSpMkLst>
            <pc:docMk/>
            <pc:sldMk cId="2252354498" sldId="2147483450"/>
            <ac:grpSpMk id="25" creationId="{6EE65ACD-E0FC-F40D-CBB6-1444887BFBF1}"/>
          </ac:grpSpMkLst>
        </pc:grpChg>
      </pc:sldChg>
      <pc:sldChg chg="add del">
        <pc:chgData name="Wilson Kuwabara" userId="1d9421ce-8841-4d39-87d6-ab608b836038" providerId="ADAL" clId="{5C923B79-0CD2-4CAB-BD46-3F7A432575C1}" dt="2025-04-03T13:10:00.513" v="976"/>
        <pc:sldMkLst>
          <pc:docMk/>
          <pc:sldMk cId="2213412832" sldId="2147483612"/>
        </pc:sldMkLst>
      </pc:sldChg>
      <pc:sldChg chg="modSp mod">
        <pc:chgData name="Wilson Kuwabara" userId="1d9421ce-8841-4d39-87d6-ab608b836038" providerId="ADAL" clId="{5C923B79-0CD2-4CAB-BD46-3F7A432575C1}" dt="2025-04-03T12:28:19.385" v="972" actId="20577"/>
        <pc:sldMkLst>
          <pc:docMk/>
          <pc:sldMk cId="3632512010" sldId="2147483613"/>
        </pc:sldMkLst>
        <pc:spChg chg="mod">
          <ac:chgData name="Wilson Kuwabara" userId="1d9421ce-8841-4d39-87d6-ab608b836038" providerId="ADAL" clId="{5C923B79-0CD2-4CAB-BD46-3F7A432575C1}" dt="2025-04-03T12:14:16.175" v="860" actId="20577"/>
          <ac:spMkLst>
            <pc:docMk/>
            <pc:sldMk cId="3632512010" sldId="2147483613"/>
            <ac:spMk id="4" creationId="{5C64D865-707A-AB17-07DD-46A193252FC0}"/>
          </ac:spMkLst>
        </pc:spChg>
        <pc:spChg chg="mod">
          <ac:chgData name="Wilson Kuwabara" userId="1d9421ce-8841-4d39-87d6-ab608b836038" providerId="ADAL" clId="{5C923B79-0CD2-4CAB-BD46-3F7A432575C1}" dt="2025-04-03T12:24:54.962" v="937" actId="20577"/>
          <ac:spMkLst>
            <pc:docMk/>
            <pc:sldMk cId="3632512010" sldId="2147483613"/>
            <ac:spMk id="6" creationId="{C1D1499D-8DEE-71E5-CDB6-F606287F033A}"/>
          </ac:spMkLst>
        </pc:spChg>
        <pc:spChg chg="mod">
          <ac:chgData name="Wilson Kuwabara" userId="1d9421ce-8841-4d39-87d6-ab608b836038" providerId="ADAL" clId="{5C923B79-0CD2-4CAB-BD46-3F7A432575C1}" dt="2025-04-03T12:27:27.239" v="940" actId="20577"/>
          <ac:spMkLst>
            <pc:docMk/>
            <pc:sldMk cId="3632512010" sldId="2147483613"/>
            <ac:spMk id="7" creationId="{76C47DAA-F9BF-2392-D94A-84DC3B12B8BB}"/>
          </ac:spMkLst>
        </pc:spChg>
        <pc:spChg chg="mod">
          <ac:chgData name="Wilson Kuwabara" userId="1d9421ce-8841-4d39-87d6-ab608b836038" providerId="ADAL" clId="{5C923B79-0CD2-4CAB-BD46-3F7A432575C1}" dt="2025-04-03T12:27:34.102" v="943" actId="20577"/>
          <ac:spMkLst>
            <pc:docMk/>
            <pc:sldMk cId="3632512010" sldId="2147483613"/>
            <ac:spMk id="8" creationId="{3FD447D6-E17C-9A1B-B6A6-3B0666F5483D}"/>
          </ac:spMkLst>
        </pc:spChg>
        <pc:spChg chg="mod">
          <ac:chgData name="Wilson Kuwabara" userId="1d9421ce-8841-4d39-87d6-ab608b836038" providerId="ADAL" clId="{5C923B79-0CD2-4CAB-BD46-3F7A432575C1}" dt="2025-04-03T12:27:38.176" v="946" actId="20577"/>
          <ac:spMkLst>
            <pc:docMk/>
            <pc:sldMk cId="3632512010" sldId="2147483613"/>
            <ac:spMk id="9" creationId="{66D33A08-E769-1D03-6FA2-2AA12BCDFD95}"/>
          </ac:spMkLst>
        </pc:spChg>
        <pc:spChg chg="mod">
          <ac:chgData name="Wilson Kuwabara" userId="1d9421ce-8841-4d39-87d6-ab608b836038" providerId="ADAL" clId="{5C923B79-0CD2-4CAB-BD46-3F7A432575C1}" dt="2025-04-03T11:59:28.362" v="547"/>
          <ac:spMkLst>
            <pc:docMk/>
            <pc:sldMk cId="3632512010" sldId="2147483613"/>
            <ac:spMk id="11" creationId="{74AED1CC-46A9-9652-DB5E-56E140E2C717}"/>
          </ac:spMkLst>
        </pc:spChg>
        <pc:spChg chg="mod">
          <ac:chgData name="Wilson Kuwabara" userId="1d9421ce-8841-4d39-87d6-ab608b836038" providerId="ADAL" clId="{5C923B79-0CD2-4CAB-BD46-3F7A432575C1}" dt="2025-04-03T11:59:28.362" v="547"/>
          <ac:spMkLst>
            <pc:docMk/>
            <pc:sldMk cId="3632512010" sldId="2147483613"/>
            <ac:spMk id="12" creationId="{DBF31767-D3E9-0865-8EC8-68FCE700FEAB}"/>
          </ac:spMkLst>
        </pc:spChg>
        <pc:spChg chg="mod">
          <ac:chgData name="Wilson Kuwabara" userId="1d9421ce-8841-4d39-87d6-ab608b836038" providerId="ADAL" clId="{5C923B79-0CD2-4CAB-BD46-3F7A432575C1}" dt="2025-04-03T11:59:28.362" v="547"/>
          <ac:spMkLst>
            <pc:docMk/>
            <pc:sldMk cId="3632512010" sldId="2147483613"/>
            <ac:spMk id="13" creationId="{7F141602-50D3-B354-3239-2CB7400A4DD0}"/>
          </ac:spMkLst>
        </pc:spChg>
        <pc:spChg chg="mod">
          <ac:chgData name="Wilson Kuwabara" userId="1d9421ce-8841-4d39-87d6-ab608b836038" providerId="ADAL" clId="{5C923B79-0CD2-4CAB-BD46-3F7A432575C1}" dt="2025-04-03T12:27:41.572" v="949" actId="20577"/>
          <ac:spMkLst>
            <pc:docMk/>
            <pc:sldMk cId="3632512010" sldId="2147483613"/>
            <ac:spMk id="14" creationId="{992B311E-E784-10B5-DA84-EC2B01A714A4}"/>
          </ac:spMkLst>
        </pc:spChg>
        <pc:spChg chg="mod">
          <ac:chgData name="Wilson Kuwabara" userId="1d9421ce-8841-4d39-87d6-ab608b836038" providerId="ADAL" clId="{5C923B79-0CD2-4CAB-BD46-3F7A432575C1}" dt="2025-04-03T12:01:49.055" v="554" actId="5793"/>
          <ac:spMkLst>
            <pc:docMk/>
            <pc:sldMk cId="3632512010" sldId="2147483613"/>
            <ac:spMk id="15" creationId="{8A2215C0-DED7-1313-A0FF-8E81EED9D667}"/>
          </ac:spMkLst>
        </pc:spChg>
        <pc:spChg chg="mod">
          <ac:chgData name="Wilson Kuwabara" userId="1d9421ce-8841-4d39-87d6-ab608b836038" providerId="ADAL" clId="{5C923B79-0CD2-4CAB-BD46-3F7A432575C1}" dt="2025-04-03T12:28:19.385" v="972" actId="20577"/>
          <ac:spMkLst>
            <pc:docMk/>
            <pc:sldMk cId="3632512010" sldId="2147483613"/>
            <ac:spMk id="24" creationId="{273ECCF7-7AC7-84A5-82B1-029B68C45B0A}"/>
          </ac:spMkLst>
        </pc:spChg>
        <pc:spChg chg="mod">
          <ac:chgData name="Wilson Kuwabara" userId="1d9421ce-8841-4d39-87d6-ab608b836038" providerId="ADAL" clId="{5C923B79-0CD2-4CAB-BD46-3F7A432575C1}" dt="2025-04-03T11:56:36.094" v="538" actId="1076"/>
          <ac:spMkLst>
            <pc:docMk/>
            <pc:sldMk cId="3632512010" sldId="2147483613"/>
            <ac:spMk id="26" creationId="{2C0BA05E-990B-CD69-B0CB-360579A82BB1}"/>
          </ac:spMkLst>
        </pc:spChg>
        <pc:spChg chg="mod">
          <ac:chgData name="Wilson Kuwabara" userId="1d9421ce-8841-4d39-87d6-ab608b836038" providerId="ADAL" clId="{5C923B79-0CD2-4CAB-BD46-3F7A432575C1}" dt="2025-04-03T11:56:36.094" v="538" actId="1076"/>
          <ac:spMkLst>
            <pc:docMk/>
            <pc:sldMk cId="3632512010" sldId="2147483613"/>
            <ac:spMk id="28" creationId="{A59BD1BE-921B-2A4B-AD8D-8DA81BAD2BCB}"/>
          </ac:spMkLst>
        </pc:spChg>
        <pc:spChg chg="mod">
          <ac:chgData name="Wilson Kuwabara" userId="1d9421ce-8841-4d39-87d6-ab608b836038" providerId="ADAL" clId="{5C923B79-0CD2-4CAB-BD46-3F7A432575C1}" dt="2025-04-03T11:56:40.598" v="539" actId="1076"/>
          <ac:spMkLst>
            <pc:docMk/>
            <pc:sldMk cId="3632512010" sldId="2147483613"/>
            <ac:spMk id="30" creationId="{0E967A0F-2C84-4134-DDB5-B2661F391AD9}"/>
          </ac:spMkLst>
        </pc:spChg>
        <pc:picChg chg="mod">
          <ac:chgData name="Wilson Kuwabara" userId="1d9421ce-8841-4d39-87d6-ab608b836038" providerId="ADAL" clId="{5C923B79-0CD2-4CAB-BD46-3F7A432575C1}" dt="2025-04-03T12:01:40.981" v="553" actId="1076"/>
          <ac:picMkLst>
            <pc:docMk/>
            <pc:sldMk cId="3632512010" sldId="2147483613"/>
            <ac:picMk id="42" creationId="{71A62889-C57C-48D4-19AC-6D1A1353E679}"/>
          </ac:picMkLst>
        </pc:picChg>
      </pc:sldChg>
      <pc:sldChg chg="addSp delSp modSp add mod">
        <pc:chgData name="Wilson Kuwabara" userId="1d9421ce-8841-4d39-87d6-ab608b836038" providerId="ADAL" clId="{5C923B79-0CD2-4CAB-BD46-3F7A432575C1}" dt="2025-04-03T13:16:34.177" v="1077" actId="207"/>
        <pc:sldMkLst>
          <pc:docMk/>
          <pc:sldMk cId="2972652747" sldId="2147483614"/>
        </pc:sldMkLst>
        <pc:spChg chg="add mod">
          <ac:chgData name="Wilson Kuwabara" userId="1d9421ce-8841-4d39-87d6-ab608b836038" providerId="ADAL" clId="{5C923B79-0CD2-4CAB-BD46-3F7A432575C1}" dt="2025-04-03T13:16:34.177" v="1077" actId="207"/>
          <ac:spMkLst>
            <pc:docMk/>
            <pc:sldMk cId="2972652747" sldId="2147483614"/>
            <ac:spMk id="3" creationId="{B0AFB4E6-85B5-4690-3968-97B62A73DCC0}"/>
          </ac:spMkLst>
        </pc:spChg>
        <pc:spChg chg="del">
          <ac:chgData name="Wilson Kuwabara" userId="1d9421ce-8841-4d39-87d6-ab608b836038" providerId="ADAL" clId="{5C923B79-0CD2-4CAB-BD46-3F7A432575C1}" dt="2025-04-03T13:10:53.846" v="978" actId="478"/>
          <ac:spMkLst>
            <pc:docMk/>
            <pc:sldMk cId="2972652747" sldId="2147483614"/>
            <ac:spMk id="6" creationId="{D1D95DEA-B68F-4717-5621-0BEAD23211C3}"/>
          </ac:spMkLst>
        </pc:spChg>
        <pc:spChg chg="del">
          <ac:chgData name="Wilson Kuwabara" userId="1d9421ce-8841-4d39-87d6-ab608b836038" providerId="ADAL" clId="{5C923B79-0CD2-4CAB-BD46-3F7A432575C1}" dt="2025-04-03T13:15:32.228" v="1057" actId="478"/>
          <ac:spMkLst>
            <pc:docMk/>
            <pc:sldMk cId="2972652747" sldId="2147483614"/>
            <ac:spMk id="7" creationId="{97E0EBAC-499E-4134-AB07-9E542D221689}"/>
          </ac:spMkLst>
        </pc:spChg>
        <pc:spChg chg="del">
          <ac:chgData name="Wilson Kuwabara" userId="1d9421ce-8841-4d39-87d6-ab608b836038" providerId="ADAL" clId="{5C923B79-0CD2-4CAB-BD46-3F7A432575C1}" dt="2025-04-03T13:10:53.846" v="978" actId="478"/>
          <ac:spMkLst>
            <pc:docMk/>
            <pc:sldMk cId="2972652747" sldId="2147483614"/>
            <ac:spMk id="8" creationId="{18000D05-4612-EF02-3973-A712A2E82082}"/>
          </ac:spMkLst>
        </pc:spChg>
        <pc:spChg chg="del">
          <ac:chgData name="Wilson Kuwabara" userId="1d9421ce-8841-4d39-87d6-ab608b836038" providerId="ADAL" clId="{5C923B79-0CD2-4CAB-BD46-3F7A432575C1}" dt="2025-04-03T13:10:53.846" v="978" actId="478"/>
          <ac:spMkLst>
            <pc:docMk/>
            <pc:sldMk cId="2972652747" sldId="2147483614"/>
            <ac:spMk id="22" creationId="{D6243AD3-1B4D-BC9F-15EF-31F76FD28A8A}"/>
          </ac:spMkLst>
        </pc:spChg>
        <pc:spChg chg="del">
          <ac:chgData name="Wilson Kuwabara" userId="1d9421ce-8841-4d39-87d6-ab608b836038" providerId="ADAL" clId="{5C923B79-0CD2-4CAB-BD46-3F7A432575C1}" dt="2025-04-03T13:10:53.846" v="978" actId="478"/>
          <ac:spMkLst>
            <pc:docMk/>
            <pc:sldMk cId="2972652747" sldId="2147483614"/>
            <ac:spMk id="32" creationId="{D0CFC658-D8E8-C990-39CE-7ECB7F7B3F6D}"/>
          </ac:spMkLst>
        </pc:spChg>
        <pc:spChg chg="del">
          <ac:chgData name="Wilson Kuwabara" userId="1d9421ce-8841-4d39-87d6-ab608b836038" providerId="ADAL" clId="{5C923B79-0CD2-4CAB-BD46-3F7A432575C1}" dt="2025-04-03T13:10:53.846" v="978" actId="478"/>
          <ac:spMkLst>
            <pc:docMk/>
            <pc:sldMk cId="2972652747" sldId="2147483614"/>
            <ac:spMk id="47" creationId="{B9FD1FA6-352A-8D67-2A4E-6DE7A81A25F1}"/>
          </ac:spMkLst>
        </pc:spChg>
        <pc:spChg chg="del">
          <ac:chgData name="Wilson Kuwabara" userId="1d9421ce-8841-4d39-87d6-ab608b836038" providerId="ADAL" clId="{5C923B79-0CD2-4CAB-BD46-3F7A432575C1}" dt="2025-04-03T13:15:16.786" v="1054" actId="478"/>
          <ac:spMkLst>
            <pc:docMk/>
            <pc:sldMk cId="2972652747" sldId="2147483614"/>
            <ac:spMk id="48" creationId="{5120D94F-92AC-AF80-6628-346DAD8734E8}"/>
          </ac:spMkLst>
        </pc:spChg>
        <pc:spChg chg="del">
          <ac:chgData name="Wilson Kuwabara" userId="1d9421ce-8841-4d39-87d6-ab608b836038" providerId="ADAL" clId="{5C923B79-0CD2-4CAB-BD46-3F7A432575C1}" dt="2025-04-03T13:10:53.846" v="978" actId="478"/>
          <ac:spMkLst>
            <pc:docMk/>
            <pc:sldMk cId="2972652747" sldId="2147483614"/>
            <ac:spMk id="49" creationId="{F895AEC8-B971-2951-839C-74A054A8427F}"/>
          </ac:spMkLst>
        </pc:spChg>
        <pc:spChg chg="del">
          <ac:chgData name="Wilson Kuwabara" userId="1d9421ce-8841-4d39-87d6-ab608b836038" providerId="ADAL" clId="{5C923B79-0CD2-4CAB-BD46-3F7A432575C1}" dt="2025-04-03T13:10:53.846" v="978" actId="478"/>
          <ac:spMkLst>
            <pc:docMk/>
            <pc:sldMk cId="2972652747" sldId="2147483614"/>
            <ac:spMk id="56" creationId="{9111A045-595B-0D6F-E8F3-4F46B7B1BE11}"/>
          </ac:spMkLst>
        </pc:spChg>
        <pc:spChg chg="del">
          <ac:chgData name="Wilson Kuwabara" userId="1d9421ce-8841-4d39-87d6-ab608b836038" providerId="ADAL" clId="{5C923B79-0CD2-4CAB-BD46-3F7A432575C1}" dt="2025-04-03T13:10:53.846" v="978" actId="478"/>
          <ac:spMkLst>
            <pc:docMk/>
            <pc:sldMk cId="2972652747" sldId="2147483614"/>
            <ac:spMk id="57" creationId="{EEDECA8C-FEA0-0361-C4A2-61411A6E4490}"/>
          </ac:spMkLst>
        </pc:spChg>
        <pc:spChg chg="del">
          <ac:chgData name="Wilson Kuwabara" userId="1d9421ce-8841-4d39-87d6-ab608b836038" providerId="ADAL" clId="{5C923B79-0CD2-4CAB-BD46-3F7A432575C1}" dt="2025-04-03T13:10:53.846" v="978" actId="478"/>
          <ac:spMkLst>
            <pc:docMk/>
            <pc:sldMk cId="2972652747" sldId="2147483614"/>
            <ac:spMk id="69" creationId="{EDE33681-139F-1F73-4587-E67FF3589B6D}"/>
          </ac:spMkLst>
        </pc:spChg>
        <pc:spChg chg="del">
          <ac:chgData name="Wilson Kuwabara" userId="1d9421ce-8841-4d39-87d6-ab608b836038" providerId="ADAL" clId="{5C923B79-0CD2-4CAB-BD46-3F7A432575C1}" dt="2025-04-03T13:10:53.846" v="978" actId="478"/>
          <ac:spMkLst>
            <pc:docMk/>
            <pc:sldMk cId="2972652747" sldId="2147483614"/>
            <ac:spMk id="70" creationId="{15AB54DB-31D1-C0D9-97E8-0BE76B6B762F}"/>
          </ac:spMkLst>
        </pc:spChg>
        <pc:spChg chg="mod">
          <ac:chgData name="Wilson Kuwabara" userId="1d9421ce-8841-4d39-87d6-ab608b836038" providerId="ADAL" clId="{5C923B79-0CD2-4CAB-BD46-3F7A432575C1}" dt="2025-04-03T13:15:59.779" v="1066" actId="1076"/>
          <ac:spMkLst>
            <pc:docMk/>
            <pc:sldMk cId="2972652747" sldId="2147483614"/>
            <ac:spMk id="75" creationId="{B1091427-D8EB-1E2B-0E7B-F0E9A1BC38E7}"/>
          </ac:spMkLst>
        </pc:spChg>
        <pc:picChg chg="add mod">
          <ac:chgData name="Wilson Kuwabara" userId="1d9421ce-8841-4d39-87d6-ab608b836038" providerId="ADAL" clId="{5C923B79-0CD2-4CAB-BD46-3F7A432575C1}" dt="2025-04-03T13:15:38.653" v="1060" actId="1076"/>
          <ac:picMkLst>
            <pc:docMk/>
            <pc:sldMk cId="2972652747" sldId="2147483614"/>
            <ac:picMk id="4" creationId="{7B0FE53A-9EDF-DF84-045A-90D5E98CFF7B}"/>
          </ac:picMkLst>
        </pc:picChg>
        <pc:picChg chg="add mod">
          <ac:chgData name="Wilson Kuwabara" userId="1d9421ce-8841-4d39-87d6-ab608b836038" providerId="ADAL" clId="{5C923B79-0CD2-4CAB-BD46-3F7A432575C1}" dt="2025-04-03T13:16:14.273" v="1071" actId="1076"/>
          <ac:picMkLst>
            <pc:docMk/>
            <pc:sldMk cId="2972652747" sldId="2147483614"/>
            <ac:picMk id="5" creationId="{F637B81A-477D-5A92-876E-2012536FE5D4}"/>
          </ac:picMkLst>
        </pc:picChg>
        <pc:picChg chg="del">
          <ac:chgData name="Wilson Kuwabara" userId="1d9421ce-8841-4d39-87d6-ab608b836038" providerId="ADAL" clId="{5C923B79-0CD2-4CAB-BD46-3F7A432575C1}" dt="2025-04-03T13:15:54.022" v="1065" actId="478"/>
          <ac:picMkLst>
            <pc:docMk/>
            <pc:sldMk cId="2972652747" sldId="2147483614"/>
            <ac:picMk id="76" creationId="{79C9567B-9C6A-D261-DDD5-FA19F4979DBD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Planilha_do_Microsoft_Excel1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Planilha_do_Microsoft_Excel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erage stature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Vosoritide
(n=14)</c:v>
                </c:pt>
                <c:pt idx="1">
                  <c:v>AchNH
(n=150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6.37</c:v>
                </c:pt>
                <c:pt idx="1">
                  <c:v>26.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E40-48C7-BF08-C7E04B26A0F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ch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0E40-48C7-BF08-C7E04B26A0F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0E40-48C7-BF08-C7E04B26A0F0}"/>
              </c:ext>
            </c:extLst>
          </c:dPt>
          <c:cat>
            <c:strRef>
              <c:f>Sheet1!$A$2:$A$3</c:f>
              <c:strCache>
                <c:ptCount val="2"/>
                <c:pt idx="0">
                  <c:v>Vosoritide
(n=14)</c:v>
                </c:pt>
                <c:pt idx="1">
                  <c:v>AchNH
(n=150)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1.1</c:v>
                </c:pt>
                <c:pt idx="1">
                  <c:v>17.6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0E40-48C7-BF08-C7E04B26A0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5"/>
        <c:axId val="385273472"/>
        <c:axId val="385266024"/>
      </c:barChart>
      <c:catAx>
        <c:axId val="3852734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85266024"/>
        <c:crosses val="autoZero"/>
        <c:auto val="1"/>
        <c:lblAlgn val="ctr"/>
        <c:lblOffset val="100"/>
        <c:noMultiLvlLbl val="0"/>
      </c:catAx>
      <c:valAx>
        <c:axId val="385266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85273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rgbClr val="F7A38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0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522-4659-A031-BA44DE0C2A3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&lt;1</c:v>
                </c:pt>
              </c:strCache>
            </c:strRef>
          </c:tx>
          <c:spPr>
            <a:solidFill>
              <a:srgbClr val="767DD0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1.09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522-4659-A031-BA44DE0C2A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&gt;1</c:v>
                </c:pt>
              </c:strCache>
            </c:strRef>
          </c:tx>
          <c:spPr>
            <a:solidFill>
              <a:srgbClr val="FD5FB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3.6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522-4659-A031-BA44DE0C2A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86872704"/>
        <c:axId val="386870744"/>
      </c:barChart>
      <c:catAx>
        <c:axId val="3868727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86870744"/>
        <c:crosses val="autoZero"/>
        <c:auto val="1"/>
        <c:lblAlgn val="ctr"/>
        <c:lblOffset val="100"/>
        <c:noMultiLvlLbl val="0"/>
      </c:catAx>
      <c:valAx>
        <c:axId val="386870744"/>
        <c:scaling>
          <c:orientation val="minMax"/>
          <c:max val="20"/>
          <c:min val="-10"/>
        </c:scaling>
        <c:delete val="1"/>
        <c:axPos val="l"/>
        <c:numFmt formatCode="General" sourceLinked="1"/>
        <c:majorTickMark val="out"/>
        <c:minorTickMark val="none"/>
        <c:tickLblPos val="nextTo"/>
        <c:crossAx val="386872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erage stature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Vosoritide
(n=9)</c:v>
                </c:pt>
                <c:pt idx="1">
                  <c:v>AchNH
(n=30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6.21</c:v>
                </c:pt>
                <c:pt idx="1">
                  <c:v>26.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37E-4009-AC57-534813531A9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ch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937E-4009-AC57-534813531A9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937E-4009-AC57-534813531A95}"/>
              </c:ext>
            </c:extLst>
          </c:dPt>
          <c:cat>
            <c:strRef>
              <c:f>Sheet1!$A$2:$A$3</c:f>
              <c:strCache>
                <c:ptCount val="2"/>
                <c:pt idx="0">
                  <c:v>Vosoritide
(n=9)</c:v>
                </c:pt>
                <c:pt idx="1">
                  <c:v>AchNH
(n=30)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3.71</c:v>
                </c:pt>
                <c:pt idx="1">
                  <c:v>17.30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937E-4009-AC57-534813531A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5"/>
        <c:axId val="385269944"/>
        <c:axId val="385272296"/>
      </c:barChart>
      <c:catAx>
        <c:axId val="3852699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85272296"/>
        <c:crosses val="autoZero"/>
        <c:auto val="1"/>
        <c:lblAlgn val="ctr"/>
        <c:lblOffset val="100"/>
        <c:noMultiLvlLbl val="0"/>
      </c:catAx>
      <c:valAx>
        <c:axId val="385272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85269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rgbClr val="F7A38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3.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1E3-4749-BB0E-FFA606BB6ED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&lt;1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0.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1E3-4749-BB0E-FFA606BB6ED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&gt;1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6.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31E3-4749-BB0E-FFA606BB6E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85272688"/>
        <c:axId val="385271512"/>
      </c:barChart>
      <c:catAx>
        <c:axId val="3852726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85271512"/>
        <c:crosses val="autoZero"/>
        <c:auto val="1"/>
        <c:lblAlgn val="ctr"/>
        <c:lblOffset val="100"/>
        <c:noMultiLvlLbl val="0"/>
      </c:catAx>
      <c:valAx>
        <c:axId val="385271512"/>
        <c:scaling>
          <c:orientation val="minMax"/>
          <c:max val="20"/>
        </c:scaling>
        <c:delete val="1"/>
        <c:axPos val="l"/>
        <c:numFmt formatCode="General" sourceLinked="1"/>
        <c:majorTickMark val="out"/>
        <c:minorTickMark val="none"/>
        <c:tickLblPos val="nextTo"/>
        <c:crossAx val="385272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rgbClr val="F7A38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2.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7A4-4C85-B5EC-8CC01E4E13E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&lt;1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0.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7A4-4C85-B5EC-8CC01E4E13E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&gt;1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5.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7A4-4C85-B5EC-8CC01E4E13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85271904"/>
        <c:axId val="385266416"/>
      </c:barChart>
      <c:catAx>
        <c:axId val="3852719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85266416"/>
        <c:crosses val="autoZero"/>
        <c:auto val="1"/>
        <c:lblAlgn val="ctr"/>
        <c:lblOffset val="100"/>
        <c:noMultiLvlLbl val="0"/>
      </c:catAx>
      <c:valAx>
        <c:axId val="385266416"/>
        <c:scaling>
          <c:orientation val="minMax"/>
          <c:max val="20"/>
        </c:scaling>
        <c:delete val="1"/>
        <c:axPos val="l"/>
        <c:numFmt formatCode="General" sourceLinked="1"/>
        <c:majorTickMark val="out"/>
        <c:minorTickMark val="none"/>
        <c:tickLblPos val="nextTo"/>
        <c:crossAx val="385271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rgbClr val="F7A38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.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D9E-462A-9367-967D5693C83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&lt;1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6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D9E-462A-9367-967D5693C83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&gt;1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1.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D9E-462A-9367-967D5693C8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85273080"/>
        <c:axId val="385267984"/>
      </c:barChart>
      <c:catAx>
        <c:axId val="3852730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85267984"/>
        <c:crosses val="autoZero"/>
        <c:auto val="1"/>
        <c:lblAlgn val="ctr"/>
        <c:lblOffset val="100"/>
        <c:noMultiLvlLbl val="0"/>
      </c:catAx>
      <c:valAx>
        <c:axId val="3852679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85273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rgbClr val="F7A38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0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4D2-4F3F-9DAA-CEE87035BF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&lt;1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1.09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4D2-4F3F-9DAA-CEE87035BF5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&gt;1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3.6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4D2-4F3F-9DAA-CEE87035BF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85269552"/>
        <c:axId val="374505440"/>
      </c:barChart>
      <c:catAx>
        <c:axId val="385269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74505440"/>
        <c:crosses val="autoZero"/>
        <c:auto val="1"/>
        <c:lblAlgn val="ctr"/>
        <c:lblOffset val="100"/>
        <c:noMultiLvlLbl val="0"/>
      </c:catAx>
      <c:valAx>
        <c:axId val="374505440"/>
        <c:scaling>
          <c:orientation val="minMax"/>
          <c:max val="20"/>
          <c:min val="-10"/>
        </c:scaling>
        <c:delete val="1"/>
        <c:axPos val="l"/>
        <c:numFmt formatCode="General" sourceLinked="1"/>
        <c:majorTickMark val="out"/>
        <c:minorTickMark val="none"/>
        <c:tickLblPos val="nextTo"/>
        <c:crossAx val="385269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rgbClr val="F7A38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.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D1C-4DB4-BAB5-CBBCD2F6E54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&lt;1</c:v>
                </c:pt>
              </c:strCache>
            </c:strRef>
          </c:tx>
          <c:spPr>
            <a:solidFill>
              <a:srgbClr val="767DD0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6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D1C-4DB4-BAB5-CBBCD2F6E54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&gt;1</c:v>
                </c:pt>
              </c:strCache>
            </c:strRef>
          </c:tx>
          <c:spPr>
            <a:solidFill>
              <a:srgbClr val="FD5FB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1.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D1C-4DB4-BAB5-CBBCD2F6E5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86871136"/>
        <c:axId val="386872312"/>
      </c:barChart>
      <c:catAx>
        <c:axId val="386871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86872312"/>
        <c:crosses val="autoZero"/>
        <c:auto val="1"/>
        <c:lblAlgn val="ctr"/>
        <c:lblOffset val="100"/>
        <c:noMultiLvlLbl val="0"/>
      </c:catAx>
      <c:valAx>
        <c:axId val="3868723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86871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rgbClr val="F7A38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3.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650-41A6-A16D-DC3CCB2C9FA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&lt;1</c:v>
                </c:pt>
              </c:strCache>
            </c:strRef>
          </c:tx>
          <c:spPr>
            <a:solidFill>
              <a:srgbClr val="767DD0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0.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650-41A6-A16D-DC3CCB2C9FA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&gt;1</c:v>
                </c:pt>
              </c:strCache>
            </c:strRef>
          </c:tx>
          <c:spPr>
            <a:solidFill>
              <a:srgbClr val="FD5FB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6.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650-41A6-A16D-DC3CCB2C9F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86874664"/>
        <c:axId val="386875056"/>
      </c:barChart>
      <c:catAx>
        <c:axId val="386874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86875056"/>
        <c:crosses val="autoZero"/>
        <c:auto val="1"/>
        <c:lblAlgn val="ctr"/>
        <c:lblOffset val="100"/>
        <c:noMultiLvlLbl val="0"/>
      </c:catAx>
      <c:valAx>
        <c:axId val="386875056"/>
        <c:scaling>
          <c:orientation val="minMax"/>
          <c:max val="20"/>
        </c:scaling>
        <c:delete val="1"/>
        <c:axPos val="l"/>
        <c:numFmt formatCode="General" sourceLinked="1"/>
        <c:majorTickMark val="out"/>
        <c:minorTickMark val="none"/>
        <c:tickLblPos val="nextTo"/>
        <c:crossAx val="3868746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rgbClr val="F7A38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2.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3AD-4115-B96F-9DE0F090B7A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&lt;1</c:v>
                </c:pt>
              </c:strCache>
            </c:strRef>
          </c:tx>
          <c:spPr>
            <a:solidFill>
              <a:srgbClr val="767DD0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0.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3AD-4115-B96F-9DE0F090B7A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&gt;1</c:v>
                </c:pt>
              </c:strCache>
            </c:strRef>
          </c:tx>
          <c:spPr>
            <a:solidFill>
              <a:srgbClr val="FD5FB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5.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3AD-4115-B96F-9DE0F090B7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86871528"/>
        <c:axId val="386869960"/>
      </c:barChart>
      <c:catAx>
        <c:axId val="3868715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86869960"/>
        <c:crosses val="autoZero"/>
        <c:auto val="1"/>
        <c:lblAlgn val="ctr"/>
        <c:lblOffset val="100"/>
        <c:noMultiLvlLbl val="0"/>
      </c:catAx>
      <c:valAx>
        <c:axId val="386869960"/>
        <c:scaling>
          <c:orientation val="minMax"/>
          <c:max val="20"/>
        </c:scaling>
        <c:delete val="1"/>
        <c:axPos val="l"/>
        <c:numFmt formatCode="General" sourceLinked="1"/>
        <c:majorTickMark val="out"/>
        <c:minorTickMark val="none"/>
        <c:tickLblPos val="nextTo"/>
        <c:crossAx val="386871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57CF9C-827C-45FD-A921-35ECD29A5A2E}" type="datetimeFigureOut">
              <a:rPr lang="en-US" smtClean="0"/>
              <a:t>4/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3E5C0A-E26D-4E0D-B855-3A9625A7B9F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1705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77825" y="719138"/>
            <a:ext cx="6400800" cy="36004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80000"/>
              </a:lnSpc>
            </a:pPr>
            <a:endParaRPr lang="en-US" altLang="en-US" sz="900" dirty="0">
              <a:ea typeface="ＭＳ Ｐゴシック" panose="020B0600070205080204" pitchFamily="34" charset="-128"/>
              <a:cs typeface="Geneva" pitchFamily="-84" charset="0"/>
            </a:endParaRPr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58332" indent="-291666">
              <a:defRPr sz="2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66664" indent="-233332">
              <a:defRPr sz="2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33329" indent="-233332">
              <a:defRPr sz="2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99995" indent="-233332">
              <a:defRPr sz="2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66660" indent="-233332" defTabSz="466666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3033326" indent="-233332" defTabSz="466666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99991" indent="-233332" defTabSz="466666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966657" indent="-233332" defTabSz="466666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22FF36F-33C9-4AF0-8B1E-4DA507E0EEB4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46045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C2DED73E-5383-A3F6-03A6-3E72D34F51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8D07BD81-8B69-4745-F9F7-0F7F0F859E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D11CB254-B3CF-B27D-CCC4-55C1A4D1E1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3FEEA3F-D228-5CE4-5103-E98ECCE187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13101A-D7F6-41E7-BBAB-C16FFB76974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17539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7675" y="292100"/>
            <a:ext cx="59436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7926E6-6E72-431F-8546-57FC5F20EF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73134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34B4EBB-B445-EF71-E085-7D62181602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854696D7-598A-0057-187D-7941F93658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06555A1B-111E-6954-5D92-FC18A82957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sz="1200" b="1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O </a:t>
            </a:r>
            <a:r>
              <a:rPr lang="en-US" sz="1200" b="1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mais</a:t>
            </a:r>
            <a:r>
              <a:rPr lang="en-US" sz="1200" b="1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b="1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abrangente</a:t>
            </a:r>
            <a:r>
              <a:rPr lang="en-US" sz="1200" b="1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e </a:t>
            </a:r>
            <a:r>
              <a:rPr lang="en-US" sz="1200" b="1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mais</a:t>
            </a:r>
            <a:r>
              <a:rPr lang="en-US" sz="1200" b="1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b="1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longo</a:t>
            </a:r>
            <a:r>
              <a:rPr lang="en-US" sz="1200" b="1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conjunto de </a:t>
            </a:r>
            <a:r>
              <a:rPr lang="en-US" sz="1200" b="1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evidências</a:t>
            </a:r>
            <a:r>
              <a:rPr lang="en-US" sz="1200" b="1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na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acondroplasia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, a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partir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de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estudos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controlados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por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placebo e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uso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extensivo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no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mundo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real,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além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de dados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preliminares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encorajadores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em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outras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condições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relacionadas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ao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crescimento</a:t>
            </a:r>
            <a:endParaRPr lang="en-US" sz="1200" kern="1200" dirty="0">
              <a:solidFill>
                <a:srgbClr val="505050"/>
              </a:solidFill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mo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505050"/>
                </a:solidFill>
                <a:latin typeface="Arial" panose="020B0604020202020204"/>
              </a:rPr>
              <a:t>mais</a:t>
            </a:r>
            <a:r>
              <a:rPr lang="en-US" dirty="0">
                <a:solidFill>
                  <a:srgbClr val="505050"/>
                </a:solidFill>
                <a:latin typeface="Arial" panose="020B0604020202020204"/>
              </a:rPr>
              <a:t> de </a:t>
            </a:r>
            <a:r>
              <a:rPr lang="en-US" b="1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" panose="020B0604020202020204"/>
              </a:rPr>
              <a:t>6.000 </a:t>
            </a:r>
            <a:r>
              <a:rPr lang="en-US" b="1" dirty="0" err="1">
                <a:solidFill>
                  <a:schemeClr val="accent6">
                    <a:lumMod val="90000"/>
                    <a:lumOff val="10000"/>
                  </a:schemeClr>
                </a:solidFill>
                <a:latin typeface="Arial" panose="020B0604020202020204"/>
              </a:rPr>
              <a:t>anos-pessoa</a:t>
            </a:r>
            <a:r>
              <a:rPr lang="en-US" b="1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" panose="020B0604020202020204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 dado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guranç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d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e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tudo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ínico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 no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nári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ós-aprovaçã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monstrand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fi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voráve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ínu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c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efíci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a vosoritida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dirty="0"/>
              <a:t>Em 25 de </a:t>
            </a:r>
            <a:r>
              <a:rPr lang="en-US" dirty="0" err="1"/>
              <a:t>fevereiro</a:t>
            </a:r>
            <a:r>
              <a:rPr lang="en-US" dirty="0"/>
              <a:t> de 2023, a </a:t>
            </a:r>
            <a:r>
              <a:rPr lang="en-US" dirty="0" err="1"/>
              <a:t>segurança</a:t>
            </a:r>
            <a:r>
              <a:rPr lang="en-US" dirty="0"/>
              <a:t> do </a:t>
            </a:r>
            <a:r>
              <a:rPr lang="en-US" dirty="0" err="1"/>
              <a:t>vosoritida</a:t>
            </a:r>
            <a:r>
              <a:rPr lang="en-US" dirty="0"/>
              <a:t> </a:t>
            </a:r>
            <a:r>
              <a:rPr lang="en-US" dirty="0" err="1"/>
              <a:t>foi</a:t>
            </a:r>
            <a:r>
              <a:rPr lang="en-US" dirty="0"/>
              <a:t> </a:t>
            </a:r>
            <a:r>
              <a:rPr lang="en-US" dirty="0" err="1"/>
              <a:t>avaliada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243 </a:t>
            </a:r>
            <a:r>
              <a:rPr lang="en-US" dirty="0" err="1"/>
              <a:t>participantes</a:t>
            </a:r>
            <a:r>
              <a:rPr lang="en-US" dirty="0"/>
              <a:t> de </a:t>
            </a:r>
            <a:r>
              <a:rPr lang="en-US" dirty="0" err="1"/>
              <a:t>estudos</a:t>
            </a:r>
            <a:r>
              <a:rPr lang="en-US" dirty="0"/>
              <a:t> </a:t>
            </a:r>
            <a:r>
              <a:rPr lang="en-US" dirty="0" err="1"/>
              <a:t>clínicos</a:t>
            </a:r>
            <a:r>
              <a:rPr lang="en-US" dirty="0"/>
              <a:t> com </a:t>
            </a:r>
            <a:r>
              <a:rPr lang="en-US" dirty="0" err="1"/>
              <a:t>acondroplasia</a:t>
            </a:r>
            <a:r>
              <a:rPr lang="en-US" dirty="0"/>
              <a:t> </a:t>
            </a:r>
            <a:r>
              <a:rPr lang="en-US" b="1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com </a:t>
            </a:r>
            <a:r>
              <a:rPr lang="en-US" b="1" dirty="0" err="1">
                <a:solidFill>
                  <a:schemeClr val="accent6">
                    <a:lumMod val="90000"/>
                    <a:lumOff val="10000"/>
                  </a:schemeClr>
                </a:solidFill>
              </a:rPr>
              <a:t>idade</a:t>
            </a:r>
            <a:r>
              <a:rPr lang="en-US" b="1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 entre 1 </a:t>
            </a:r>
            <a:r>
              <a:rPr lang="en-US" b="1" dirty="0" err="1">
                <a:solidFill>
                  <a:schemeClr val="accent6">
                    <a:lumMod val="90000"/>
                    <a:lumOff val="10000"/>
                  </a:schemeClr>
                </a:solidFill>
              </a:rPr>
              <a:t>mês</a:t>
            </a:r>
            <a:r>
              <a:rPr lang="en-US" b="1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 e 15,9 </a:t>
            </a:r>
            <a:r>
              <a:rPr lang="en-US" b="1" dirty="0" err="1">
                <a:solidFill>
                  <a:schemeClr val="accent6">
                    <a:lumMod val="90000"/>
                    <a:lumOff val="10000"/>
                  </a:schemeClr>
                </a:solidFill>
              </a:rPr>
              <a:t>anos</a:t>
            </a:r>
            <a:r>
              <a:rPr lang="en-US" b="1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, com </a:t>
            </a:r>
            <a:r>
              <a:rPr lang="en-US" b="1" dirty="0" err="1">
                <a:solidFill>
                  <a:schemeClr val="accent6">
                    <a:lumMod val="90000"/>
                    <a:lumOff val="10000"/>
                  </a:schemeClr>
                </a:solidFill>
              </a:rPr>
              <a:t>até</a:t>
            </a:r>
            <a:r>
              <a:rPr lang="en-US" b="1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 10 </a:t>
            </a:r>
            <a:r>
              <a:rPr lang="en-US" b="1" dirty="0" err="1">
                <a:solidFill>
                  <a:schemeClr val="accent6">
                    <a:lumMod val="90000"/>
                    <a:lumOff val="10000"/>
                  </a:schemeClr>
                </a:solidFill>
              </a:rPr>
              <a:t>anos</a:t>
            </a:r>
            <a:r>
              <a:rPr lang="en-US" b="1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 de </a:t>
            </a:r>
            <a:r>
              <a:rPr lang="en-US" b="1" dirty="0" err="1">
                <a:solidFill>
                  <a:schemeClr val="accent6">
                    <a:lumMod val="90000"/>
                    <a:lumOff val="10000"/>
                  </a:schemeClr>
                </a:solidFill>
              </a:rPr>
              <a:t>acompanhamento</a:t>
            </a:r>
            <a:endParaRPr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lang="en-US" sz="1200" kern="1200" dirty="0">
              <a:solidFill>
                <a:srgbClr val="505050"/>
              </a:solidFill>
              <a:latin typeface="Avenir Next LT Pro" panose="020B0504020202020204" pitchFamily="34" charset="0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8000DA0-31FB-1F27-DE26-DA3495C052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13101A-D7F6-41E7-BBAB-C16FFB76974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23766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A15505A4-C16C-3373-4979-1A1C058C41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E8085842-FCEE-5FAA-4D47-237651941A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9BC57004-3545-F1A0-B837-4B563F678A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sz="1200" b="1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O </a:t>
            </a:r>
            <a:r>
              <a:rPr lang="en-US" sz="1200" b="1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mais</a:t>
            </a:r>
            <a:r>
              <a:rPr lang="en-US" sz="1200" b="1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b="1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abrangente</a:t>
            </a:r>
            <a:r>
              <a:rPr lang="en-US" sz="1200" b="1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e </a:t>
            </a:r>
            <a:r>
              <a:rPr lang="en-US" sz="1200" b="1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mais</a:t>
            </a:r>
            <a:r>
              <a:rPr lang="en-US" sz="1200" b="1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b="1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longo</a:t>
            </a:r>
            <a:r>
              <a:rPr lang="en-US" sz="1200" b="1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conjunto de </a:t>
            </a:r>
            <a:r>
              <a:rPr lang="en-US" sz="1200" b="1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evidências</a:t>
            </a:r>
            <a:r>
              <a:rPr lang="en-US" sz="1200" b="1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na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acondroplasia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, a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partir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de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estudos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controlados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por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placebo e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uso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extensivo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no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mundo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real,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além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de dados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preliminares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encorajadores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em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outras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condições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relacionadas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ao</a:t>
            </a:r>
            <a:r>
              <a:rPr lang="en-US" sz="1200" kern="1200" dirty="0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rgbClr val="505050"/>
                </a:solidFill>
                <a:latin typeface="Avenir Next LT Pro" panose="020B0504020202020204" pitchFamily="34" charset="0"/>
                <a:ea typeface="+mn-ea"/>
                <a:cs typeface="+mn-cs"/>
              </a:rPr>
              <a:t>crescimento</a:t>
            </a:r>
            <a:endParaRPr lang="en-US" sz="1200" kern="1200" dirty="0">
              <a:solidFill>
                <a:srgbClr val="505050"/>
              </a:solidFill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mo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505050"/>
                </a:solidFill>
                <a:latin typeface="Arial" panose="020B0604020202020204"/>
              </a:rPr>
              <a:t>mais</a:t>
            </a:r>
            <a:r>
              <a:rPr lang="en-US" dirty="0">
                <a:solidFill>
                  <a:srgbClr val="505050"/>
                </a:solidFill>
                <a:latin typeface="Arial" panose="020B0604020202020204"/>
              </a:rPr>
              <a:t> de </a:t>
            </a:r>
            <a:r>
              <a:rPr lang="en-US" b="1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" panose="020B0604020202020204"/>
              </a:rPr>
              <a:t>6.000 </a:t>
            </a:r>
            <a:r>
              <a:rPr lang="en-US" b="1" dirty="0" err="1">
                <a:solidFill>
                  <a:schemeClr val="accent6">
                    <a:lumMod val="90000"/>
                    <a:lumOff val="10000"/>
                  </a:schemeClr>
                </a:solidFill>
                <a:latin typeface="Arial" panose="020B0604020202020204"/>
              </a:rPr>
              <a:t>anos-pessoa</a:t>
            </a:r>
            <a:r>
              <a:rPr lang="en-US" b="1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" panose="020B0604020202020204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 dado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guranç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d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e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tudo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ínico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 no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nári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ós-aprovaçã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monstrand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fi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voráve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ínu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c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efíci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a vosoritida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dirty="0"/>
              <a:t>Em 25 de </a:t>
            </a:r>
            <a:r>
              <a:rPr lang="en-US" dirty="0" err="1"/>
              <a:t>fevereiro</a:t>
            </a:r>
            <a:r>
              <a:rPr lang="en-US" dirty="0"/>
              <a:t> de 2023, a </a:t>
            </a:r>
            <a:r>
              <a:rPr lang="en-US" dirty="0" err="1"/>
              <a:t>segurança</a:t>
            </a:r>
            <a:r>
              <a:rPr lang="en-US" dirty="0"/>
              <a:t> do </a:t>
            </a:r>
            <a:r>
              <a:rPr lang="en-US" dirty="0" err="1"/>
              <a:t>vosoritida</a:t>
            </a:r>
            <a:r>
              <a:rPr lang="en-US" dirty="0"/>
              <a:t> </a:t>
            </a:r>
            <a:r>
              <a:rPr lang="en-US" dirty="0" err="1"/>
              <a:t>foi</a:t>
            </a:r>
            <a:r>
              <a:rPr lang="en-US" dirty="0"/>
              <a:t> </a:t>
            </a:r>
            <a:r>
              <a:rPr lang="en-US" dirty="0" err="1"/>
              <a:t>avaliada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243 </a:t>
            </a:r>
            <a:r>
              <a:rPr lang="en-US" dirty="0" err="1"/>
              <a:t>participantes</a:t>
            </a:r>
            <a:r>
              <a:rPr lang="en-US" dirty="0"/>
              <a:t> de </a:t>
            </a:r>
            <a:r>
              <a:rPr lang="en-US" dirty="0" err="1"/>
              <a:t>estudos</a:t>
            </a:r>
            <a:r>
              <a:rPr lang="en-US" dirty="0"/>
              <a:t> </a:t>
            </a:r>
            <a:r>
              <a:rPr lang="en-US" dirty="0" err="1"/>
              <a:t>clínicos</a:t>
            </a:r>
            <a:r>
              <a:rPr lang="en-US" dirty="0"/>
              <a:t> com </a:t>
            </a:r>
            <a:r>
              <a:rPr lang="en-US" dirty="0" err="1"/>
              <a:t>acondroplasia</a:t>
            </a:r>
            <a:r>
              <a:rPr lang="en-US" dirty="0"/>
              <a:t> </a:t>
            </a:r>
            <a:r>
              <a:rPr lang="en-US" b="1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com </a:t>
            </a:r>
            <a:r>
              <a:rPr lang="en-US" b="1" dirty="0" err="1">
                <a:solidFill>
                  <a:schemeClr val="accent6">
                    <a:lumMod val="90000"/>
                    <a:lumOff val="10000"/>
                  </a:schemeClr>
                </a:solidFill>
              </a:rPr>
              <a:t>idade</a:t>
            </a:r>
            <a:r>
              <a:rPr lang="en-US" b="1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 entre 1 </a:t>
            </a:r>
            <a:r>
              <a:rPr lang="en-US" b="1" dirty="0" err="1">
                <a:solidFill>
                  <a:schemeClr val="accent6">
                    <a:lumMod val="90000"/>
                    <a:lumOff val="10000"/>
                  </a:schemeClr>
                </a:solidFill>
              </a:rPr>
              <a:t>mês</a:t>
            </a:r>
            <a:r>
              <a:rPr lang="en-US" b="1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 e 15,9 </a:t>
            </a:r>
            <a:r>
              <a:rPr lang="en-US" b="1" dirty="0" err="1">
                <a:solidFill>
                  <a:schemeClr val="accent6">
                    <a:lumMod val="90000"/>
                    <a:lumOff val="10000"/>
                  </a:schemeClr>
                </a:solidFill>
              </a:rPr>
              <a:t>anos</a:t>
            </a:r>
            <a:r>
              <a:rPr lang="en-US" b="1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, com </a:t>
            </a:r>
            <a:r>
              <a:rPr lang="en-US" b="1" dirty="0" err="1">
                <a:solidFill>
                  <a:schemeClr val="accent6">
                    <a:lumMod val="90000"/>
                    <a:lumOff val="10000"/>
                  </a:schemeClr>
                </a:solidFill>
              </a:rPr>
              <a:t>até</a:t>
            </a:r>
            <a:r>
              <a:rPr lang="en-US" b="1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 10 </a:t>
            </a:r>
            <a:r>
              <a:rPr lang="en-US" b="1" dirty="0" err="1">
                <a:solidFill>
                  <a:schemeClr val="accent6">
                    <a:lumMod val="90000"/>
                    <a:lumOff val="10000"/>
                  </a:schemeClr>
                </a:solidFill>
              </a:rPr>
              <a:t>anos</a:t>
            </a:r>
            <a:r>
              <a:rPr lang="en-US" b="1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 de </a:t>
            </a:r>
            <a:r>
              <a:rPr lang="en-US" b="1" dirty="0" err="1">
                <a:solidFill>
                  <a:schemeClr val="accent6">
                    <a:lumMod val="90000"/>
                    <a:lumOff val="10000"/>
                  </a:schemeClr>
                </a:solidFill>
              </a:rPr>
              <a:t>acompanhamento</a:t>
            </a:r>
            <a:endParaRPr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lang="en-US" sz="1200" kern="1200" dirty="0">
              <a:solidFill>
                <a:srgbClr val="505050"/>
              </a:solidFill>
              <a:latin typeface="Avenir Next LT Pro" panose="020B0504020202020204" pitchFamily="34" charset="0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B085452-DD25-FBB1-9B14-669015C93E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13101A-D7F6-41E7-BBAB-C16FFB76974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85480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sv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sv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svg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at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, white goods&#10;&#10;Description automatically generated">
            <a:extLst>
              <a:ext uri="{FF2B5EF4-FFF2-40B4-BE49-F238E27FC236}">
                <a16:creationId xmlns:a16="http://schemas.microsoft.com/office/drawing/2014/main" xmlns="" id="{EAE4EC8C-2294-CC9A-57D6-A99E44B464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30269DC-591D-B944-A479-80E360E756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4404" y="3834884"/>
            <a:ext cx="5133724" cy="658717"/>
          </a:xfrm>
        </p:spPr>
        <p:txBody>
          <a:bodyPr lIns="91440" tIns="45720" rIns="91440" bIns="45720">
            <a:noAutofit/>
          </a:bodyPr>
          <a:lstStyle>
            <a:lvl1pPr marL="0" indent="0" algn="r">
              <a:buNone/>
              <a:defRPr sz="2400" b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(Arial 24pt)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2F7201-0FDA-CE47-A9F3-7594A2B9A9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4404" y="2574295"/>
            <a:ext cx="5133724" cy="1237410"/>
          </a:xfrm>
        </p:spPr>
        <p:txBody>
          <a:bodyPr lIns="91440" tIns="45720" rIns="91440" bIns="45720" anchor="b">
            <a:noAutofit/>
          </a:bodyPr>
          <a:lstStyle>
            <a:lvl1pPr algn="r">
              <a:defRPr sz="4000" b="0" i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40pt)</a:t>
            </a:r>
            <a:endParaRPr lang="x-none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7FA03CE2-46CB-D874-45A9-85B30B9FC4BD}"/>
              </a:ext>
            </a:extLst>
          </p:cNvPr>
          <p:cNvGrpSpPr/>
          <p:nvPr userDrawn="1"/>
        </p:nvGrpSpPr>
        <p:grpSpPr>
          <a:xfrm>
            <a:off x="9387557" y="3323005"/>
            <a:ext cx="2184530" cy="319082"/>
            <a:chOff x="9387557" y="3323005"/>
            <a:chExt cx="2184530" cy="319082"/>
          </a:xfrm>
        </p:grpSpPr>
        <p:grpSp>
          <p:nvGrpSpPr>
            <p:cNvPr id="27" name="Picture 7">
              <a:extLst>
                <a:ext uri="{FF2B5EF4-FFF2-40B4-BE49-F238E27FC236}">
                  <a16:creationId xmlns:a16="http://schemas.microsoft.com/office/drawing/2014/main" xmlns="" id="{B73FACBA-13A6-523B-3324-0D8A71D9DF2B}"/>
                </a:ext>
              </a:extLst>
            </p:cNvPr>
            <p:cNvGrpSpPr/>
            <p:nvPr/>
          </p:nvGrpSpPr>
          <p:grpSpPr>
            <a:xfrm>
              <a:off x="9387557" y="3323005"/>
              <a:ext cx="2184530" cy="314756"/>
              <a:chOff x="9387557" y="3323005"/>
              <a:chExt cx="2184530" cy="314756"/>
            </a:xfrm>
            <a:solidFill>
              <a:srgbClr val="28509C"/>
            </a:solidFill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xmlns="" id="{30C49DEB-DE77-0E00-4D45-52FC57975140}"/>
                  </a:ext>
                </a:extLst>
              </p:cNvPr>
              <p:cNvSpPr/>
              <p:nvPr/>
            </p:nvSpPr>
            <p:spPr>
              <a:xfrm>
                <a:off x="10500022" y="3323005"/>
                <a:ext cx="270122" cy="308340"/>
              </a:xfrm>
              <a:custGeom>
                <a:avLst/>
                <a:gdLst>
                  <a:gd name="connsiteX0" fmla="*/ 135025 w 270122"/>
                  <a:gd name="connsiteY0" fmla="*/ 0 h 308340"/>
                  <a:gd name="connsiteX1" fmla="*/ 0 w 270122"/>
                  <a:gd name="connsiteY1" fmla="*/ 308341 h 308340"/>
                  <a:gd name="connsiteX2" fmla="*/ 28949 w 270122"/>
                  <a:gd name="connsiteY2" fmla="*/ 308341 h 308340"/>
                  <a:gd name="connsiteX3" fmla="*/ 76262 w 270122"/>
                  <a:gd name="connsiteY3" fmla="*/ 200274 h 308340"/>
                  <a:gd name="connsiteX4" fmla="*/ 193933 w 270122"/>
                  <a:gd name="connsiteY4" fmla="*/ 200274 h 308340"/>
                  <a:gd name="connsiteX5" fmla="*/ 241533 w 270122"/>
                  <a:gd name="connsiteY5" fmla="*/ 308341 h 308340"/>
                  <a:gd name="connsiteX6" fmla="*/ 270123 w 270122"/>
                  <a:gd name="connsiteY6" fmla="*/ 308341 h 308340"/>
                  <a:gd name="connsiteX7" fmla="*/ 135025 w 270122"/>
                  <a:gd name="connsiteY7" fmla="*/ 0 h 308340"/>
                  <a:gd name="connsiteX8" fmla="*/ 87640 w 270122"/>
                  <a:gd name="connsiteY8" fmla="*/ 174104 h 308340"/>
                  <a:gd name="connsiteX9" fmla="*/ 134809 w 270122"/>
                  <a:gd name="connsiteY9" fmla="*/ 66181 h 308340"/>
                  <a:gd name="connsiteX10" fmla="*/ 182338 w 270122"/>
                  <a:gd name="connsiteY10" fmla="*/ 174104 h 308340"/>
                  <a:gd name="connsiteX11" fmla="*/ 87568 w 270122"/>
                  <a:gd name="connsiteY11" fmla="*/ 174104 h 30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0122" h="308340">
                    <a:moveTo>
                      <a:pt x="135025" y="0"/>
                    </a:moveTo>
                    <a:lnTo>
                      <a:pt x="0" y="308341"/>
                    </a:lnTo>
                    <a:lnTo>
                      <a:pt x="28949" y="308341"/>
                    </a:lnTo>
                    <a:lnTo>
                      <a:pt x="76262" y="200274"/>
                    </a:lnTo>
                    <a:lnTo>
                      <a:pt x="193933" y="200274"/>
                    </a:lnTo>
                    <a:lnTo>
                      <a:pt x="241533" y="308341"/>
                    </a:lnTo>
                    <a:lnTo>
                      <a:pt x="270123" y="308341"/>
                    </a:lnTo>
                    <a:lnTo>
                      <a:pt x="135025" y="0"/>
                    </a:lnTo>
                    <a:close/>
                    <a:moveTo>
                      <a:pt x="87640" y="174104"/>
                    </a:moveTo>
                    <a:lnTo>
                      <a:pt x="134809" y="66181"/>
                    </a:lnTo>
                    <a:lnTo>
                      <a:pt x="182338" y="174104"/>
                    </a:lnTo>
                    <a:lnTo>
                      <a:pt x="87568" y="174104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xmlns="" id="{105FDBB1-1590-519F-E12B-2A28FF5B6720}"/>
                  </a:ext>
                </a:extLst>
              </p:cNvPr>
              <p:cNvSpPr/>
              <p:nvPr/>
            </p:nvSpPr>
            <p:spPr>
              <a:xfrm>
                <a:off x="11126107" y="3329421"/>
                <a:ext cx="26140" cy="301852"/>
              </a:xfrm>
              <a:custGeom>
                <a:avLst/>
                <a:gdLst>
                  <a:gd name="connsiteX0" fmla="*/ 0 w 26140"/>
                  <a:gd name="connsiteY0" fmla="*/ 0 h 301852"/>
                  <a:gd name="connsiteX1" fmla="*/ 26141 w 26140"/>
                  <a:gd name="connsiteY1" fmla="*/ 0 h 301852"/>
                  <a:gd name="connsiteX2" fmla="*/ 26141 w 26140"/>
                  <a:gd name="connsiteY2" fmla="*/ 301852 h 301852"/>
                  <a:gd name="connsiteX3" fmla="*/ 0 w 26140"/>
                  <a:gd name="connsiteY3" fmla="*/ 301852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40" h="301852">
                    <a:moveTo>
                      <a:pt x="0" y="0"/>
                    </a:moveTo>
                    <a:lnTo>
                      <a:pt x="26141" y="0"/>
                    </a:lnTo>
                    <a:lnTo>
                      <a:pt x="26141" y="301852"/>
                    </a:lnTo>
                    <a:lnTo>
                      <a:pt x="0" y="30185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xmlns="" id="{48700604-24AD-D439-3B7D-A39F3CC3CCD8}"/>
                  </a:ext>
                </a:extLst>
              </p:cNvPr>
              <p:cNvSpPr/>
              <p:nvPr/>
            </p:nvSpPr>
            <p:spPr>
              <a:xfrm>
                <a:off x="10168471" y="3323509"/>
                <a:ext cx="276820" cy="307763"/>
              </a:xfrm>
              <a:custGeom>
                <a:avLst/>
                <a:gdLst>
                  <a:gd name="connsiteX0" fmla="*/ 137762 w 276820"/>
                  <a:gd name="connsiteY0" fmla="*/ 139139 h 307763"/>
                  <a:gd name="connsiteX1" fmla="*/ 0 w 276820"/>
                  <a:gd name="connsiteY1" fmla="*/ 144 h 307763"/>
                  <a:gd name="connsiteX2" fmla="*/ 144 w 276820"/>
                  <a:gd name="connsiteY2" fmla="*/ 307764 h 307763"/>
                  <a:gd name="connsiteX3" fmla="*/ 26285 w 276820"/>
                  <a:gd name="connsiteY3" fmla="*/ 307764 h 307763"/>
                  <a:gd name="connsiteX4" fmla="*/ 26285 w 276820"/>
                  <a:gd name="connsiteY4" fmla="*/ 63946 h 307763"/>
                  <a:gd name="connsiteX5" fmla="*/ 137474 w 276820"/>
                  <a:gd name="connsiteY5" fmla="*/ 176555 h 307763"/>
                  <a:gd name="connsiteX6" fmla="*/ 250679 w 276820"/>
                  <a:gd name="connsiteY6" fmla="*/ 63370 h 307763"/>
                  <a:gd name="connsiteX7" fmla="*/ 250679 w 276820"/>
                  <a:gd name="connsiteY7" fmla="*/ 307764 h 307763"/>
                  <a:gd name="connsiteX8" fmla="*/ 276820 w 276820"/>
                  <a:gd name="connsiteY8" fmla="*/ 307764 h 307763"/>
                  <a:gd name="connsiteX9" fmla="*/ 276820 w 276820"/>
                  <a:gd name="connsiteY9" fmla="*/ 0 h 307763"/>
                  <a:gd name="connsiteX10" fmla="*/ 137762 w 276820"/>
                  <a:gd name="connsiteY10" fmla="*/ 139139 h 30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6820" h="307763">
                    <a:moveTo>
                      <a:pt x="137762" y="139139"/>
                    </a:moveTo>
                    <a:lnTo>
                      <a:pt x="0" y="144"/>
                    </a:lnTo>
                    <a:lnTo>
                      <a:pt x="144" y="307764"/>
                    </a:lnTo>
                    <a:lnTo>
                      <a:pt x="26285" y="307764"/>
                    </a:lnTo>
                    <a:lnTo>
                      <a:pt x="26285" y="63946"/>
                    </a:lnTo>
                    <a:lnTo>
                      <a:pt x="137474" y="176555"/>
                    </a:lnTo>
                    <a:lnTo>
                      <a:pt x="250679" y="63370"/>
                    </a:lnTo>
                    <a:lnTo>
                      <a:pt x="250679" y="307764"/>
                    </a:lnTo>
                    <a:lnTo>
                      <a:pt x="276820" y="307764"/>
                    </a:lnTo>
                    <a:lnTo>
                      <a:pt x="276820" y="0"/>
                    </a:lnTo>
                    <a:lnTo>
                      <a:pt x="137762" y="13913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xmlns="" id="{B1B8A9AD-1B2B-9973-06BD-97DFE0100683}"/>
                  </a:ext>
                </a:extLst>
              </p:cNvPr>
              <p:cNvSpPr/>
              <p:nvPr/>
            </p:nvSpPr>
            <p:spPr>
              <a:xfrm>
                <a:off x="11259260" y="3324302"/>
                <a:ext cx="228210" cy="313459"/>
              </a:xfrm>
              <a:custGeom>
                <a:avLst/>
                <a:gdLst>
                  <a:gd name="connsiteX0" fmla="*/ 201998 w 228210"/>
                  <a:gd name="connsiteY0" fmla="*/ 5119 h 313459"/>
                  <a:gd name="connsiteX1" fmla="*/ 201998 w 228210"/>
                  <a:gd name="connsiteY1" fmla="*/ 240213 h 313459"/>
                  <a:gd name="connsiteX2" fmla="*/ 0 w 228210"/>
                  <a:gd name="connsiteY2" fmla="*/ 0 h 313459"/>
                  <a:gd name="connsiteX3" fmla="*/ 0 w 228210"/>
                  <a:gd name="connsiteY3" fmla="*/ 41814 h 313459"/>
                  <a:gd name="connsiteX4" fmla="*/ 0 w 228210"/>
                  <a:gd name="connsiteY4" fmla="*/ 306971 h 313459"/>
                  <a:gd name="connsiteX5" fmla="*/ 26141 w 228210"/>
                  <a:gd name="connsiteY5" fmla="*/ 306971 h 313459"/>
                  <a:gd name="connsiteX6" fmla="*/ 26141 w 228210"/>
                  <a:gd name="connsiteY6" fmla="*/ 72958 h 313459"/>
                  <a:gd name="connsiteX7" fmla="*/ 228211 w 228210"/>
                  <a:gd name="connsiteY7" fmla="*/ 313459 h 313459"/>
                  <a:gd name="connsiteX8" fmla="*/ 228211 w 228210"/>
                  <a:gd name="connsiteY8" fmla="*/ 5119 h 313459"/>
                  <a:gd name="connsiteX9" fmla="*/ 201998 w 228210"/>
                  <a:gd name="connsiteY9" fmla="*/ 5119 h 31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210" h="313459">
                    <a:moveTo>
                      <a:pt x="201998" y="5119"/>
                    </a:moveTo>
                    <a:lnTo>
                      <a:pt x="201998" y="240213"/>
                    </a:lnTo>
                    <a:lnTo>
                      <a:pt x="0" y="0"/>
                    </a:lnTo>
                    <a:lnTo>
                      <a:pt x="0" y="41814"/>
                    </a:lnTo>
                    <a:lnTo>
                      <a:pt x="0" y="306971"/>
                    </a:lnTo>
                    <a:lnTo>
                      <a:pt x="26141" y="306971"/>
                    </a:lnTo>
                    <a:lnTo>
                      <a:pt x="26141" y="72958"/>
                    </a:lnTo>
                    <a:lnTo>
                      <a:pt x="228211" y="313459"/>
                    </a:lnTo>
                    <a:lnTo>
                      <a:pt x="228211" y="5119"/>
                    </a:lnTo>
                    <a:lnTo>
                      <a:pt x="201998" y="511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xmlns="" id="{592B5FCC-9EB2-55CA-6270-57150B9E96EF}"/>
                  </a:ext>
                </a:extLst>
              </p:cNvPr>
              <p:cNvSpPr/>
              <p:nvPr/>
            </p:nvSpPr>
            <p:spPr>
              <a:xfrm>
                <a:off x="10827179" y="3329637"/>
                <a:ext cx="218993" cy="301780"/>
              </a:xfrm>
              <a:custGeom>
                <a:avLst/>
                <a:gdLst>
                  <a:gd name="connsiteX0" fmla="*/ 189468 w 218993"/>
                  <a:gd name="connsiteY0" fmla="*/ 301780 h 301780"/>
                  <a:gd name="connsiteX1" fmla="*/ 218993 w 218993"/>
                  <a:gd name="connsiteY1" fmla="*/ 301780 h 301780"/>
                  <a:gd name="connsiteX2" fmla="*/ 146692 w 218993"/>
                  <a:gd name="connsiteY2" fmla="*/ 160478 h 301780"/>
                  <a:gd name="connsiteX3" fmla="*/ 206319 w 218993"/>
                  <a:gd name="connsiteY3" fmla="*/ 89467 h 301780"/>
                  <a:gd name="connsiteX4" fmla="*/ 206391 w 218993"/>
                  <a:gd name="connsiteY4" fmla="*/ 89467 h 301780"/>
                  <a:gd name="connsiteX5" fmla="*/ 206391 w 218993"/>
                  <a:gd name="connsiteY5" fmla="*/ 87809 h 301780"/>
                  <a:gd name="connsiteX6" fmla="*/ 206679 w 218993"/>
                  <a:gd name="connsiteY6" fmla="*/ 82979 h 301780"/>
                  <a:gd name="connsiteX7" fmla="*/ 206391 w 218993"/>
                  <a:gd name="connsiteY7" fmla="*/ 82979 h 301780"/>
                  <a:gd name="connsiteX8" fmla="*/ 206391 w 218993"/>
                  <a:gd name="connsiteY8" fmla="*/ 80167 h 301780"/>
                  <a:gd name="connsiteX9" fmla="*/ 206679 w 218993"/>
                  <a:gd name="connsiteY9" fmla="*/ 80167 h 301780"/>
                  <a:gd name="connsiteX10" fmla="*/ 206391 w 218993"/>
                  <a:gd name="connsiteY10" fmla="*/ 75265 h 301780"/>
                  <a:gd name="connsiteX11" fmla="*/ 206391 w 218993"/>
                  <a:gd name="connsiteY11" fmla="*/ 75265 h 301780"/>
                  <a:gd name="connsiteX12" fmla="*/ 126600 w 218993"/>
                  <a:gd name="connsiteY12" fmla="*/ 0 h 301780"/>
                  <a:gd name="connsiteX13" fmla="*/ 0 w 218993"/>
                  <a:gd name="connsiteY13" fmla="*/ 0 h 301780"/>
                  <a:gd name="connsiteX14" fmla="*/ 0 w 218993"/>
                  <a:gd name="connsiteY14" fmla="*/ 301708 h 301780"/>
                  <a:gd name="connsiteX15" fmla="*/ 26141 w 218993"/>
                  <a:gd name="connsiteY15" fmla="*/ 301708 h 301780"/>
                  <a:gd name="connsiteX16" fmla="*/ 26141 w 218993"/>
                  <a:gd name="connsiteY16" fmla="*/ 163002 h 301780"/>
                  <a:gd name="connsiteX17" fmla="*/ 118390 w 218993"/>
                  <a:gd name="connsiteY17" fmla="*/ 163002 h 301780"/>
                  <a:gd name="connsiteX18" fmla="*/ 189468 w 218993"/>
                  <a:gd name="connsiteY18" fmla="*/ 301780 h 301780"/>
                  <a:gd name="connsiteX19" fmla="*/ 26141 w 218993"/>
                  <a:gd name="connsiteY19" fmla="*/ 26242 h 301780"/>
                  <a:gd name="connsiteX20" fmla="*/ 126600 w 218993"/>
                  <a:gd name="connsiteY20" fmla="*/ 26242 h 301780"/>
                  <a:gd name="connsiteX21" fmla="*/ 180250 w 218993"/>
                  <a:gd name="connsiteY21" fmla="*/ 79014 h 301780"/>
                  <a:gd name="connsiteX22" fmla="*/ 180250 w 218993"/>
                  <a:gd name="connsiteY22" fmla="*/ 83988 h 301780"/>
                  <a:gd name="connsiteX23" fmla="*/ 126600 w 218993"/>
                  <a:gd name="connsiteY23" fmla="*/ 136688 h 301780"/>
                  <a:gd name="connsiteX24" fmla="*/ 126600 w 218993"/>
                  <a:gd name="connsiteY24" fmla="*/ 136688 h 301780"/>
                  <a:gd name="connsiteX25" fmla="*/ 26141 w 218993"/>
                  <a:gd name="connsiteY25" fmla="*/ 136760 h 301780"/>
                  <a:gd name="connsiteX26" fmla="*/ 26141 w 218993"/>
                  <a:gd name="connsiteY26" fmla="*/ 26242 h 301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8993" h="301780">
                    <a:moveTo>
                      <a:pt x="189468" y="301780"/>
                    </a:moveTo>
                    <a:lnTo>
                      <a:pt x="218993" y="301780"/>
                    </a:lnTo>
                    <a:cubicBezTo>
                      <a:pt x="218993" y="301780"/>
                      <a:pt x="146692" y="160478"/>
                      <a:pt x="146692" y="160478"/>
                    </a:cubicBezTo>
                    <a:cubicBezTo>
                      <a:pt x="179098" y="152044"/>
                      <a:pt x="203582" y="123855"/>
                      <a:pt x="206319" y="89467"/>
                    </a:cubicBezTo>
                    <a:lnTo>
                      <a:pt x="206391" y="89467"/>
                    </a:lnTo>
                    <a:lnTo>
                      <a:pt x="206391" y="87809"/>
                    </a:lnTo>
                    <a:cubicBezTo>
                      <a:pt x="206463" y="86223"/>
                      <a:pt x="206679" y="84565"/>
                      <a:pt x="206679" y="82979"/>
                    </a:cubicBezTo>
                    <a:lnTo>
                      <a:pt x="206391" y="82979"/>
                    </a:lnTo>
                    <a:lnTo>
                      <a:pt x="206391" y="80167"/>
                    </a:lnTo>
                    <a:lnTo>
                      <a:pt x="206679" y="80167"/>
                    </a:lnTo>
                    <a:cubicBezTo>
                      <a:pt x="206679" y="78509"/>
                      <a:pt x="206535" y="76923"/>
                      <a:pt x="206391" y="75265"/>
                    </a:cubicBezTo>
                    <a:lnTo>
                      <a:pt x="206391" y="75265"/>
                    </a:lnTo>
                    <a:cubicBezTo>
                      <a:pt x="203798" y="33235"/>
                      <a:pt x="169160" y="0"/>
                      <a:pt x="126600" y="0"/>
                    </a:cubicBezTo>
                    <a:lnTo>
                      <a:pt x="0" y="0"/>
                    </a:lnTo>
                    <a:lnTo>
                      <a:pt x="0" y="301708"/>
                    </a:lnTo>
                    <a:lnTo>
                      <a:pt x="26141" y="301708"/>
                    </a:lnTo>
                    <a:lnTo>
                      <a:pt x="26141" y="163002"/>
                    </a:lnTo>
                    <a:lnTo>
                      <a:pt x="118390" y="163002"/>
                    </a:lnTo>
                    <a:lnTo>
                      <a:pt x="189468" y="301780"/>
                    </a:lnTo>
                    <a:close/>
                    <a:moveTo>
                      <a:pt x="26141" y="26242"/>
                    </a:moveTo>
                    <a:lnTo>
                      <a:pt x="126600" y="26242"/>
                    </a:lnTo>
                    <a:cubicBezTo>
                      <a:pt x="155909" y="26242"/>
                      <a:pt x="179674" y="49816"/>
                      <a:pt x="180250" y="79014"/>
                    </a:cubicBezTo>
                    <a:lnTo>
                      <a:pt x="180250" y="83988"/>
                    </a:lnTo>
                    <a:cubicBezTo>
                      <a:pt x="179674" y="113186"/>
                      <a:pt x="155909" y="136688"/>
                      <a:pt x="126600" y="136688"/>
                    </a:cubicBezTo>
                    <a:lnTo>
                      <a:pt x="126600" y="136688"/>
                    </a:lnTo>
                    <a:cubicBezTo>
                      <a:pt x="126600" y="136688"/>
                      <a:pt x="26141" y="136760"/>
                      <a:pt x="26141" y="136760"/>
                    </a:cubicBezTo>
                    <a:lnTo>
                      <a:pt x="26141" y="2624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xmlns="" id="{10D57596-45B1-4C20-4D9C-93E77B56DBFA}"/>
                  </a:ext>
                </a:extLst>
              </p:cNvPr>
              <p:cNvSpPr/>
              <p:nvPr/>
            </p:nvSpPr>
            <p:spPr>
              <a:xfrm>
                <a:off x="9387557" y="3329493"/>
                <a:ext cx="212944" cy="301852"/>
              </a:xfrm>
              <a:custGeom>
                <a:avLst/>
                <a:gdLst>
                  <a:gd name="connsiteX0" fmla="*/ 212656 w 212944"/>
                  <a:gd name="connsiteY0" fmla="*/ 212818 h 301852"/>
                  <a:gd name="connsiteX1" fmla="*/ 201422 w 212944"/>
                  <a:gd name="connsiteY1" fmla="*/ 173455 h 301852"/>
                  <a:gd name="connsiteX2" fmla="*/ 174273 w 212944"/>
                  <a:gd name="connsiteY2" fmla="*/ 147358 h 301852"/>
                  <a:gd name="connsiteX3" fmla="*/ 206247 w 212944"/>
                  <a:gd name="connsiteY3" fmla="*/ 89539 h 301852"/>
                  <a:gd name="connsiteX4" fmla="*/ 206319 w 212944"/>
                  <a:gd name="connsiteY4" fmla="*/ 89539 h 301852"/>
                  <a:gd name="connsiteX5" fmla="*/ 206319 w 212944"/>
                  <a:gd name="connsiteY5" fmla="*/ 87881 h 301852"/>
                  <a:gd name="connsiteX6" fmla="*/ 206535 w 212944"/>
                  <a:gd name="connsiteY6" fmla="*/ 83051 h 301852"/>
                  <a:gd name="connsiteX7" fmla="*/ 206319 w 212944"/>
                  <a:gd name="connsiteY7" fmla="*/ 83051 h 301852"/>
                  <a:gd name="connsiteX8" fmla="*/ 206319 w 212944"/>
                  <a:gd name="connsiteY8" fmla="*/ 80239 h 301852"/>
                  <a:gd name="connsiteX9" fmla="*/ 206535 w 212944"/>
                  <a:gd name="connsiteY9" fmla="*/ 80239 h 301852"/>
                  <a:gd name="connsiteX10" fmla="*/ 206319 w 212944"/>
                  <a:gd name="connsiteY10" fmla="*/ 75337 h 301852"/>
                  <a:gd name="connsiteX11" fmla="*/ 206319 w 212944"/>
                  <a:gd name="connsiteY11" fmla="*/ 75337 h 301852"/>
                  <a:gd name="connsiteX12" fmla="*/ 206319 w 212944"/>
                  <a:gd name="connsiteY12" fmla="*/ 75265 h 301852"/>
                  <a:gd name="connsiteX13" fmla="*/ 126456 w 212944"/>
                  <a:gd name="connsiteY13" fmla="*/ 72 h 301852"/>
                  <a:gd name="connsiteX14" fmla="*/ 126456 w 212944"/>
                  <a:gd name="connsiteY14" fmla="*/ 216 h 301852"/>
                  <a:gd name="connsiteX15" fmla="*/ 0 w 212944"/>
                  <a:gd name="connsiteY15" fmla="*/ 0 h 301852"/>
                  <a:gd name="connsiteX16" fmla="*/ 0 w 212944"/>
                  <a:gd name="connsiteY16" fmla="*/ 301852 h 301852"/>
                  <a:gd name="connsiteX17" fmla="*/ 131425 w 212944"/>
                  <a:gd name="connsiteY17" fmla="*/ 301852 h 301852"/>
                  <a:gd name="connsiteX18" fmla="*/ 212800 w 212944"/>
                  <a:gd name="connsiteY18" fmla="*/ 221541 h 301852"/>
                  <a:gd name="connsiteX19" fmla="*/ 212944 w 212944"/>
                  <a:gd name="connsiteY19" fmla="*/ 221541 h 301852"/>
                  <a:gd name="connsiteX20" fmla="*/ 212944 w 212944"/>
                  <a:gd name="connsiteY20" fmla="*/ 212818 h 301852"/>
                  <a:gd name="connsiteX21" fmla="*/ 212800 w 212944"/>
                  <a:gd name="connsiteY21" fmla="*/ 212818 h 301852"/>
                  <a:gd name="connsiteX22" fmla="*/ 126528 w 212944"/>
                  <a:gd name="connsiteY22" fmla="*/ 26386 h 301852"/>
                  <a:gd name="connsiteX23" fmla="*/ 126528 w 212944"/>
                  <a:gd name="connsiteY23" fmla="*/ 26386 h 301852"/>
                  <a:gd name="connsiteX24" fmla="*/ 180250 w 212944"/>
                  <a:gd name="connsiteY24" fmla="*/ 79302 h 301852"/>
                  <a:gd name="connsiteX25" fmla="*/ 180250 w 212944"/>
                  <a:gd name="connsiteY25" fmla="*/ 83988 h 301852"/>
                  <a:gd name="connsiteX26" fmla="*/ 126528 w 212944"/>
                  <a:gd name="connsiteY26" fmla="*/ 137048 h 301852"/>
                  <a:gd name="connsiteX27" fmla="*/ 26141 w 212944"/>
                  <a:gd name="connsiteY27" fmla="*/ 137048 h 301852"/>
                  <a:gd name="connsiteX28" fmla="*/ 26141 w 212944"/>
                  <a:gd name="connsiteY28" fmla="*/ 26386 h 301852"/>
                  <a:gd name="connsiteX29" fmla="*/ 126528 w 212944"/>
                  <a:gd name="connsiteY29" fmla="*/ 26386 h 301852"/>
                  <a:gd name="connsiteX30" fmla="*/ 186659 w 212944"/>
                  <a:gd name="connsiteY30" fmla="*/ 220171 h 301852"/>
                  <a:gd name="connsiteX31" fmla="*/ 186443 w 212944"/>
                  <a:gd name="connsiteY31" fmla="*/ 220171 h 301852"/>
                  <a:gd name="connsiteX32" fmla="*/ 130921 w 212944"/>
                  <a:gd name="connsiteY32" fmla="*/ 275755 h 301852"/>
                  <a:gd name="connsiteX33" fmla="*/ 130921 w 212944"/>
                  <a:gd name="connsiteY33" fmla="*/ 275755 h 301852"/>
                  <a:gd name="connsiteX34" fmla="*/ 26141 w 212944"/>
                  <a:gd name="connsiteY34" fmla="*/ 275755 h 301852"/>
                  <a:gd name="connsiteX35" fmla="*/ 26141 w 212944"/>
                  <a:gd name="connsiteY35" fmla="*/ 163362 h 301852"/>
                  <a:gd name="connsiteX36" fmla="*/ 134593 w 212944"/>
                  <a:gd name="connsiteY36" fmla="*/ 163795 h 301852"/>
                  <a:gd name="connsiteX37" fmla="*/ 134593 w 212944"/>
                  <a:gd name="connsiteY37" fmla="*/ 163795 h 301852"/>
                  <a:gd name="connsiteX38" fmla="*/ 179458 w 212944"/>
                  <a:gd name="connsiteY38" fmla="*/ 187946 h 301852"/>
                  <a:gd name="connsiteX39" fmla="*/ 186515 w 212944"/>
                  <a:gd name="connsiteY39" fmla="*/ 214836 h 301852"/>
                  <a:gd name="connsiteX40" fmla="*/ 186731 w 212944"/>
                  <a:gd name="connsiteY40" fmla="*/ 214836 h 301852"/>
                  <a:gd name="connsiteX41" fmla="*/ 186731 w 212944"/>
                  <a:gd name="connsiteY41" fmla="*/ 220171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12944" h="301852">
                    <a:moveTo>
                      <a:pt x="212656" y="212818"/>
                    </a:moveTo>
                    <a:cubicBezTo>
                      <a:pt x="212296" y="198183"/>
                      <a:pt x="208623" y="185134"/>
                      <a:pt x="201422" y="173455"/>
                    </a:cubicBezTo>
                    <a:cubicBezTo>
                      <a:pt x="194509" y="162425"/>
                      <a:pt x="185219" y="153558"/>
                      <a:pt x="174273" y="147358"/>
                    </a:cubicBezTo>
                    <a:cubicBezTo>
                      <a:pt x="192204" y="133948"/>
                      <a:pt x="204374" y="113186"/>
                      <a:pt x="206247" y="89539"/>
                    </a:cubicBezTo>
                    <a:lnTo>
                      <a:pt x="206319" y="89539"/>
                    </a:lnTo>
                    <a:lnTo>
                      <a:pt x="206319" y="87881"/>
                    </a:lnTo>
                    <a:cubicBezTo>
                      <a:pt x="206391" y="86295"/>
                      <a:pt x="206535" y="84637"/>
                      <a:pt x="206535" y="83051"/>
                    </a:cubicBezTo>
                    <a:lnTo>
                      <a:pt x="206319" y="83051"/>
                    </a:lnTo>
                    <a:lnTo>
                      <a:pt x="206319" y="80239"/>
                    </a:lnTo>
                    <a:lnTo>
                      <a:pt x="206535" y="80239"/>
                    </a:lnTo>
                    <a:cubicBezTo>
                      <a:pt x="206535" y="78581"/>
                      <a:pt x="206391" y="76995"/>
                      <a:pt x="206319" y="75337"/>
                    </a:cubicBezTo>
                    <a:lnTo>
                      <a:pt x="206319" y="75337"/>
                    </a:lnTo>
                    <a:cubicBezTo>
                      <a:pt x="206319" y="75337"/>
                      <a:pt x="206319" y="75265"/>
                      <a:pt x="206319" y="75265"/>
                    </a:cubicBezTo>
                    <a:cubicBezTo>
                      <a:pt x="203726" y="33307"/>
                      <a:pt x="169016" y="72"/>
                      <a:pt x="126456" y="72"/>
                    </a:cubicBezTo>
                    <a:lnTo>
                      <a:pt x="126456" y="216"/>
                    </a:lnTo>
                    <a:lnTo>
                      <a:pt x="0" y="0"/>
                    </a:lnTo>
                    <a:lnTo>
                      <a:pt x="0" y="301852"/>
                    </a:lnTo>
                    <a:lnTo>
                      <a:pt x="131425" y="301852"/>
                    </a:lnTo>
                    <a:cubicBezTo>
                      <a:pt x="175857" y="301564"/>
                      <a:pt x="211864" y="265878"/>
                      <a:pt x="212800" y="221541"/>
                    </a:cubicBezTo>
                    <a:lnTo>
                      <a:pt x="212944" y="221541"/>
                    </a:lnTo>
                    <a:lnTo>
                      <a:pt x="212944" y="212818"/>
                    </a:lnTo>
                    <a:lnTo>
                      <a:pt x="212800" y="212818"/>
                    </a:lnTo>
                    <a:close/>
                    <a:moveTo>
                      <a:pt x="126528" y="26386"/>
                    </a:moveTo>
                    <a:lnTo>
                      <a:pt x="126528" y="26386"/>
                    </a:lnTo>
                    <a:cubicBezTo>
                      <a:pt x="155909" y="26386"/>
                      <a:pt x="179746" y="50032"/>
                      <a:pt x="180250" y="79302"/>
                    </a:cubicBezTo>
                    <a:lnTo>
                      <a:pt x="180250" y="83988"/>
                    </a:lnTo>
                    <a:cubicBezTo>
                      <a:pt x="179746" y="113258"/>
                      <a:pt x="155909" y="137048"/>
                      <a:pt x="126528" y="137048"/>
                    </a:cubicBezTo>
                    <a:lnTo>
                      <a:pt x="26141" y="137048"/>
                    </a:lnTo>
                    <a:lnTo>
                      <a:pt x="26141" y="26386"/>
                    </a:lnTo>
                    <a:lnTo>
                      <a:pt x="126528" y="26386"/>
                    </a:lnTo>
                    <a:close/>
                    <a:moveTo>
                      <a:pt x="186659" y="220171"/>
                    </a:moveTo>
                    <a:lnTo>
                      <a:pt x="186443" y="220171"/>
                    </a:lnTo>
                    <a:cubicBezTo>
                      <a:pt x="186443" y="250883"/>
                      <a:pt x="161598" y="275755"/>
                      <a:pt x="130921" y="275755"/>
                    </a:cubicBezTo>
                    <a:lnTo>
                      <a:pt x="130921" y="275755"/>
                    </a:lnTo>
                    <a:cubicBezTo>
                      <a:pt x="130921" y="275755"/>
                      <a:pt x="26141" y="275755"/>
                      <a:pt x="26141" y="275755"/>
                    </a:cubicBezTo>
                    <a:lnTo>
                      <a:pt x="26141" y="163362"/>
                    </a:lnTo>
                    <a:lnTo>
                      <a:pt x="134593" y="163795"/>
                    </a:lnTo>
                    <a:lnTo>
                      <a:pt x="134593" y="163795"/>
                    </a:lnTo>
                    <a:cubicBezTo>
                      <a:pt x="153461" y="163795"/>
                      <a:pt x="169880" y="173095"/>
                      <a:pt x="179458" y="187946"/>
                    </a:cubicBezTo>
                    <a:cubicBezTo>
                      <a:pt x="183490" y="196381"/>
                      <a:pt x="186515" y="204888"/>
                      <a:pt x="186515" y="214836"/>
                    </a:cubicBezTo>
                    <a:lnTo>
                      <a:pt x="186731" y="214836"/>
                    </a:lnTo>
                    <a:lnTo>
                      <a:pt x="186731" y="220171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xmlns="" id="{B9CE4A65-7D64-EDA4-02A6-E79012C54799}"/>
                  </a:ext>
                </a:extLst>
              </p:cNvPr>
              <p:cNvSpPr/>
              <p:nvPr/>
            </p:nvSpPr>
            <p:spPr>
              <a:xfrm>
                <a:off x="9791480" y="3324302"/>
                <a:ext cx="311818" cy="312017"/>
              </a:xfrm>
              <a:custGeom>
                <a:avLst/>
                <a:gdLst>
                  <a:gd name="connsiteX0" fmla="*/ 1368 w 311818"/>
                  <a:gd name="connsiteY0" fmla="*/ 175618 h 312017"/>
                  <a:gd name="connsiteX1" fmla="*/ 155981 w 311818"/>
                  <a:gd name="connsiteY1" fmla="*/ 312017 h 312017"/>
                  <a:gd name="connsiteX2" fmla="*/ 310594 w 311818"/>
                  <a:gd name="connsiteY2" fmla="*/ 175546 h 312017"/>
                  <a:gd name="connsiteX3" fmla="*/ 311819 w 311818"/>
                  <a:gd name="connsiteY3" fmla="*/ 156513 h 312017"/>
                  <a:gd name="connsiteX4" fmla="*/ 310954 w 311818"/>
                  <a:gd name="connsiteY4" fmla="*/ 139499 h 312017"/>
                  <a:gd name="connsiteX5" fmla="*/ 155981 w 311818"/>
                  <a:gd name="connsiteY5" fmla="*/ 0 h 312017"/>
                  <a:gd name="connsiteX6" fmla="*/ 1008 w 311818"/>
                  <a:gd name="connsiteY6" fmla="*/ 139499 h 312017"/>
                  <a:gd name="connsiteX7" fmla="*/ 864 w 311818"/>
                  <a:gd name="connsiteY7" fmla="*/ 139499 h 312017"/>
                  <a:gd name="connsiteX8" fmla="*/ 0 w 311818"/>
                  <a:gd name="connsiteY8" fmla="*/ 156513 h 312017"/>
                  <a:gd name="connsiteX9" fmla="*/ 1224 w 311818"/>
                  <a:gd name="connsiteY9" fmla="*/ 175546 h 312017"/>
                  <a:gd name="connsiteX10" fmla="*/ 155981 w 311818"/>
                  <a:gd name="connsiteY10" fmla="*/ 285487 h 312017"/>
                  <a:gd name="connsiteX11" fmla="*/ 28085 w 311818"/>
                  <a:gd name="connsiteY11" fmla="*/ 175618 h 312017"/>
                  <a:gd name="connsiteX12" fmla="*/ 27941 w 311818"/>
                  <a:gd name="connsiteY12" fmla="*/ 175618 h 312017"/>
                  <a:gd name="connsiteX13" fmla="*/ 26501 w 311818"/>
                  <a:gd name="connsiteY13" fmla="*/ 156513 h 312017"/>
                  <a:gd name="connsiteX14" fmla="*/ 27509 w 311818"/>
                  <a:gd name="connsiteY14" fmla="*/ 140004 h 312017"/>
                  <a:gd name="connsiteX15" fmla="*/ 27581 w 311818"/>
                  <a:gd name="connsiteY15" fmla="*/ 140004 h 312017"/>
                  <a:gd name="connsiteX16" fmla="*/ 155909 w 311818"/>
                  <a:gd name="connsiteY16" fmla="*/ 26530 h 312017"/>
                  <a:gd name="connsiteX17" fmla="*/ 284165 w 311818"/>
                  <a:gd name="connsiteY17" fmla="*/ 139788 h 312017"/>
                  <a:gd name="connsiteX18" fmla="*/ 285246 w 311818"/>
                  <a:gd name="connsiteY18" fmla="*/ 156585 h 312017"/>
                  <a:gd name="connsiteX19" fmla="*/ 283805 w 311818"/>
                  <a:gd name="connsiteY19" fmla="*/ 175906 h 312017"/>
                  <a:gd name="connsiteX20" fmla="*/ 155909 w 311818"/>
                  <a:gd name="connsiteY20" fmla="*/ 285559 h 312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1818" h="312017">
                    <a:moveTo>
                      <a:pt x="1368" y="175618"/>
                    </a:moveTo>
                    <a:cubicBezTo>
                      <a:pt x="11018" y="252541"/>
                      <a:pt x="76550" y="312017"/>
                      <a:pt x="155981" y="312017"/>
                    </a:cubicBezTo>
                    <a:cubicBezTo>
                      <a:pt x="235412" y="312017"/>
                      <a:pt x="300945" y="252469"/>
                      <a:pt x="310594" y="175546"/>
                    </a:cubicBezTo>
                    <a:cubicBezTo>
                      <a:pt x="311315" y="169346"/>
                      <a:pt x="311819" y="162930"/>
                      <a:pt x="311819" y="156513"/>
                    </a:cubicBezTo>
                    <a:cubicBezTo>
                      <a:pt x="311819" y="150602"/>
                      <a:pt x="311603" y="145267"/>
                      <a:pt x="310954" y="139499"/>
                    </a:cubicBezTo>
                    <a:cubicBezTo>
                      <a:pt x="302889" y="60846"/>
                      <a:pt x="236636" y="0"/>
                      <a:pt x="155981" y="0"/>
                    </a:cubicBezTo>
                    <a:cubicBezTo>
                      <a:pt x="75326" y="0"/>
                      <a:pt x="9218" y="61135"/>
                      <a:pt x="1008" y="139499"/>
                    </a:cubicBezTo>
                    <a:lnTo>
                      <a:pt x="864" y="139499"/>
                    </a:lnTo>
                    <a:cubicBezTo>
                      <a:pt x="216" y="145267"/>
                      <a:pt x="0" y="150602"/>
                      <a:pt x="0" y="156513"/>
                    </a:cubicBezTo>
                    <a:cubicBezTo>
                      <a:pt x="0" y="162930"/>
                      <a:pt x="432" y="169346"/>
                      <a:pt x="1224" y="175546"/>
                    </a:cubicBezTo>
                    <a:moveTo>
                      <a:pt x="155981" y="285487"/>
                    </a:moveTo>
                    <a:cubicBezTo>
                      <a:pt x="91169" y="285487"/>
                      <a:pt x="37519" y="237834"/>
                      <a:pt x="28085" y="175618"/>
                    </a:cubicBezTo>
                    <a:lnTo>
                      <a:pt x="27941" y="175618"/>
                    </a:lnTo>
                    <a:cubicBezTo>
                      <a:pt x="27005" y="169346"/>
                      <a:pt x="26501" y="163074"/>
                      <a:pt x="26501" y="156513"/>
                    </a:cubicBezTo>
                    <a:cubicBezTo>
                      <a:pt x="26501" y="150818"/>
                      <a:pt x="26789" y="145483"/>
                      <a:pt x="27509" y="140004"/>
                    </a:cubicBezTo>
                    <a:lnTo>
                      <a:pt x="27581" y="140004"/>
                    </a:lnTo>
                    <a:cubicBezTo>
                      <a:pt x="35431" y="76058"/>
                      <a:pt x="89873" y="26530"/>
                      <a:pt x="155909" y="26530"/>
                    </a:cubicBezTo>
                    <a:cubicBezTo>
                      <a:pt x="221946" y="26530"/>
                      <a:pt x="276316" y="75769"/>
                      <a:pt x="284165" y="139788"/>
                    </a:cubicBezTo>
                    <a:cubicBezTo>
                      <a:pt x="284886" y="145411"/>
                      <a:pt x="285246" y="150818"/>
                      <a:pt x="285246" y="156585"/>
                    </a:cubicBezTo>
                    <a:cubicBezTo>
                      <a:pt x="285246" y="163218"/>
                      <a:pt x="284741" y="169562"/>
                      <a:pt x="283805" y="175906"/>
                    </a:cubicBezTo>
                    <a:cubicBezTo>
                      <a:pt x="274372" y="238122"/>
                      <a:pt x="220721" y="285559"/>
                      <a:pt x="155909" y="285559"/>
                    </a:cubicBez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xmlns="" id="{EE878C16-1B88-5308-8C3F-9607304AB3E4}"/>
                  </a:ext>
                </a:extLst>
              </p:cNvPr>
              <p:cNvSpPr/>
              <p:nvPr/>
            </p:nvSpPr>
            <p:spPr>
              <a:xfrm>
                <a:off x="11529743" y="3323653"/>
                <a:ext cx="42343" cy="42390"/>
              </a:xfrm>
              <a:custGeom>
                <a:avLst/>
                <a:gdLst>
                  <a:gd name="connsiteX0" fmla="*/ 0 w 42343"/>
                  <a:gd name="connsiteY0" fmla="*/ 21123 h 42390"/>
                  <a:gd name="connsiteX1" fmla="*/ 21244 w 42343"/>
                  <a:gd name="connsiteY1" fmla="*/ 0 h 42390"/>
                  <a:gd name="connsiteX2" fmla="*/ 42344 w 42343"/>
                  <a:gd name="connsiteY2" fmla="*/ 21123 h 42390"/>
                  <a:gd name="connsiteX3" fmla="*/ 21244 w 42343"/>
                  <a:gd name="connsiteY3" fmla="*/ 42391 h 42390"/>
                  <a:gd name="connsiteX4" fmla="*/ 0 w 42343"/>
                  <a:gd name="connsiteY4" fmla="*/ 21123 h 42390"/>
                  <a:gd name="connsiteX5" fmla="*/ 38959 w 42343"/>
                  <a:gd name="connsiteY5" fmla="*/ 21123 h 42390"/>
                  <a:gd name="connsiteX6" fmla="*/ 21244 w 42343"/>
                  <a:gd name="connsiteY6" fmla="*/ 2812 h 42390"/>
                  <a:gd name="connsiteX7" fmla="*/ 3385 w 42343"/>
                  <a:gd name="connsiteY7" fmla="*/ 21123 h 42390"/>
                  <a:gd name="connsiteX8" fmla="*/ 21244 w 42343"/>
                  <a:gd name="connsiteY8" fmla="*/ 39579 h 42390"/>
                  <a:gd name="connsiteX9" fmla="*/ 38959 w 42343"/>
                  <a:gd name="connsiteY9" fmla="*/ 21123 h 42390"/>
                  <a:gd name="connsiteX10" fmla="*/ 31758 w 42343"/>
                  <a:gd name="connsiteY10" fmla="*/ 32946 h 42390"/>
                  <a:gd name="connsiteX11" fmla="*/ 28301 w 42343"/>
                  <a:gd name="connsiteY11" fmla="*/ 32946 h 42390"/>
                  <a:gd name="connsiteX12" fmla="*/ 21532 w 42343"/>
                  <a:gd name="connsiteY12" fmla="*/ 22060 h 42390"/>
                  <a:gd name="connsiteX13" fmla="*/ 16203 w 42343"/>
                  <a:gd name="connsiteY13" fmla="*/ 22060 h 42390"/>
                  <a:gd name="connsiteX14" fmla="*/ 16203 w 42343"/>
                  <a:gd name="connsiteY14" fmla="*/ 32946 h 42390"/>
                  <a:gd name="connsiteX15" fmla="*/ 13323 w 42343"/>
                  <a:gd name="connsiteY15" fmla="*/ 32946 h 42390"/>
                  <a:gd name="connsiteX16" fmla="*/ 13323 w 42343"/>
                  <a:gd name="connsiteY16" fmla="*/ 9300 h 42390"/>
                  <a:gd name="connsiteX17" fmla="*/ 23693 w 42343"/>
                  <a:gd name="connsiteY17" fmla="*/ 9300 h 42390"/>
                  <a:gd name="connsiteX18" fmla="*/ 32046 w 42343"/>
                  <a:gd name="connsiteY18" fmla="*/ 15572 h 42390"/>
                  <a:gd name="connsiteX19" fmla="*/ 24629 w 42343"/>
                  <a:gd name="connsiteY19" fmla="*/ 22060 h 42390"/>
                  <a:gd name="connsiteX20" fmla="*/ 31758 w 42343"/>
                  <a:gd name="connsiteY20" fmla="*/ 32946 h 42390"/>
                  <a:gd name="connsiteX21" fmla="*/ 20668 w 42343"/>
                  <a:gd name="connsiteY21" fmla="*/ 19753 h 42390"/>
                  <a:gd name="connsiteX22" fmla="*/ 28949 w 42343"/>
                  <a:gd name="connsiteY22" fmla="*/ 15500 h 42390"/>
                  <a:gd name="connsiteX23" fmla="*/ 23044 w 42343"/>
                  <a:gd name="connsiteY23" fmla="*/ 11391 h 42390"/>
                  <a:gd name="connsiteX24" fmla="*/ 16275 w 42343"/>
                  <a:gd name="connsiteY24" fmla="*/ 11391 h 42390"/>
                  <a:gd name="connsiteX25" fmla="*/ 16275 w 42343"/>
                  <a:gd name="connsiteY25" fmla="*/ 19753 h 42390"/>
                  <a:gd name="connsiteX26" fmla="*/ 20668 w 42343"/>
                  <a:gd name="connsiteY26" fmla="*/ 19753 h 4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2343" h="42390">
                    <a:moveTo>
                      <a:pt x="0" y="21123"/>
                    </a:moveTo>
                    <a:cubicBezTo>
                      <a:pt x="0" y="9516"/>
                      <a:pt x="9506" y="0"/>
                      <a:pt x="21244" y="0"/>
                    </a:cubicBezTo>
                    <a:cubicBezTo>
                      <a:pt x="32982" y="0"/>
                      <a:pt x="42344" y="9516"/>
                      <a:pt x="42344" y="21123"/>
                    </a:cubicBezTo>
                    <a:cubicBezTo>
                      <a:pt x="42344" y="32730"/>
                      <a:pt x="32910" y="42391"/>
                      <a:pt x="21244" y="42391"/>
                    </a:cubicBezTo>
                    <a:cubicBezTo>
                      <a:pt x="9578" y="42391"/>
                      <a:pt x="0" y="32874"/>
                      <a:pt x="0" y="21123"/>
                    </a:cubicBezTo>
                    <a:close/>
                    <a:moveTo>
                      <a:pt x="38959" y="21123"/>
                    </a:moveTo>
                    <a:cubicBezTo>
                      <a:pt x="38959" y="10814"/>
                      <a:pt x="31470" y="2812"/>
                      <a:pt x="21244" y="2812"/>
                    </a:cubicBezTo>
                    <a:cubicBezTo>
                      <a:pt x="11018" y="2812"/>
                      <a:pt x="3385" y="10886"/>
                      <a:pt x="3385" y="21123"/>
                    </a:cubicBezTo>
                    <a:cubicBezTo>
                      <a:pt x="3385" y="31360"/>
                      <a:pt x="10946" y="39579"/>
                      <a:pt x="21244" y="39579"/>
                    </a:cubicBezTo>
                    <a:cubicBezTo>
                      <a:pt x="31542" y="39579"/>
                      <a:pt x="38959" y="31505"/>
                      <a:pt x="38959" y="21123"/>
                    </a:cubicBezTo>
                    <a:close/>
                    <a:moveTo>
                      <a:pt x="31758" y="32946"/>
                    </a:moveTo>
                    <a:lnTo>
                      <a:pt x="28301" y="32946"/>
                    </a:lnTo>
                    <a:lnTo>
                      <a:pt x="21532" y="22060"/>
                    </a:lnTo>
                    <a:lnTo>
                      <a:pt x="16203" y="22060"/>
                    </a:lnTo>
                    <a:lnTo>
                      <a:pt x="16203" y="32946"/>
                    </a:lnTo>
                    <a:lnTo>
                      <a:pt x="13323" y="32946"/>
                    </a:lnTo>
                    <a:lnTo>
                      <a:pt x="13323" y="9300"/>
                    </a:lnTo>
                    <a:lnTo>
                      <a:pt x="23693" y="9300"/>
                    </a:lnTo>
                    <a:cubicBezTo>
                      <a:pt x="29958" y="9300"/>
                      <a:pt x="32046" y="11679"/>
                      <a:pt x="32046" y="15572"/>
                    </a:cubicBezTo>
                    <a:cubicBezTo>
                      <a:pt x="32046" y="20186"/>
                      <a:pt x="28805" y="21916"/>
                      <a:pt x="24629" y="22060"/>
                    </a:cubicBezTo>
                    <a:lnTo>
                      <a:pt x="31758" y="32946"/>
                    </a:lnTo>
                    <a:close/>
                    <a:moveTo>
                      <a:pt x="20668" y="19753"/>
                    </a:moveTo>
                    <a:cubicBezTo>
                      <a:pt x="24052" y="19753"/>
                      <a:pt x="28949" y="20330"/>
                      <a:pt x="28949" y="15500"/>
                    </a:cubicBezTo>
                    <a:cubicBezTo>
                      <a:pt x="28949" y="11823"/>
                      <a:pt x="25925" y="11391"/>
                      <a:pt x="23044" y="11391"/>
                    </a:cubicBezTo>
                    <a:lnTo>
                      <a:pt x="16275" y="11391"/>
                    </a:lnTo>
                    <a:lnTo>
                      <a:pt x="16275" y="19753"/>
                    </a:lnTo>
                    <a:lnTo>
                      <a:pt x="20668" y="19753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xmlns="" id="{BC7FD410-44E7-E258-CE51-5F59F2FAE43F}"/>
                </a:ext>
              </a:extLst>
            </p:cNvPr>
            <p:cNvSpPr/>
            <p:nvPr/>
          </p:nvSpPr>
          <p:spPr>
            <a:xfrm>
              <a:off x="9662576" y="3326249"/>
              <a:ext cx="70213" cy="41020"/>
            </a:xfrm>
            <a:custGeom>
              <a:avLst/>
              <a:gdLst>
                <a:gd name="connsiteX0" fmla="*/ 15267 w 70213"/>
                <a:gd name="connsiteY0" fmla="*/ 4398 h 41020"/>
                <a:gd name="connsiteX1" fmla="*/ 9434 w 70213"/>
                <a:gd name="connsiteY1" fmla="*/ 7714 h 41020"/>
                <a:gd name="connsiteX2" fmla="*/ 4321 w 70213"/>
                <a:gd name="connsiteY2" fmla="*/ 11607 h 41020"/>
                <a:gd name="connsiteX3" fmla="*/ 2737 w 70213"/>
                <a:gd name="connsiteY3" fmla="*/ 15139 h 41020"/>
                <a:gd name="connsiteX4" fmla="*/ 648 w 70213"/>
                <a:gd name="connsiteY4" fmla="*/ 18167 h 41020"/>
                <a:gd name="connsiteX5" fmla="*/ 144 w 70213"/>
                <a:gd name="connsiteY5" fmla="*/ 19249 h 41020"/>
                <a:gd name="connsiteX6" fmla="*/ 0 w 70213"/>
                <a:gd name="connsiteY6" fmla="*/ 20330 h 41020"/>
                <a:gd name="connsiteX7" fmla="*/ 288 w 70213"/>
                <a:gd name="connsiteY7" fmla="*/ 21556 h 41020"/>
                <a:gd name="connsiteX8" fmla="*/ 2232 w 70213"/>
                <a:gd name="connsiteY8" fmla="*/ 26891 h 41020"/>
                <a:gd name="connsiteX9" fmla="*/ 5617 w 70213"/>
                <a:gd name="connsiteY9" fmla="*/ 28981 h 41020"/>
                <a:gd name="connsiteX10" fmla="*/ 9506 w 70213"/>
                <a:gd name="connsiteY10" fmla="*/ 33379 h 41020"/>
                <a:gd name="connsiteX11" fmla="*/ 12314 w 70213"/>
                <a:gd name="connsiteY11" fmla="*/ 36046 h 41020"/>
                <a:gd name="connsiteX12" fmla="*/ 16347 w 70213"/>
                <a:gd name="connsiteY12" fmla="*/ 37993 h 41020"/>
                <a:gd name="connsiteX13" fmla="*/ 20380 w 70213"/>
                <a:gd name="connsiteY13" fmla="*/ 39218 h 41020"/>
                <a:gd name="connsiteX14" fmla="*/ 26069 w 70213"/>
                <a:gd name="connsiteY14" fmla="*/ 39218 h 41020"/>
                <a:gd name="connsiteX15" fmla="*/ 29814 w 70213"/>
                <a:gd name="connsiteY15" fmla="*/ 39939 h 41020"/>
                <a:gd name="connsiteX16" fmla="*/ 33846 w 70213"/>
                <a:gd name="connsiteY16" fmla="*/ 40300 h 41020"/>
                <a:gd name="connsiteX17" fmla="*/ 39319 w 70213"/>
                <a:gd name="connsiteY17" fmla="*/ 40660 h 41020"/>
                <a:gd name="connsiteX18" fmla="*/ 44576 w 70213"/>
                <a:gd name="connsiteY18" fmla="*/ 41021 h 41020"/>
                <a:gd name="connsiteX19" fmla="*/ 51130 w 70213"/>
                <a:gd name="connsiteY19" fmla="*/ 40516 h 41020"/>
                <a:gd name="connsiteX20" fmla="*/ 56099 w 70213"/>
                <a:gd name="connsiteY20" fmla="*/ 39074 h 41020"/>
                <a:gd name="connsiteX21" fmla="*/ 62076 w 70213"/>
                <a:gd name="connsiteY21" fmla="*/ 36623 h 41020"/>
                <a:gd name="connsiteX22" fmla="*/ 64740 w 70213"/>
                <a:gd name="connsiteY22" fmla="*/ 33595 h 41020"/>
                <a:gd name="connsiteX23" fmla="*/ 67765 w 70213"/>
                <a:gd name="connsiteY23" fmla="*/ 30784 h 41020"/>
                <a:gd name="connsiteX24" fmla="*/ 70213 w 70213"/>
                <a:gd name="connsiteY24" fmla="*/ 26891 h 41020"/>
                <a:gd name="connsiteX25" fmla="*/ 70069 w 70213"/>
                <a:gd name="connsiteY25" fmla="*/ 22853 h 41020"/>
                <a:gd name="connsiteX26" fmla="*/ 68989 w 70213"/>
                <a:gd name="connsiteY26" fmla="*/ 17014 h 41020"/>
                <a:gd name="connsiteX27" fmla="*/ 62652 w 70213"/>
                <a:gd name="connsiteY27" fmla="*/ 7786 h 41020"/>
                <a:gd name="connsiteX28" fmla="*/ 57035 w 70213"/>
                <a:gd name="connsiteY28" fmla="*/ 3533 h 41020"/>
                <a:gd name="connsiteX29" fmla="*/ 54226 w 70213"/>
                <a:gd name="connsiteY29" fmla="*/ 2163 h 41020"/>
                <a:gd name="connsiteX30" fmla="*/ 52138 w 70213"/>
                <a:gd name="connsiteY30" fmla="*/ 1370 h 41020"/>
                <a:gd name="connsiteX31" fmla="*/ 50121 w 70213"/>
                <a:gd name="connsiteY31" fmla="*/ 1081 h 41020"/>
                <a:gd name="connsiteX32" fmla="*/ 43568 w 70213"/>
                <a:gd name="connsiteY32" fmla="*/ 1586 h 41020"/>
                <a:gd name="connsiteX33" fmla="*/ 37015 w 70213"/>
                <a:gd name="connsiteY33" fmla="*/ 505 h 41020"/>
                <a:gd name="connsiteX34" fmla="*/ 33846 w 70213"/>
                <a:gd name="connsiteY34" fmla="*/ 0 h 41020"/>
                <a:gd name="connsiteX35" fmla="*/ 29814 w 70213"/>
                <a:gd name="connsiteY35" fmla="*/ 865 h 41020"/>
                <a:gd name="connsiteX36" fmla="*/ 24485 w 70213"/>
                <a:gd name="connsiteY36" fmla="*/ 1586 h 41020"/>
                <a:gd name="connsiteX37" fmla="*/ 21100 w 70213"/>
                <a:gd name="connsiteY37" fmla="*/ 2812 h 41020"/>
                <a:gd name="connsiteX38" fmla="*/ 15267 w 70213"/>
                <a:gd name="connsiteY38" fmla="*/ 4398 h 4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0213" h="41020">
                  <a:moveTo>
                    <a:pt x="15267" y="4398"/>
                  </a:moveTo>
                  <a:lnTo>
                    <a:pt x="9434" y="7714"/>
                  </a:lnTo>
                  <a:lnTo>
                    <a:pt x="4321" y="11607"/>
                  </a:lnTo>
                  <a:lnTo>
                    <a:pt x="2737" y="15139"/>
                  </a:lnTo>
                  <a:lnTo>
                    <a:pt x="648" y="18167"/>
                  </a:lnTo>
                  <a:lnTo>
                    <a:pt x="144" y="19249"/>
                  </a:lnTo>
                  <a:lnTo>
                    <a:pt x="0" y="20330"/>
                  </a:lnTo>
                  <a:lnTo>
                    <a:pt x="288" y="21556"/>
                  </a:lnTo>
                  <a:lnTo>
                    <a:pt x="2232" y="26891"/>
                  </a:lnTo>
                  <a:lnTo>
                    <a:pt x="5617" y="28981"/>
                  </a:lnTo>
                  <a:lnTo>
                    <a:pt x="9506" y="33379"/>
                  </a:lnTo>
                  <a:lnTo>
                    <a:pt x="12314" y="36046"/>
                  </a:lnTo>
                  <a:lnTo>
                    <a:pt x="16347" y="37993"/>
                  </a:lnTo>
                  <a:lnTo>
                    <a:pt x="20380" y="39218"/>
                  </a:lnTo>
                  <a:lnTo>
                    <a:pt x="26069" y="39218"/>
                  </a:lnTo>
                  <a:lnTo>
                    <a:pt x="29814" y="39939"/>
                  </a:lnTo>
                  <a:lnTo>
                    <a:pt x="33846" y="40300"/>
                  </a:lnTo>
                  <a:lnTo>
                    <a:pt x="39319" y="40660"/>
                  </a:lnTo>
                  <a:lnTo>
                    <a:pt x="44576" y="41021"/>
                  </a:lnTo>
                  <a:lnTo>
                    <a:pt x="51130" y="40516"/>
                  </a:lnTo>
                  <a:lnTo>
                    <a:pt x="56099" y="39074"/>
                  </a:lnTo>
                  <a:lnTo>
                    <a:pt x="62076" y="36623"/>
                  </a:lnTo>
                  <a:lnTo>
                    <a:pt x="64740" y="33595"/>
                  </a:lnTo>
                  <a:lnTo>
                    <a:pt x="67765" y="30784"/>
                  </a:lnTo>
                  <a:lnTo>
                    <a:pt x="70213" y="26891"/>
                  </a:lnTo>
                  <a:lnTo>
                    <a:pt x="70069" y="22853"/>
                  </a:lnTo>
                  <a:lnTo>
                    <a:pt x="68989" y="17014"/>
                  </a:lnTo>
                  <a:lnTo>
                    <a:pt x="62652" y="7786"/>
                  </a:lnTo>
                  <a:lnTo>
                    <a:pt x="57035" y="3533"/>
                  </a:lnTo>
                  <a:lnTo>
                    <a:pt x="54226" y="2163"/>
                  </a:lnTo>
                  <a:lnTo>
                    <a:pt x="52138" y="1370"/>
                  </a:lnTo>
                  <a:lnTo>
                    <a:pt x="50121" y="1081"/>
                  </a:lnTo>
                  <a:lnTo>
                    <a:pt x="43568" y="1586"/>
                  </a:lnTo>
                  <a:lnTo>
                    <a:pt x="37015" y="505"/>
                  </a:lnTo>
                  <a:lnTo>
                    <a:pt x="33846" y="0"/>
                  </a:lnTo>
                  <a:lnTo>
                    <a:pt x="29814" y="865"/>
                  </a:lnTo>
                  <a:lnTo>
                    <a:pt x="24485" y="1586"/>
                  </a:lnTo>
                  <a:lnTo>
                    <a:pt x="21100" y="2812"/>
                  </a:lnTo>
                  <a:lnTo>
                    <a:pt x="15267" y="4398"/>
                  </a:lnTo>
                </a:path>
              </a:pathLst>
            </a:custGeom>
            <a:solidFill>
              <a:srgbClr val="F26531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xmlns="" id="{D1888D00-A095-5CBD-12CB-5CADB859E1C5}"/>
                </a:ext>
              </a:extLst>
            </p:cNvPr>
            <p:cNvSpPr/>
            <p:nvPr/>
          </p:nvSpPr>
          <p:spPr>
            <a:xfrm>
              <a:off x="9668265" y="3427034"/>
              <a:ext cx="59915" cy="15932"/>
            </a:xfrm>
            <a:custGeom>
              <a:avLst/>
              <a:gdLst>
                <a:gd name="connsiteX0" fmla="*/ 1224 w 59915"/>
                <a:gd name="connsiteY0" fmla="*/ 360 h 15932"/>
                <a:gd name="connsiteX1" fmla="*/ 32694 w 59915"/>
                <a:gd name="connsiteY1" fmla="*/ 1081 h 15932"/>
                <a:gd name="connsiteX2" fmla="*/ 37375 w 59915"/>
                <a:gd name="connsiteY2" fmla="*/ 144 h 15932"/>
                <a:gd name="connsiteX3" fmla="*/ 43424 w 59915"/>
                <a:gd name="connsiteY3" fmla="*/ 0 h 15932"/>
                <a:gd name="connsiteX4" fmla="*/ 49473 w 59915"/>
                <a:gd name="connsiteY4" fmla="*/ 649 h 15932"/>
                <a:gd name="connsiteX5" fmla="*/ 54082 w 59915"/>
                <a:gd name="connsiteY5" fmla="*/ 1947 h 15932"/>
                <a:gd name="connsiteX6" fmla="*/ 57611 w 59915"/>
                <a:gd name="connsiteY6" fmla="*/ 4326 h 15932"/>
                <a:gd name="connsiteX7" fmla="*/ 58907 w 59915"/>
                <a:gd name="connsiteY7" fmla="*/ 5984 h 15932"/>
                <a:gd name="connsiteX8" fmla="*/ 59699 w 59915"/>
                <a:gd name="connsiteY8" fmla="*/ 7714 h 15932"/>
                <a:gd name="connsiteX9" fmla="*/ 59915 w 59915"/>
                <a:gd name="connsiteY9" fmla="*/ 9588 h 15932"/>
                <a:gd name="connsiteX10" fmla="*/ 59339 w 59915"/>
                <a:gd name="connsiteY10" fmla="*/ 11535 h 15932"/>
                <a:gd name="connsiteX11" fmla="*/ 57971 w 59915"/>
                <a:gd name="connsiteY11" fmla="*/ 13409 h 15932"/>
                <a:gd name="connsiteX12" fmla="*/ 55522 w 59915"/>
                <a:gd name="connsiteY12" fmla="*/ 15212 h 15932"/>
                <a:gd name="connsiteX13" fmla="*/ 51922 w 59915"/>
                <a:gd name="connsiteY13" fmla="*/ 15932 h 15932"/>
                <a:gd name="connsiteX14" fmla="*/ 45513 w 59915"/>
                <a:gd name="connsiteY14" fmla="*/ 15932 h 15932"/>
                <a:gd name="connsiteX15" fmla="*/ 28229 w 59915"/>
                <a:gd name="connsiteY15" fmla="*/ 14635 h 15932"/>
                <a:gd name="connsiteX16" fmla="*/ 1872 w 59915"/>
                <a:gd name="connsiteY16" fmla="*/ 11607 h 15932"/>
                <a:gd name="connsiteX17" fmla="*/ 864 w 59915"/>
                <a:gd name="connsiteY17" fmla="*/ 11174 h 15932"/>
                <a:gd name="connsiteX18" fmla="*/ 288 w 59915"/>
                <a:gd name="connsiteY18" fmla="*/ 10165 h 15932"/>
                <a:gd name="connsiteX19" fmla="*/ 0 w 59915"/>
                <a:gd name="connsiteY19" fmla="*/ 6921 h 15932"/>
                <a:gd name="connsiteX20" fmla="*/ 1224 w 59915"/>
                <a:gd name="connsiteY20" fmla="*/ 360 h 1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9915" h="15932">
                  <a:moveTo>
                    <a:pt x="1224" y="360"/>
                  </a:moveTo>
                  <a:lnTo>
                    <a:pt x="32694" y="1081"/>
                  </a:lnTo>
                  <a:lnTo>
                    <a:pt x="37375" y="144"/>
                  </a:lnTo>
                  <a:lnTo>
                    <a:pt x="43424" y="0"/>
                  </a:lnTo>
                  <a:lnTo>
                    <a:pt x="49473" y="649"/>
                  </a:lnTo>
                  <a:lnTo>
                    <a:pt x="54082" y="1947"/>
                  </a:lnTo>
                  <a:lnTo>
                    <a:pt x="57611" y="4326"/>
                  </a:lnTo>
                  <a:lnTo>
                    <a:pt x="58907" y="5984"/>
                  </a:lnTo>
                  <a:lnTo>
                    <a:pt x="59699" y="7714"/>
                  </a:lnTo>
                  <a:lnTo>
                    <a:pt x="59915" y="9588"/>
                  </a:lnTo>
                  <a:lnTo>
                    <a:pt x="59339" y="11535"/>
                  </a:lnTo>
                  <a:lnTo>
                    <a:pt x="57971" y="13409"/>
                  </a:lnTo>
                  <a:lnTo>
                    <a:pt x="55522" y="15212"/>
                  </a:lnTo>
                  <a:lnTo>
                    <a:pt x="51922" y="15932"/>
                  </a:lnTo>
                  <a:lnTo>
                    <a:pt x="45513" y="15932"/>
                  </a:lnTo>
                  <a:lnTo>
                    <a:pt x="28229" y="14635"/>
                  </a:lnTo>
                  <a:lnTo>
                    <a:pt x="1872" y="11607"/>
                  </a:lnTo>
                  <a:lnTo>
                    <a:pt x="864" y="11174"/>
                  </a:lnTo>
                  <a:lnTo>
                    <a:pt x="288" y="10165"/>
                  </a:lnTo>
                  <a:lnTo>
                    <a:pt x="0" y="6921"/>
                  </a:lnTo>
                  <a:lnTo>
                    <a:pt x="1224" y="360"/>
                  </a:lnTo>
                </a:path>
              </a:pathLst>
            </a:custGeom>
            <a:solidFill>
              <a:srgbClr val="ED1849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xmlns="" id="{6DF96DBD-C358-1D00-9F60-38574B97D996}"/>
                </a:ext>
              </a:extLst>
            </p:cNvPr>
            <p:cNvSpPr/>
            <p:nvPr/>
          </p:nvSpPr>
          <p:spPr>
            <a:xfrm>
              <a:off x="9671290" y="3456448"/>
              <a:ext cx="57754" cy="15644"/>
            </a:xfrm>
            <a:custGeom>
              <a:avLst/>
              <a:gdLst>
                <a:gd name="connsiteX0" fmla="*/ 7057 w 57754"/>
                <a:gd name="connsiteY0" fmla="*/ 0 h 15644"/>
                <a:gd name="connsiteX1" fmla="*/ 9794 w 57754"/>
                <a:gd name="connsiteY1" fmla="*/ 1658 h 15644"/>
                <a:gd name="connsiteX2" fmla="*/ 11522 w 57754"/>
                <a:gd name="connsiteY2" fmla="*/ 2667 h 15644"/>
                <a:gd name="connsiteX3" fmla="*/ 13467 w 57754"/>
                <a:gd name="connsiteY3" fmla="*/ 3172 h 15644"/>
                <a:gd name="connsiteX4" fmla="*/ 14835 w 57754"/>
                <a:gd name="connsiteY4" fmla="*/ 2884 h 15644"/>
                <a:gd name="connsiteX5" fmla="*/ 16419 w 57754"/>
                <a:gd name="connsiteY5" fmla="*/ 2163 h 15644"/>
                <a:gd name="connsiteX6" fmla="*/ 18003 w 57754"/>
                <a:gd name="connsiteY6" fmla="*/ 1370 h 15644"/>
                <a:gd name="connsiteX7" fmla="*/ 19588 w 57754"/>
                <a:gd name="connsiteY7" fmla="*/ 1009 h 15644"/>
                <a:gd name="connsiteX8" fmla="*/ 22324 w 57754"/>
                <a:gd name="connsiteY8" fmla="*/ 2019 h 15644"/>
                <a:gd name="connsiteX9" fmla="*/ 25277 w 57754"/>
                <a:gd name="connsiteY9" fmla="*/ 3028 h 15644"/>
                <a:gd name="connsiteX10" fmla="*/ 27725 w 57754"/>
                <a:gd name="connsiteY10" fmla="*/ 2235 h 15644"/>
                <a:gd name="connsiteX11" fmla="*/ 30246 w 57754"/>
                <a:gd name="connsiteY11" fmla="*/ 1514 h 15644"/>
                <a:gd name="connsiteX12" fmla="*/ 33198 w 57754"/>
                <a:gd name="connsiteY12" fmla="*/ 2595 h 15644"/>
                <a:gd name="connsiteX13" fmla="*/ 34638 w 57754"/>
                <a:gd name="connsiteY13" fmla="*/ 3172 h 15644"/>
                <a:gd name="connsiteX14" fmla="*/ 36079 w 57754"/>
                <a:gd name="connsiteY14" fmla="*/ 3172 h 15644"/>
                <a:gd name="connsiteX15" fmla="*/ 45224 w 57754"/>
                <a:gd name="connsiteY15" fmla="*/ 1947 h 15644"/>
                <a:gd name="connsiteX16" fmla="*/ 52210 w 57754"/>
                <a:gd name="connsiteY16" fmla="*/ 3100 h 15644"/>
                <a:gd name="connsiteX17" fmla="*/ 52642 w 57754"/>
                <a:gd name="connsiteY17" fmla="*/ 3388 h 15644"/>
                <a:gd name="connsiteX18" fmla="*/ 52858 w 57754"/>
                <a:gd name="connsiteY18" fmla="*/ 3749 h 15644"/>
                <a:gd name="connsiteX19" fmla="*/ 52642 w 57754"/>
                <a:gd name="connsiteY19" fmla="*/ 4614 h 15644"/>
                <a:gd name="connsiteX20" fmla="*/ 52354 w 57754"/>
                <a:gd name="connsiteY20" fmla="*/ 5551 h 15644"/>
                <a:gd name="connsiteX21" fmla="*/ 52642 w 57754"/>
                <a:gd name="connsiteY21" fmla="*/ 6416 h 15644"/>
                <a:gd name="connsiteX22" fmla="*/ 54370 w 57754"/>
                <a:gd name="connsiteY22" fmla="*/ 7426 h 15644"/>
                <a:gd name="connsiteX23" fmla="*/ 56315 w 57754"/>
                <a:gd name="connsiteY23" fmla="*/ 8219 h 15644"/>
                <a:gd name="connsiteX24" fmla="*/ 57107 w 57754"/>
                <a:gd name="connsiteY24" fmla="*/ 8795 h 15644"/>
                <a:gd name="connsiteX25" fmla="*/ 57611 w 57754"/>
                <a:gd name="connsiteY25" fmla="*/ 9660 h 15644"/>
                <a:gd name="connsiteX26" fmla="*/ 57755 w 57754"/>
                <a:gd name="connsiteY26" fmla="*/ 10958 h 15644"/>
                <a:gd name="connsiteX27" fmla="*/ 57395 w 57754"/>
                <a:gd name="connsiteY27" fmla="*/ 12760 h 15644"/>
                <a:gd name="connsiteX28" fmla="*/ 56819 w 57754"/>
                <a:gd name="connsiteY28" fmla="*/ 13626 h 15644"/>
                <a:gd name="connsiteX29" fmla="*/ 55522 w 57754"/>
                <a:gd name="connsiteY29" fmla="*/ 14346 h 15644"/>
                <a:gd name="connsiteX30" fmla="*/ 51562 w 57754"/>
                <a:gd name="connsiteY30" fmla="*/ 15212 h 15644"/>
                <a:gd name="connsiteX31" fmla="*/ 39031 w 57754"/>
                <a:gd name="connsiteY31" fmla="*/ 15644 h 15644"/>
                <a:gd name="connsiteX32" fmla="*/ 21100 w 57754"/>
                <a:gd name="connsiteY32" fmla="*/ 13337 h 15644"/>
                <a:gd name="connsiteX33" fmla="*/ 5545 w 57754"/>
                <a:gd name="connsiteY33" fmla="*/ 10453 h 15644"/>
                <a:gd name="connsiteX34" fmla="*/ 3241 w 57754"/>
                <a:gd name="connsiteY34" fmla="*/ 9516 h 15644"/>
                <a:gd name="connsiteX35" fmla="*/ 1512 w 57754"/>
                <a:gd name="connsiteY35" fmla="*/ 7426 h 15644"/>
                <a:gd name="connsiteX36" fmla="*/ 360 w 57754"/>
                <a:gd name="connsiteY36" fmla="*/ 4974 h 15644"/>
                <a:gd name="connsiteX37" fmla="*/ 0 w 57754"/>
                <a:gd name="connsiteY37" fmla="*/ 2812 h 15644"/>
                <a:gd name="connsiteX38" fmla="*/ 7057 w 57754"/>
                <a:gd name="connsiteY38" fmla="*/ 0 h 1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754" h="15644">
                  <a:moveTo>
                    <a:pt x="7057" y="0"/>
                  </a:moveTo>
                  <a:lnTo>
                    <a:pt x="9794" y="1658"/>
                  </a:lnTo>
                  <a:lnTo>
                    <a:pt x="11522" y="2667"/>
                  </a:lnTo>
                  <a:lnTo>
                    <a:pt x="13467" y="3172"/>
                  </a:lnTo>
                  <a:lnTo>
                    <a:pt x="14835" y="2884"/>
                  </a:lnTo>
                  <a:lnTo>
                    <a:pt x="16419" y="2163"/>
                  </a:lnTo>
                  <a:lnTo>
                    <a:pt x="18003" y="1370"/>
                  </a:lnTo>
                  <a:lnTo>
                    <a:pt x="19588" y="1009"/>
                  </a:lnTo>
                  <a:lnTo>
                    <a:pt x="22324" y="2019"/>
                  </a:lnTo>
                  <a:lnTo>
                    <a:pt x="25277" y="3028"/>
                  </a:lnTo>
                  <a:lnTo>
                    <a:pt x="27725" y="2235"/>
                  </a:lnTo>
                  <a:lnTo>
                    <a:pt x="30246" y="1514"/>
                  </a:lnTo>
                  <a:lnTo>
                    <a:pt x="33198" y="2595"/>
                  </a:lnTo>
                  <a:lnTo>
                    <a:pt x="34638" y="3172"/>
                  </a:lnTo>
                  <a:lnTo>
                    <a:pt x="36079" y="3172"/>
                  </a:lnTo>
                  <a:lnTo>
                    <a:pt x="45224" y="1947"/>
                  </a:lnTo>
                  <a:lnTo>
                    <a:pt x="52210" y="3100"/>
                  </a:lnTo>
                  <a:lnTo>
                    <a:pt x="52642" y="3388"/>
                  </a:lnTo>
                  <a:lnTo>
                    <a:pt x="52858" y="3749"/>
                  </a:lnTo>
                  <a:lnTo>
                    <a:pt x="52642" y="4614"/>
                  </a:lnTo>
                  <a:lnTo>
                    <a:pt x="52354" y="5551"/>
                  </a:lnTo>
                  <a:lnTo>
                    <a:pt x="52642" y="6416"/>
                  </a:lnTo>
                  <a:lnTo>
                    <a:pt x="54370" y="7426"/>
                  </a:lnTo>
                  <a:lnTo>
                    <a:pt x="56315" y="8219"/>
                  </a:lnTo>
                  <a:lnTo>
                    <a:pt x="57107" y="8795"/>
                  </a:lnTo>
                  <a:lnTo>
                    <a:pt x="57611" y="9660"/>
                  </a:lnTo>
                  <a:lnTo>
                    <a:pt x="57755" y="10958"/>
                  </a:lnTo>
                  <a:lnTo>
                    <a:pt x="57395" y="12760"/>
                  </a:lnTo>
                  <a:lnTo>
                    <a:pt x="56819" y="13626"/>
                  </a:lnTo>
                  <a:lnTo>
                    <a:pt x="55522" y="14346"/>
                  </a:lnTo>
                  <a:lnTo>
                    <a:pt x="51562" y="15212"/>
                  </a:lnTo>
                  <a:lnTo>
                    <a:pt x="39031" y="15644"/>
                  </a:lnTo>
                  <a:lnTo>
                    <a:pt x="21100" y="13337"/>
                  </a:lnTo>
                  <a:lnTo>
                    <a:pt x="5545" y="10453"/>
                  </a:lnTo>
                  <a:lnTo>
                    <a:pt x="3241" y="9516"/>
                  </a:lnTo>
                  <a:lnTo>
                    <a:pt x="1512" y="7426"/>
                  </a:lnTo>
                  <a:lnTo>
                    <a:pt x="360" y="4974"/>
                  </a:lnTo>
                  <a:lnTo>
                    <a:pt x="0" y="2812"/>
                  </a:lnTo>
                  <a:lnTo>
                    <a:pt x="705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xmlns="" id="{2BBA1225-8942-419B-CA74-C485D42F0CA3}"/>
                </a:ext>
              </a:extLst>
            </p:cNvPr>
            <p:cNvSpPr/>
            <p:nvPr/>
          </p:nvSpPr>
          <p:spPr>
            <a:xfrm>
              <a:off x="9668481" y="3473390"/>
              <a:ext cx="59771" cy="17013"/>
            </a:xfrm>
            <a:custGeom>
              <a:avLst/>
              <a:gdLst>
                <a:gd name="connsiteX0" fmla="*/ 5617 w 59771"/>
                <a:gd name="connsiteY0" fmla="*/ 0 h 17013"/>
                <a:gd name="connsiteX1" fmla="*/ 10442 w 59771"/>
                <a:gd name="connsiteY1" fmla="*/ 1874 h 17013"/>
                <a:gd name="connsiteX2" fmla="*/ 12818 w 59771"/>
                <a:gd name="connsiteY2" fmla="*/ 2740 h 17013"/>
                <a:gd name="connsiteX3" fmla="*/ 15195 w 59771"/>
                <a:gd name="connsiteY3" fmla="*/ 2667 h 17013"/>
                <a:gd name="connsiteX4" fmla="*/ 36583 w 59771"/>
                <a:gd name="connsiteY4" fmla="*/ 1658 h 17013"/>
                <a:gd name="connsiteX5" fmla="*/ 45152 w 59771"/>
                <a:gd name="connsiteY5" fmla="*/ 2451 h 17013"/>
                <a:gd name="connsiteX6" fmla="*/ 51850 w 59771"/>
                <a:gd name="connsiteY6" fmla="*/ 4109 h 17013"/>
                <a:gd name="connsiteX7" fmla="*/ 54874 w 59771"/>
                <a:gd name="connsiteY7" fmla="*/ 4902 h 17013"/>
                <a:gd name="connsiteX8" fmla="*/ 56603 w 59771"/>
                <a:gd name="connsiteY8" fmla="*/ 5623 h 17013"/>
                <a:gd name="connsiteX9" fmla="*/ 57971 w 59771"/>
                <a:gd name="connsiteY9" fmla="*/ 6633 h 17013"/>
                <a:gd name="connsiteX10" fmla="*/ 59483 w 59771"/>
                <a:gd name="connsiteY10" fmla="*/ 9300 h 17013"/>
                <a:gd name="connsiteX11" fmla="*/ 59771 w 59771"/>
                <a:gd name="connsiteY11" fmla="*/ 11895 h 17013"/>
                <a:gd name="connsiteX12" fmla="*/ 59123 w 59771"/>
                <a:gd name="connsiteY12" fmla="*/ 14130 h 17013"/>
                <a:gd name="connsiteX13" fmla="*/ 57971 w 59771"/>
                <a:gd name="connsiteY13" fmla="*/ 15572 h 17013"/>
                <a:gd name="connsiteX14" fmla="*/ 57971 w 59771"/>
                <a:gd name="connsiteY14" fmla="*/ 17014 h 17013"/>
                <a:gd name="connsiteX15" fmla="*/ 37015 w 59771"/>
                <a:gd name="connsiteY15" fmla="*/ 16942 h 17013"/>
                <a:gd name="connsiteX16" fmla="*/ 30030 w 59771"/>
                <a:gd name="connsiteY16" fmla="*/ 17014 h 17013"/>
                <a:gd name="connsiteX17" fmla="*/ 23116 w 59771"/>
                <a:gd name="connsiteY17" fmla="*/ 16437 h 17013"/>
                <a:gd name="connsiteX18" fmla="*/ 16203 w 59771"/>
                <a:gd name="connsiteY18" fmla="*/ 15212 h 17013"/>
                <a:gd name="connsiteX19" fmla="*/ 10010 w 59771"/>
                <a:gd name="connsiteY19" fmla="*/ 14202 h 17013"/>
                <a:gd name="connsiteX20" fmla="*/ 5545 w 59771"/>
                <a:gd name="connsiteY20" fmla="*/ 13481 h 17013"/>
                <a:gd name="connsiteX21" fmla="*/ 3745 w 59771"/>
                <a:gd name="connsiteY21" fmla="*/ 13049 h 17013"/>
                <a:gd name="connsiteX22" fmla="*/ 2520 w 59771"/>
                <a:gd name="connsiteY22" fmla="*/ 11895 h 17013"/>
                <a:gd name="connsiteX23" fmla="*/ 792 w 59771"/>
                <a:gd name="connsiteY23" fmla="*/ 8219 h 17013"/>
                <a:gd name="connsiteX24" fmla="*/ 0 w 59771"/>
                <a:gd name="connsiteY24" fmla="*/ 4253 h 17013"/>
                <a:gd name="connsiteX25" fmla="*/ 5617 w 59771"/>
                <a:gd name="connsiteY25" fmla="*/ 0 h 17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9771" h="17013">
                  <a:moveTo>
                    <a:pt x="5617" y="0"/>
                  </a:moveTo>
                  <a:lnTo>
                    <a:pt x="10442" y="1874"/>
                  </a:lnTo>
                  <a:lnTo>
                    <a:pt x="12818" y="2740"/>
                  </a:lnTo>
                  <a:lnTo>
                    <a:pt x="15195" y="2667"/>
                  </a:lnTo>
                  <a:lnTo>
                    <a:pt x="36583" y="1658"/>
                  </a:lnTo>
                  <a:lnTo>
                    <a:pt x="45152" y="2451"/>
                  </a:lnTo>
                  <a:lnTo>
                    <a:pt x="51850" y="4109"/>
                  </a:lnTo>
                  <a:lnTo>
                    <a:pt x="54874" y="4902"/>
                  </a:lnTo>
                  <a:lnTo>
                    <a:pt x="56603" y="5623"/>
                  </a:lnTo>
                  <a:lnTo>
                    <a:pt x="57971" y="6633"/>
                  </a:lnTo>
                  <a:lnTo>
                    <a:pt x="59483" y="9300"/>
                  </a:lnTo>
                  <a:lnTo>
                    <a:pt x="59771" y="11895"/>
                  </a:lnTo>
                  <a:lnTo>
                    <a:pt x="59123" y="14130"/>
                  </a:lnTo>
                  <a:lnTo>
                    <a:pt x="57971" y="15572"/>
                  </a:lnTo>
                  <a:lnTo>
                    <a:pt x="57971" y="17014"/>
                  </a:lnTo>
                  <a:lnTo>
                    <a:pt x="37015" y="16942"/>
                  </a:lnTo>
                  <a:lnTo>
                    <a:pt x="30030" y="17014"/>
                  </a:lnTo>
                  <a:lnTo>
                    <a:pt x="23116" y="16437"/>
                  </a:lnTo>
                  <a:lnTo>
                    <a:pt x="16203" y="15212"/>
                  </a:lnTo>
                  <a:lnTo>
                    <a:pt x="10010" y="14202"/>
                  </a:lnTo>
                  <a:lnTo>
                    <a:pt x="5545" y="13481"/>
                  </a:lnTo>
                  <a:lnTo>
                    <a:pt x="3745" y="13049"/>
                  </a:lnTo>
                  <a:lnTo>
                    <a:pt x="2520" y="11895"/>
                  </a:lnTo>
                  <a:lnTo>
                    <a:pt x="792" y="8219"/>
                  </a:lnTo>
                  <a:lnTo>
                    <a:pt x="0" y="4253"/>
                  </a:lnTo>
                  <a:lnTo>
                    <a:pt x="561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xmlns="" id="{7F95E89B-88DA-8E85-358F-4A5B247CCEB6}"/>
                </a:ext>
              </a:extLst>
            </p:cNvPr>
            <p:cNvSpPr/>
            <p:nvPr/>
          </p:nvSpPr>
          <p:spPr>
            <a:xfrm>
              <a:off x="9668553" y="3498406"/>
              <a:ext cx="60779" cy="27899"/>
            </a:xfrm>
            <a:custGeom>
              <a:avLst/>
              <a:gdLst>
                <a:gd name="connsiteX0" fmla="*/ 7129 w 60779"/>
                <a:gd name="connsiteY0" fmla="*/ 0 h 27899"/>
                <a:gd name="connsiteX1" fmla="*/ 16635 w 60779"/>
                <a:gd name="connsiteY1" fmla="*/ 1226 h 27899"/>
                <a:gd name="connsiteX2" fmla="*/ 19804 w 60779"/>
                <a:gd name="connsiteY2" fmla="*/ 1586 h 27899"/>
                <a:gd name="connsiteX3" fmla="*/ 22540 w 60779"/>
                <a:gd name="connsiteY3" fmla="*/ 1081 h 27899"/>
                <a:gd name="connsiteX4" fmla="*/ 26213 w 60779"/>
                <a:gd name="connsiteY4" fmla="*/ 721 h 27899"/>
                <a:gd name="connsiteX5" fmla="*/ 31974 w 60779"/>
                <a:gd name="connsiteY5" fmla="*/ 1153 h 27899"/>
                <a:gd name="connsiteX6" fmla="*/ 40256 w 60779"/>
                <a:gd name="connsiteY6" fmla="*/ 1298 h 27899"/>
                <a:gd name="connsiteX7" fmla="*/ 48609 w 60779"/>
                <a:gd name="connsiteY7" fmla="*/ 865 h 27899"/>
                <a:gd name="connsiteX8" fmla="*/ 51490 w 60779"/>
                <a:gd name="connsiteY8" fmla="*/ 793 h 27899"/>
                <a:gd name="connsiteX9" fmla="*/ 53938 w 60779"/>
                <a:gd name="connsiteY9" fmla="*/ 1802 h 27899"/>
                <a:gd name="connsiteX10" fmla="*/ 58259 w 60779"/>
                <a:gd name="connsiteY10" fmla="*/ 5407 h 27899"/>
                <a:gd name="connsiteX11" fmla="*/ 59699 w 60779"/>
                <a:gd name="connsiteY11" fmla="*/ 7209 h 27899"/>
                <a:gd name="connsiteX12" fmla="*/ 60563 w 60779"/>
                <a:gd name="connsiteY12" fmla="*/ 9300 h 27899"/>
                <a:gd name="connsiteX13" fmla="*/ 60779 w 60779"/>
                <a:gd name="connsiteY13" fmla="*/ 11607 h 27899"/>
                <a:gd name="connsiteX14" fmla="*/ 60203 w 60779"/>
                <a:gd name="connsiteY14" fmla="*/ 13914 h 27899"/>
                <a:gd name="connsiteX15" fmla="*/ 57683 w 60779"/>
                <a:gd name="connsiteY15" fmla="*/ 20979 h 27899"/>
                <a:gd name="connsiteX16" fmla="*/ 56243 w 60779"/>
                <a:gd name="connsiteY16" fmla="*/ 24079 h 27899"/>
                <a:gd name="connsiteX17" fmla="*/ 54154 w 60779"/>
                <a:gd name="connsiteY17" fmla="*/ 26602 h 27899"/>
                <a:gd name="connsiteX18" fmla="*/ 52930 w 60779"/>
                <a:gd name="connsiteY18" fmla="*/ 27179 h 27899"/>
                <a:gd name="connsiteX19" fmla="*/ 51490 w 60779"/>
                <a:gd name="connsiteY19" fmla="*/ 27251 h 27899"/>
                <a:gd name="connsiteX20" fmla="*/ 47961 w 60779"/>
                <a:gd name="connsiteY20" fmla="*/ 26602 h 27899"/>
                <a:gd name="connsiteX21" fmla="*/ 44288 w 60779"/>
                <a:gd name="connsiteY21" fmla="*/ 25593 h 27899"/>
                <a:gd name="connsiteX22" fmla="*/ 41120 w 60779"/>
                <a:gd name="connsiteY22" fmla="*/ 25160 h 27899"/>
                <a:gd name="connsiteX23" fmla="*/ 38815 w 60779"/>
                <a:gd name="connsiteY23" fmla="*/ 25737 h 27899"/>
                <a:gd name="connsiteX24" fmla="*/ 36799 w 60779"/>
                <a:gd name="connsiteY24" fmla="*/ 26746 h 27899"/>
                <a:gd name="connsiteX25" fmla="*/ 34711 w 60779"/>
                <a:gd name="connsiteY25" fmla="*/ 27612 h 27899"/>
                <a:gd name="connsiteX26" fmla="*/ 32334 w 60779"/>
                <a:gd name="connsiteY26" fmla="*/ 27900 h 27899"/>
                <a:gd name="connsiteX27" fmla="*/ 25565 w 60779"/>
                <a:gd name="connsiteY27" fmla="*/ 26098 h 27899"/>
                <a:gd name="connsiteX28" fmla="*/ 21748 w 60779"/>
                <a:gd name="connsiteY28" fmla="*/ 25593 h 27899"/>
                <a:gd name="connsiteX29" fmla="*/ 17355 w 60779"/>
                <a:gd name="connsiteY29" fmla="*/ 26314 h 27899"/>
                <a:gd name="connsiteX30" fmla="*/ 16203 w 60779"/>
                <a:gd name="connsiteY30" fmla="*/ 26458 h 27899"/>
                <a:gd name="connsiteX31" fmla="*/ 15123 w 60779"/>
                <a:gd name="connsiteY31" fmla="*/ 25953 h 27899"/>
                <a:gd name="connsiteX32" fmla="*/ 13971 w 60779"/>
                <a:gd name="connsiteY32" fmla="*/ 25377 h 27899"/>
                <a:gd name="connsiteX33" fmla="*/ 12746 w 60779"/>
                <a:gd name="connsiteY33" fmla="*/ 25088 h 27899"/>
                <a:gd name="connsiteX34" fmla="*/ 10082 w 60779"/>
                <a:gd name="connsiteY34" fmla="*/ 25016 h 27899"/>
                <a:gd name="connsiteX35" fmla="*/ 9074 w 60779"/>
                <a:gd name="connsiteY35" fmla="*/ 24656 h 27899"/>
                <a:gd name="connsiteX36" fmla="*/ 8570 w 60779"/>
                <a:gd name="connsiteY36" fmla="*/ 24079 h 27899"/>
                <a:gd name="connsiteX37" fmla="*/ 5329 w 60779"/>
                <a:gd name="connsiteY37" fmla="*/ 19105 h 27899"/>
                <a:gd name="connsiteX38" fmla="*/ 1872 w 60779"/>
                <a:gd name="connsiteY38" fmla="*/ 14995 h 27899"/>
                <a:gd name="connsiteX39" fmla="*/ 432 w 60779"/>
                <a:gd name="connsiteY39" fmla="*/ 13121 h 27899"/>
                <a:gd name="connsiteX40" fmla="*/ 0 w 60779"/>
                <a:gd name="connsiteY40" fmla="*/ 10958 h 27899"/>
                <a:gd name="connsiteX41" fmla="*/ 792 w 60779"/>
                <a:gd name="connsiteY41" fmla="*/ 8363 h 27899"/>
                <a:gd name="connsiteX42" fmla="*/ 2664 w 60779"/>
                <a:gd name="connsiteY42" fmla="*/ 5623 h 27899"/>
                <a:gd name="connsiteX43" fmla="*/ 7129 w 60779"/>
                <a:gd name="connsiteY43" fmla="*/ 0 h 27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0779" h="27899">
                  <a:moveTo>
                    <a:pt x="7129" y="0"/>
                  </a:moveTo>
                  <a:lnTo>
                    <a:pt x="16635" y="1226"/>
                  </a:lnTo>
                  <a:lnTo>
                    <a:pt x="19804" y="1586"/>
                  </a:lnTo>
                  <a:lnTo>
                    <a:pt x="22540" y="1081"/>
                  </a:lnTo>
                  <a:lnTo>
                    <a:pt x="26213" y="721"/>
                  </a:lnTo>
                  <a:lnTo>
                    <a:pt x="31974" y="1153"/>
                  </a:lnTo>
                  <a:lnTo>
                    <a:pt x="40256" y="1298"/>
                  </a:lnTo>
                  <a:lnTo>
                    <a:pt x="48609" y="865"/>
                  </a:lnTo>
                  <a:lnTo>
                    <a:pt x="51490" y="793"/>
                  </a:lnTo>
                  <a:lnTo>
                    <a:pt x="53938" y="1802"/>
                  </a:lnTo>
                  <a:lnTo>
                    <a:pt x="58259" y="5407"/>
                  </a:lnTo>
                  <a:lnTo>
                    <a:pt x="59699" y="7209"/>
                  </a:lnTo>
                  <a:lnTo>
                    <a:pt x="60563" y="9300"/>
                  </a:lnTo>
                  <a:lnTo>
                    <a:pt x="60779" y="11607"/>
                  </a:lnTo>
                  <a:lnTo>
                    <a:pt x="60203" y="13914"/>
                  </a:lnTo>
                  <a:lnTo>
                    <a:pt x="57683" y="20979"/>
                  </a:lnTo>
                  <a:lnTo>
                    <a:pt x="56243" y="24079"/>
                  </a:lnTo>
                  <a:lnTo>
                    <a:pt x="54154" y="26602"/>
                  </a:lnTo>
                  <a:lnTo>
                    <a:pt x="52930" y="27179"/>
                  </a:lnTo>
                  <a:lnTo>
                    <a:pt x="51490" y="27251"/>
                  </a:lnTo>
                  <a:lnTo>
                    <a:pt x="47961" y="26602"/>
                  </a:lnTo>
                  <a:lnTo>
                    <a:pt x="44288" y="25593"/>
                  </a:lnTo>
                  <a:lnTo>
                    <a:pt x="41120" y="25160"/>
                  </a:lnTo>
                  <a:lnTo>
                    <a:pt x="38815" y="25737"/>
                  </a:lnTo>
                  <a:lnTo>
                    <a:pt x="36799" y="26746"/>
                  </a:lnTo>
                  <a:lnTo>
                    <a:pt x="34711" y="27612"/>
                  </a:lnTo>
                  <a:lnTo>
                    <a:pt x="32334" y="27900"/>
                  </a:lnTo>
                  <a:lnTo>
                    <a:pt x="25565" y="26098"/>
                  </a:lnTo>
                  <a:lnTo>
                    <a:pt x="21748" y="25593"/>
                  </a:lnTo>
                  <a:lnTo>
                    <a:pt x="17355" y="26314"/>
                  </a:lnTo>
                  <a:lnTo>
                    <a:pt x="16203" y="26458"/>
                  </a:lnTo>
                  <a:lnTo>
                    <a:pt x="15123" y="25953"/>
                  </a:lnTo>
                  <a:lnTo>
                    <a:pt x="13971" y="25377"/>
                  </a:lnTo>
                  <a:lnTo>
                    <a:pt x="12746" y="25088"/>
                  </a:lnTo>
                  <a:lnTo>
                    <a:pt x="10082" y="25016"/>
                  </a:lnTo>
                  <a:lnTo>
                    <a:pt x="9074" y="24656"/>
                  </a:lnTo>
                  <a:lnTo>
                    <a:pt x="8570" y="24079"/>
                  </a:lnTo>
                  <a:lnTo>
                    <a:pt x="5329" y="19105"/>
                  </a:lnTo>
                  <a:lnTo>
                    <a:pt x="1872" y="14995"/>
                  </a:lnTo>
                  <a:lnTo>
                    <a:pt x="432" y="13121"/>
                  </a:lnTo>
                  <a:lnTo>
                    <a:pt x="0" y="10958"/>
                  </a:lnTo>
                  <a:lnTo>
                    <a:pt x="792" y="8363"/>
                  </a:lnTo>
                  <a:lnTo>
                    <a:pt x="2664" y="5623"/>
                  </a:lnTo>
                  <a:lnTo>
                    <a:pt x="7129" y="0"/>
                  </a:lnTo>
                </a:path>
              </a:pathLst>
            </a:custGeom>
            <a:solidFill>
              <a:srgbClr val="A9218E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xmlns="" id="{CA1D8935-071B-3050-F260-2F1E8CF276F0}"/>
                </a:ext>
              </a:extLst>
            </p:cNvPr>
            <p:cNvSpPr/>
            <p:nvPr/>
          </p:nvSpPr>
          <p:spPr>
            <a:xfrm>
              <a:off x="9664305" y="3546780"/>
              <a:ext cx="69565" cy="39506"/>
            </a:xfrm>
            <a:custGeom>
              <a:avLst/>
              <a:gdLst>
                <a:gd name="connsiteX0" fmla="*/ 22180 w 69565"/>
                <a:gd name="connsiteY0" fmla="*/ 216 h 39506"/>
                <a:gd name="connsiteX1" fmla="*/ 25709 w 69565"/>
                <a:gd name="connsiteY1" fmla="*/ 0 h 39506"/>
                <a:gd name="connsiteX2" fmla="*/ 29238 w 69565"/>
                <a:gd name="connsiteY2" fmla="*/ 360 h 39506"/>
                <a:gd name="connsiteX3" fmla="*/ 49545 w 69565"/>
                <a:gd name="connsiteY3" fmla="*/ 2379 h 39506"/>
                <a:gd name="connsiteX4" fmla="*/ 55234 w 69565"/>
                <a:gd name="connsiteY4" fmla="*/ 3244 h 39506"/>
                <a:gd name="connsiteX5" fmla="*/ 60635 w 69565"/>
                <a:gd name="connsiteY5" fmla="*/ 4758 h 39506"/>
                <a:gd name="connsiteX6" fmla="*/ 63084 w 69565"/>
                <a:gd name="connsiteY6" fmla="*/ 6272 h 39506"/>
                <a:gd name="connsiteX7" fmla="*/ 65244 w 69565"/>
                <a:gd name="connsiteY7" fmla="*/ 8435 h 39506"/>
                <a:gd name="connsiteX8" fmla="*/ 67045 w 69565"/>
                <a:gd name="connsiteY8" fmla="*/ 11679 h 39506"/>
                <a:gd name="connsiteX9" fmla="*/ 68485 w 69565"/>
                <a:gd name="connsiteY9" fmla="*/ 16005 h 39506"/>
                <a:gd name="connsiteX10" fmla="*/ 69565 w 69565"/>
                <a:gd name="connsiteY10" fmla="*/ 23358 h 39506"/>
                <a:gd name="connsiteX11" fmla="*/ 69205 w 69565"/>
                <a:gd name="connsiteY11" fmla="*/ 27035 h 39506"/>
                <a:gd name="connsiteX12" fmla="*/ 67837 w 69565"/>
                <a:gd name="connsiteY12" fmla="*/ 30423 h 39506"/>
                <a:gd name="connsiteX13" fmla="*/ 65964 w 69565"/>
                <a:gd name="connsiteY13" fmla="*/ 32586 h 39506"/>
                <a:gd name="connsiteX14" fmla="*/ 63516 w 69565"/>
                <a:gd name="connsiteY14" fmla="*/ 34460 h 39506"/>
                <a:gd name="connsiteX15" fmla="*/ 56963 w 69565"/>
                <a:gd name="connsiteY15" fmla="*/ 37272 h 39506"/>
                <a:gd name="connsiteX16" fmla="*/ 39751 w 69565"/>
                <a:gd name="connsiteY16" fmla="*/ 39507 h 39506"/>
                <a:gd name="connsiteX17" fmla="*/ 34278 w 69565"/>
                <a:gd name="connsiteY17" fmla="*/ 38786 h 39506"/>
                <a:gd name="connsiteX18" fmla="*/ 29021 w 69565"/>
                <a:gd name="connsiteY18" fmla="*/ 37272 h 39506"/>
                <a:gd name="connsiteX19" fmla="*/ 23764 w 69565"/>
                <a:gd name="connsiteY19" fmla="*/ 35830 h 39506"/>
                <a:gd name="connsiteX20" fmla="*/ 18652 w 69565"/>
                <a:gd name="connsiteY20" fmla="*/ 35253 h 39506"/>
                <a:gd name="connsiteX21" fmla="*/ 11450 w 69565"/>
                <a:gd name="connsiteY21" fmla="*/ 34388 h 39506"/>
                <a:gd name="connsiteX22" fmla="*/ 6049 w 69565"/>
                <a:gd name="connsiteY22" fmla="*/ 31721 h 39506"/>
                <a:gd name="connsiteX23" fmla="*/ 2448 w 69565"/>
                <a:gd name="connsiteY23" fmla="*/ 27900 h 39506"/>
                <a:gd name="connsiteX24" fmla="*/ 504 w 69565"/>
                <a:gd name="connsiteY24" fmla="*/ 23574 h 39506"/>
                <a:gd name="connsiteX25" fmla="*/ 0 w 69565"/>
                <a:gd name="connsiteY25" fmla="*/ 18816 h 39506"/>
                <a:gd name="connsiteX26" fmla="*/ 1152 w 69565"/>
                <a:gd name="connsiteY26" fmla="*/ 14707 h 39506"/>
                <a:gd name="connsiteX27" fmla="*/ 3529 w 69565"/>
                <a:gd name="connsiteY27" fmla="*/ 11246 h 39506"/>
                <a:gd name="connsiteX28" fmla="*/ 6625 w 69565"/>
                <a:gd name="connsiteY28" fmla="*/ 8507 h 39506"/>
                <a:gd name="connsiteX29" fmla="*/ 13395 w 69565"/>
                <a:gd name="connsiteY29" fmla="*/ 4758 h 39506"/>
                <a:gd name="connsiteX30" fmla="*/ 18003 w 69565"/>
                <a:gd name="connsiteY30" fmla="*/ 3100 h 39506"/>
                <a:gd name="connsiteX31" fmla="*/ 19156 w 69565"/>
                <a:gd name="connsiteY31" fmla="*/ 2523 h 39506"/>
                <a:gd name="connsiteX32" fmla="*/ 19948 w 69565"/>
                <a:gd name="connsiteY32" fmla="*/ 1730 h 39506"/>
                <a:gd name="connsiteX33" fmla="*/ 20812 w 69565"/>
                <a:gd name="connsiteY33" fmla="*/ 865 h 39506"/>
                <a:gd name="connsiteX34" fmla="*/ 22180 w 69565"/>
                <a:gd name="connsiteY34" fmla="*/ 216 h 3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9565" h="39506">
                  <a:moveTo>
                    <a:pt x="22180" y="216"/>
                  </a:moveTo>
                  <a:lnTo>
                    <a:pt x="25709" y="0"/>
                  </a:lnTo>
                  <a:lnTo>
                    <a:pt x="29238" y="360"/>
                  </a:lnTo>
                  <a:lnTo>
                    <a:pt x="49545" y="2379"/>
                  </a:lnTo>
                  <a:lnTo>
                    <a:pt x="55234" y="3244"/>
                  </a:lnTo>
                  <a:lnTo>
                    <a:pt x="60635" y="4758"/>
                  </a:lnTo>
                  <a:lnTo>
                    <a:pt x="63084" y="6272"/>
                  </a:lnTo>
                  <a:lnTo>
                    <a:pt x="65244" y="8435"/>
                  </a:lnTo>
                  <a:lnTo>
                    <a:pt x="67045" y="11679"/>
                  </a:lnTo>
                  <a:lnTo>
                    <a:pt x="68485" y="16005"/>
                  </a:lnTo>
                  <a:lnTo>
                    <a:pt x="69565" y="23358"/>
                  </a:lnTo>
                  <a:lnTo>
                    <a:pt x="69205" y="27035"/>
                  </a:lnTo>
                  <a:lnTo>
                    <a:pt x="67837" y="30423"/>
                  </a:lnTo>
                  <a:lnTo>
                    <a:pt x="65964" y="32586"/>
                  </a:lnTo>
                  <a:lnTo>
                    <a:pt x="63516" y="34460"/>
                  </a:lnTo>
                  <a:lnTo>
                    <a:pt x="56963" y="37272"/>
                  </a:lnTo>
                  <a:lnTo>
                    <a:pt x="39751" y="39507"/>
                  </a:lnTo>
                  <a:lnTo>
                    <a:pt x="34278" y="38786"/>
                  </a:lnTo>
                  <a:lnTo>
                    <a:pt x="29021" y="37272"/>
                  </a:lnTo>
                  <a:lnTo>
                    <a:pt x="23764" y="35830"/>
                  </a:lnTo>
                  <a:lnTo>
                    <a:pt x="18652" y="35253"/>
                  </a:lnTo>
                  <a:lnTo>
                    <a:pt x="11450" y="34388"/>
                  </a:lnTo>
                  <a:lnTo>
                    <a:pt x="6049" y="31721"/>
                  </a:lnTo>
                  <a:lnTo>
                    <a:pt x="2448" y="27900"/>
                  </a:lnTo>
                  <a:lnTo>
                    <a:pt x="504" y="23574"/>
                  </a:lnTo>
                  <a:lnTo>
                    <a:pt x="0" y="18816"/>
                  </a:lnTo>
                  <a:lnTo>
                    <a:pt x="1152" y="14707"/>
                  </a:lnTo>
                  <a:lnTo>
                    <a:pt x="3529" y="11246"/>
                  </a:lnTo>
                  <a:lnTo>
                    <a:pt x="6625" y="8507"/>
                  </a:lnTo>
                  <a:lnTo>
                    <a:pt x="13395" y="4758"/>
                  </a:lnTo>
                  <a:lnTo>
                    <a:pt x="18003" y="3100"/>
                  </a:lnTo>
                  <a:lnTo>
                    <a:pt x="19156" y="2523"/>
                  </a:lnTo>
                  <a:lnTo>
                    <a:pt x="19948" y="1730"/>
                  </a:lnTo>
                  <a:lnTo>
                    <a:pt x="20812" y="865"/>
                  </a:lnTo>
                  <a:lnTo>
                    <a:pt x="22180" y="216"/>
                  </a:lnTo>
                </a:path>
              </a:pathLst>
            </a:custGeom>
            <a:solidFill>
              <a:srgbClr val="353D98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xmlns="" id="{F114AFB2-0B43-F70B-F2A6-D58B0DD4CB48}"/>
                </a:ext>
              </a:extLst>
            </p:cNvPr>
            <p:cNvSpPr/>
            <p:nvPr/>
          </p:nvSpPr>
          <p:spPr>
            <a:xfrm>
              <a:off x="9669201" y="3603950"/>
              <a:ext cx="58186" cy="38137"/>
            </a:xfrm>
            <a:custGeom>
              <a:avLst/>
              <a:gdLst>
                <a:gd name="connsiteX0" fmla="*/ 32838 w 58186"/>
                <a:gd name="connsiteY0" fmla="*/ 0 h 38137"/>
                <a:gd name="connsiteX1" fmla="*/ 39463 w 58186"/>
                <a:gd name="connsiteY1" fmla="*/ 577 h 38137"/>
                <a:gd name="connsiteX2" fmla="*/ 46377 w 58186"/>
                <a:gd name="connsiteY2" fmla="*/ 3100 h 38137"/>
                <a:gd name="connsiteX3" fmla="*/ 48393 w 58186"/>
                <a:gd name="connsiteY3" fmla="*/ 5046 h 38137"/>
                <a:gd name="connsiteX4" fmla="*/ 50049 w 58186"/>
                <a:gd name="connsiteY4" fmla="*/ 6560 h 38137"/>
                <a:gd name="connsiteX5" fmla="*/ 53506 w 58186"/>
                <a:gd name="connsiteY5" fmla="*/ 7281 h 38137"/>
                <a:gd name="connsiteX6" fmla="*/ 55162 w 58186"/>
                <a:gd name="connsiteY6" fmla="*/ 7786 h 38137"/>
                <a:gd name="connsiteX7" fmla="*/ 56243 w 58186"/>
                <a:gd name="connsiteY7" fmla="*/ 8723 h 38137"/>
                <a:gd name="connsiteX8" fmla="*/ 58043 w 58186"/>
                <a:gd name="connsiteY8" fmla="*/ 16653 h 38137"/>
                <a:gd name="connsiteX9" fmla="*/ 58187 w 58186"/>
                <a:gd name="connsiteY9" fmla="*/ 21700 h 38137"/>
                <a:gd name="connsiteX10" fmla="*/ 57395 w 58186"/>
                <a:gd name="connsiteY10" fmla="*/ 25881 h 38137"/>
                <a:gd name="connsiteX11" fmla="*/ 55882 w 58186"/>
                <a:gd name="connsiteY11" fmla="*/ 28477 h 38137"/>
                <a:gd name="connsiteX12" fmla="*/ 53722 w 58186"/>
                <a:gd name="connsiteY12" fmla="*/ 30784 h 38137"/>
                <a:gd name="connsiteX13" fmla="*/ 48033 w 58186"/>
                <a:gd name="connsiteY13" fmla="*/ 34388 h 38137"/>
                <a:gd name="connsiteX14" fmla="*/ 40904 w 58186"/>
                <a:gd name="connsiteY14" fmla="*/ 36767 h 38137"/>
                <a:gd name="connsiteX15" fmla="*/ 32910 w 58186"/>
                <a:gd name="connsiteY15" fmla="*/ 37993 h 38137"/>
                <a:gd name="connsiteX16" fmla="*/ 24701 w 58186"/>
                <a:gd name="connsiteY16" fmla="*/ 38137 h 38137"/>
                <a:gd name="connsiteX17" fmla="*/ 16851 w 58186"/>
                <a:gd name="connsiteY17" fmla="*/ 37200 h 38137"/>
                <a:gd name="connsiteX18" fmla="*/ 9938 w 58186"/>
                <a:gd name="connsiteY18" fmla="*/ 35398 h 38137"/>
                <a:gd name="connsiteX19" fmla="*/ 4681 w 58186"/>
                <a:gd name="connsiteY19" fmla="*/ 32730 h 38137"/>
                <a:gd name="connsiteX20" fmla="*/ 3025 w 58186"/>
                <a:gd name="connsiteY20" fmla="*/ 31144 h 38137"/>
                <a:gd name="connsiteX21" fmla="*/ 1872 w 58186"/>
                <a:gd name="connsiteY21" fmla="*/ 29270 h 38137"/>
                <a:gd name="connsiteX22" fmla="*/ 432 w 58186"/>
                <a:gd name="connsiteY22" fmla="*/ 25016 h 38137"/>
                <a:gd name="connsiteX23" fmla="*/ 0 w 58186"/>
                <a:gd name="connsiteY23" fmla="*/ 20330 h 38137"/>
                <a:gd name="connsiteX24" fmla="*/ 936 w 58186"/>
                <a:gd name="connsiteY24" fmla="*/ 16221 h 38137"/>
                <a:gd name="connsiteX25" fmla="*/ 3097 w 58186"/>
                <a:gd name="connsiteY25" fmla="*/ 12688 h 38137"/>
                <a:gd name="connsiteX26" fmla="*/ 5977 w 58186"/>
                <a:gd name="connsiteY26" fmla="*/ 9733 h 38137"/>
                <a:gd name="connsiteX27" fmla="*/ 13106 w 58186"/>
                <a:gd name="connsiteY27" fmla="*/ 5623 h 38137"/>
                <a:gd name="connsiteX28" fmla="*/ 19732 w 58186"/>
                <a:gd name="connsiteY28" fmla="*/ 3821 h 38137"/>
                <a:gd name="connsiteX29" fmla="*/ 26429 w 58186"/>
                <a:gd name="connsiteY29" fmla="*/ 1802 h 38137"/>
                <a:gd name="connsiteX30" fmla="*/ 32838 w 58186"/>
                <a:gd name="connsiteY30" fmla="*/ 0 h 3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8186" h="38137">
                  <a:moveTo>
                    <a:pt x="32838" y="0"/>
                  </a:moveTo>
                  <a:lnTo>
                    <a:pt x="39463" y="577"/>
                  </a:lnTo>
                  <a:lnTo>
                    <a:pt x="46377" y="3100"/>
                  </a:lnTo>
                  <a:lnTo>
                    <a:pt x="48393" y="5046"/>
                  </a:lnTo>
                  <a:lnTo>
                    <a:pt x="50049" y="6560"/>
                  </a:lnTo>
                  <a:lnTo>
                    <a:pt x="53506" y="7281"/>
                  </a:lnTo>
                  <a:lnTo>
                    <a:pt x="55162" y="7786"/>
                  </a:lnTo>
                  <a:lnTo>
                    <a:pt x="56243" y="8723"/>
                  </a:lnTo>
                  <a:lnTo>
                    <a:pt x="58043" y="16653"/>
                  </a:lnTo>
                  <a:lnTo>
                    <a:pt x="58187" y="21700"/>
                  </a:lnTo>
                  <a:lnTo>
                    <a:pt x="57395" y="25881"/>
                  </a:lnTo>
                  <a:lnTo>
                    <a:pt x="55882" y="28477"/>
                  </a:lnTo>
                  <a:lnTo>
                    <a:pt x="53722" y="30784"/>
                  </a:lnTo>
                  <a:lnTo>
                    <a:pt x="48033" y="34388"/>
                  </a:lnTo>
                  <a:lnTo>
                    <a:pt x="40904" y="36767"/>
                  </a:lnTo>
                  <a:lnTo>
                    <a:pt x="32910" y="37993"/>
                  </a:lnTo>
                  <a:lnTo>
                    <a:pt x="24701" y="38137"/>
                  </a:lnTo>
                  <a:lnTo>
                    <a:pt x="16851" y="37200"/>
                  </a:lnTo>
                  <a:lnTo>
                    <a:pt x="9938" y="35398"/>
                  </a:lnTo>
                  <a:lnTo>
                    <a:pt x="4681" y="32730"/>
                  </a:lnTo>
                  <a:lnTo>
                    <a:pt x="3025" y="31144"/>
                  </a:lnTo>
                  <a:lnTo>
                    <a:pt x="1872" y="29270"/>
                  </a:lnTo>
                  <a:lnTo>
                    <a:pt x="432" y="25016"/>
                  </a:lnTo>
                  <a:lnTo>
                    <a:pt x="0" y="20330"/>
                  </a:lnTo>
                  <a:lnTo>
                    <a:pt x="936" y="16221"/>
                  </a:lnTo>
                  <a:lnTo>
                    <a:pt x="3097" y="12688"/>
                  </a:lnTo>
                  <a:lnTo>
                    <a:pt x="5977" y="9733"/>
                  </a:lnTo>
                  <a:lnTo>
                    <a:pt x="13106" y="5623"/>
                  </a:lnTo>
                  <a:lnTo>
                    <a:pt x="19732" y="3821"/>
                  </a:lnTo>
                  <a:lnTo>
                    <a:pt x="26429" y="1802"/>
                  </a:lnTo>
                  <a:lnTo>
                    <a:pt x="32838" y="0"/>
                  </a:lnTo>
                </a:path>
              </a:pathLst>
            </a:custGeom>
            <a:solidFill>
              <a:srgbClr val="002E56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709469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A - Pat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56B26976-7073-93E4-6567-76DBA812EF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1F652C48-EDE8-5844-AFE0-7DC50B298A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4917" y="938051"/>
            <a:ext cx="6653612" cy="2617111"/>
          </a:xfrm>
        </p:spPr>
        <p:txBody>
          <a:bodyPr lIns="0" tIns="0" rIns="0" bIns="0" anchor="b">
            <a:noAutofit/>
          </a:bodyPr>
          <a:lstStyle>
            <a:lvl1pPr>
              <a:defRPr sz="5000">
                <a:solidFill>
                  <a:schemeClr val="tx2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(Arial 50pt)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DE42666-D523-AA48-AE88-2AFDEB209C7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434917" y="3795210"/>
            <a:ext cx="6653612" cy="1248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(Arial 18pt)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xmlns="" id="{3FA88446-B12D-A83C-A430-B88E76DBD8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1013" y="1218227"/>
            <a:ext cx="1611313" cy="1329595"/>
          </a:xfrm>
        </p:spPr>
        <p:txBody>
          <a:bodyPr anchor="ctr">
            <a:noAutofit/>
          </a:bodyPr>
          <a:lstStyle>
            <a:lvl1pPr marL="0" indent="0">
              <a:buNone/>
              <a:defRPr sz="96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E6861D2D-CB6C-AA33-5F7E-910F591AD6A9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6" name="Picture 7">
              <a:extLst>
                <a:ext uri="{FF2B5EF4-FFF2-40B4-BE49-F238E27FC236}">
                  <a16:creationId xmlns:a16="http://schemas.microsoft.com/office/drawing/2014/main" xmlns="" id="{65DAEB33-6117-CC7E-0B28-651E908684F7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xmlns="" id="{5EF10510-54CB-E2AD-DE59-FEE8B7CDED03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9EB0A851-E5BF-8E5D-9589-4F627ABCCB63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xmlns="" id="{C01ED543-5EAA-105E-E756-280DAE639BBD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50067824-A3CA-585B-9D4F-6536ED991B72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6B961C1D-201E-F957-29FC-8C9FDF5E4B80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35EF63EA-CBE2-B2C7-89F3-91C14818A1F9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75BE80C0-8AC4-C3B9-DB72-15A368BC6E48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58C4E043-D864-DD0A-4986-EB434A6B9A71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2FEEC942-0015-8363-8AC6-CA9CB0C16CA1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455F8C4A-9187-06EB-677E-271953F2FF47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36EC7881-88A6-E1ED-B247-B1191F1F493D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AEBC19E9-7822-B72E-DC1A-F53E0F9F5507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3785F0FB-50B5-C5C9-30E6-808F924D2D44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3C5732FD-F583-792C-0D5C-760AA8EFFBA0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xmlns="" id="{9795BD1C-2B1D-5A52-1A1B-D131A00FB4B5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304426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A - Molec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hape&#10;&#10;Description automatically generated">
            <a:extLst>
              <a:ext uri="{FF2B5EF4-FFF2-40B4-BE49-F238E27FC236}">
                <a16:creationId xmlns:a16="http://schemas.microsoft.com/office/drawing/2014/main" xmlns="" id="{5582AE0C-FB46-83AD-8F2E-6DB212E132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1F652C48-EDE8-5844-AFE0-7DC50B298A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4917" y="938051"/>
            <a:ext cx="6653612" cy="2617111"/>
          </a:xfrm>
        </p:spPr>
        <p:txBody>
          <a:bodyPr lIns="0" tIns="0" rIns="0" bIns="0" anchor="b">
            <a:noAutofit/>
          </a:bodyPr>
          <a:lstStyle>
            <a:lvl1pPr>
              <a:defRPr sz="5000">
                <a:solidFill>
                  <a:schemeClr val="tx2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(Arial 50pt)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DE42666-D523-AA48-AE88-2AFDEB209C7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434917" y="3795210"/>
            <a:ext cx="6653612" cy="1248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(Arial 18pt)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xmlns="" id="{3FA88446-B12D-A83C-A430-B88E76DBD8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1013" y="1218227"/>
            <a:ext cx="1611313" cy="1329595"/>
          </a:xfrm>
        </p:spPr>
        <p:txBody>
          <a:bodyPr anchor="ctr">
            <a:noAutofit/>
          </a:bodyPr>
          <a:lstStyle>
            <a:lvl1pPr marL="0" indent="0">
              <a:buNone/>
              <a:defRPr sz="96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58A9C69B-9E31-CFB2-859C-5E3748397929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7" name="Picture 7">
              <a:extLst>
                <a:ext uri="{FF2B5EF4-FFF2-40B4-BE49-F238E27FC236}">
                  <a16:creationId xmlns:a16="http://schemas.microsoft.com/office/drawing/2014/main" xmlns="" id="{49ECE811-7302-9FDC-3096-5B0A95C30092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265A637D-ED7E-2789-F949-E8BCFAA0E8D6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xmlns="" id="{3C653C15-236E-78F8-276A-2AC08C5A9595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03EDB4B2-359F-6D70-3145-97B58DE95B89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D5A6700A-5412-F6F2-D33F-9E8E0E81014C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C5A570FB-09C0-1E92-7AE5-E512529D667C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755B11DD-DA7D-3063-6306-45E4861AECCD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665F70DD-8AA4-E991-7097-3D68A0F366E7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8F876C4F-8AE3-E17C-39E6-BB38590C2445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3A6C0154-B6EF-6872-EF16-EFDB175E4751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3821C260-DB00-B67B-5E7F-8C7AA6CC6EEF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F3586F20-290A-FC8B-1C25-182CB2F112DB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8896D88C-C10B-69B0-E0E5-CA9CC66140B9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A742DF78-2FD8-5BF8-76A5-845BD7696D43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xmlns="" id="{10A80AB2-E1EF-9A76-4E3B-AA719DB3262C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xmlns="" id="{7CD7FAAD-393B-DB48-1C88-8EAFBF47C387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433044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A - Resear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623BE30-8F3F-F28F-C729-FDD1FBDC0E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1F652C48-EDE8-5844-AFE0-7DC50B298A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4917" y="938051"/>
            <a:ext cx="6653612" cy="2617111"/>
          </a:xfrm>
        </p:spPr>
        <p:txBody>
          <a:bodyPr lIns="0" tIns="0" rIns="0" bIns="0" anchor="b">
            <a:noAutofit/>
          </a:bodyPr>
          <a:lstStyle>
            <a:lvl1pPr>
              <a:defRPr sz="5000">
                <a:solidFill>
                  <a:schemeClr val="tx2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(Arial 50pt)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DE42666-D523-AA48-AE88-2AFDEB209C7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434917" y="3795210"/>
            <a:ext cx="6653612" cy="1248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(Arial 18pt)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xmlns="" id="{3FA88446-B12D-A83C-A430-B88E76DBD8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1013" y="1218227"/>
            <a:ext cx="1611313" cy="1329595"/>
          </a:xfrm>
        </p:spPr>
        <p:txBody>
          <a:bodyPr anchor="ctr">
            <a:noAutofit/>
          </a:bodyPr>
          <a:lstStyle>
            <a:lvl1pPr marL="0" indent="0">
              <a:buNone/>
              <a:defRPr sz="96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96D49279-BCC5-6E5D-6968-73DBC216ECF5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7" name="Picture 7">
              <a:extLst>
                <a:ext uri="{FF2B5EF4-FFF2-40B4-BE49-F238E27FC236}">
                  <a16:creationId xmlns:a16="http://schemas.microsoft.com/office/drawing/2014/main" xmlns="" id="{CFA6B21E-189A-C5F3-64BB-08DE52943497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8690DC81-441B-EB1A-29A9-1DF6453AC494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xmlns="" id="{FCA16493-4313-1665-0F1D-10639F56EACD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8ADDC8AC-A5CD-5F40-E84C-DA66DBB7D28D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85B37E87-ECE7-D2D6-6031-683B93310E89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B516261B-320C-69F4-BB76-0ADE7061AAE6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3215F8DC-F0E3-CA16-8CCD-61D1C87315A3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EC85930D-2A69-F35E-6DBC-B0BC0ABA9521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F22C4CE6-679B-2B65-4EE5-C7261FD26DF5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7AAC448C-3B6D-999D-8F4E-0DFC39FEFEDD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2293599C-9218-882F-B6A3-15B63C7E3C62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A6222559-936E-8060-6DE4-22CE6D4E79BE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1664F759-43C7-6F80-9B84-6338ABAA4683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8FC09271-4E13-26F2-FD51-76130835B8C9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xmlns="" id="{6754B9A9-4276-067C-D5FA-202824D5140A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xmlns="" id="{6992BF83-B86F-0330-7827-0A6BFF0CEA65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944868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79E38BC-1315-EA4A-9C05-F745E7958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456" y="459044"/>
            <a:ext cx="10875818" cy="1005840"/>
          </a:xfrm>
        </p:spPr>
        <p:txBody>
          <a:bodyPr>
            <a:noAutofit/>
          </a:bodyPr>
          <a:lstStyle>
            <a:lvl1pPr>
              <a:defRPr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7BF870D-4561-6946-AECE-304BE60EA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456" y="2061883"/>
            <a:ext cx="10875818" cy="402007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xmlns="" id="{26C77CD8-EB7A-1BCF-B9BE-8242EFA6FC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456" y="1508760"/>
            <a:ext cx="10872216" cy="313932"/>
          </a:xfrm>
        </p:spPr>
        <p:txBody>
          <a:bodyPr lIns="91440" tIns="45720" rIns="91440" bIns="45720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Bold 16pt)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xmlns="" id="{51AEA81B-F245-C396-660A-D5CACA180CCF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69300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xmlns="" id="{8306019C-5539-2A51-4CC8-3A7F9C609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456" y="459044"/>
            <a:ext cx="10875818" cy="1005840"/>
          </a:xfrm>
        </p:spPr>
        <p:txBody>
          <a:bodyPr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gradFill flip="none" rotWithShape="1">
                  <a:gsLst>
                    <a:gs pos="100000">
                      <a:schemeClr val="accent5"/>
                    </a:gs>
                    <a:gs pos="0">
                      <a:schemeClr val="accent1"/>
                    </a:gs>
                  </a:gsLst>
                  <a:lin ang="10800000" scaled="1"/>
                  <a:tileRect/>
                </a:gra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18E6FA75-AFFB-E2A6-D951-16C14E3C46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456" y="2061883"/>
            <a:ext cx="5181601" cy="402007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7F0BA483-841A-AD1E-89F6-BA7D225B4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456" y="1508760"/>
            <a:ext cx="10872216" cy="313932"/>
          </a:xfrm>
        </p:spPr>
        <p:txBody>
          <a:bodyPr lIns="91440" tIns="45720" rIns="91440" bIns="45720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Bold 16pt)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5449A724-F820-4031-AE54-C7DE0A0E39E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17673" y="2061883"/>
            <a:ext cx="5181601" cy="402007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xmlns="" id="{3C276D6A-BD96-BD33-CF43-BFE0202B4989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164573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xmlns="" id="{8306019C-5539-2A51-4CC8-3A7F9C609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456" y="459044"/>
            <a:ext cx="10875818" cy="1005840"/>
          </a:xfrm>
        </p:spPr>
        <p:txBody>
          <a:bodyPr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gradFill flip="none" rotWithShape="1">
                  <a:gsLst>
                    <a:gs pos="100000">
                      <a:schemeClr val="accent5"/>
                    </a:gs>
                    <a:gs pos="0">
                      <a:schemeClr val="accent1"/>
                    </a:gs>
                  </a:gsLst>
                  <a:lin ang="10800000" scaled="1"/>
                  <a:tileRect/>
                </a:gra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18E6FA75-AFFB-E2A6-D951-16C14E3C46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456" y="2061882"/>
            <a:ext cx="3447805" cy="4020079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7F0BA483-841A-AD1E-89F6-BA7D225B4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456" y="1508760"/>
            <a:ext cx="10872216" cy="313932"/>
          </a:xfrm>
        </p:spPr>
        <p:txBody>
          <a:bodyPr lIns="91440" tIns="45720" rIns="91440" bIns="45720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Bold 16pt)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5449A724-F820-4031-AE54-C7DE0A0E39E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37463" y="2061882"/>
            <a:ext cx="3447804" cy="4020079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C462C91B-D41F-ABD9-59B2-A3A4ABB50EB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051470" y="2061882"/>
            <a:ext cx="3447804" cy="4020079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xmlns="" id="{8EABF6FD-DB8A-D499-5CAC-A58ADC72E1B1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277964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de Bar Layou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FCD36186-3D09-7C0A-4A50-56416DBA53B9}"/>
              </a:ext>
            </a:extLst>
          </p:cNvPr>
          <p:cNvSpPr/>
          <p:nvPr userDrawn="1"/>
        </p:nvSpPr>
        <p:spPr>
          <a:xfrm>
            <a:off x="0" y="0"/>
            <a:ext cx="42672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8306019C-5539-2A51-4CC8-3A7F9C609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456" y="459044"/>
            <a:ext cx="3299320" cy="100584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7F0BA483-841A-AD1E-89F6-BA7D225B4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456" y="1508760"/>
            <a:ext cx="3298227" cy="535531"/>
          </a:xfrm>
        </p:spPr>
        <p:txBody>
          <a:bodyPr lIns="91440" tIns="45720" rIns="91440" bIns="45720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  <a:br>
              <a:rPr lang="en-US"/>
            </a:br>
            <a:r>
              <a:rPr lang="en-US"/>
              <a:t>(Arial Bold 16pt)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5449A724-F820-4031-AE54-C7DE0A0E39E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890656" y="459045"/>
            <a:ext cx="6608617" cy="5622916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xmlns="" id="{09A56F94-C5D2-F9DA-86AA-79E8ECCB5F98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bg1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bg1"/>
              </a:solidFill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71C65AF5-FE53-C721-BC49-93FA82EBE4C9}"/>
              </a:ext>
            </a:extLst>
          </p:cNvPr>
          <p:cNvSpPr/>
          <p:nvPr userDrawn="1"/>
        </p:nvSpPr>
        <p:spPr>
          <a:xfrm flipH="1">
            <a:off x="0" y="6660589"/>
            <a:ext cx="12192000" cy="19741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5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5F661254-AD74-8F66-BC99-8C1B6DDD5260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6" name="Picture 7">
              <a:extLst>
                <a:ext uri="{FF2B5EF4-FFF2-40B4-BE49-F238E27FC236}">
                  <a16:creationId xmlns:a16="http://schemas.microsoft.com/office/drawing/2014/main" xmlns="" id="{36CFEDC4-9895-ED9C-71CE-03D6D4417F7D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5D036C25-780C-004D-F298-423625A95210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8D968543-31E5-7DDC-861C-0D238F54C8B9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xmlns="" id="{65BE6279-D850-DE64-40AD-A078FAF5E921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C6D46A0A-0317-792F-2F0A-DB8CAB0B0B17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xmlns="" id="{D16C4DF2-B522-92F7-9C02-8647C8CA9917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xmlns="" id="{71257941-B0CC-E9DC-FC0F-191F9CF694FF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xmlns="" id="{9AE762F9-CE36-1BC4-7CF4-3849230FA2DF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xmlns="" id="{142D9979-EF6F-6E92-0FD8-8662F17641D7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F16985CF-0DA9-4287-856F-E00CCE3E378E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89381285-6844-89A9-C769-E6D2130CCCBD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F6AE8893-1400-7A73-D566-A597AE87B355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448149CE-8CC3-9B04-1A5E-F01839069628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0F892471-9B8F-0C0F-3793-CE755493D338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xmlns="" id="{48B5B2EA-4B05-45D3-91EB-F570E264D573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B8A0051E-9B49-4160-7EB6-7FC71887445C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785073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de Bar Layout -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lanet in space&#10;&#10;Description automatically generated with low confidence">
            <a:extLst>
              <a:ext uri="{FF2B5EF4-FFF2-40B4-BE49-F238E27FC236}">
                <a16:creationId xmlns:a16="http://schemas.microsoft.com/office/drawing/2014/main" xmlns="" id="{313ACBB8-4986-9398-81E2-C5A4BE27F5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636399" cy="6858001"/>
          </a:xfrm>
          <a:custGeom>
            <a:avLst/>
            <a:gdLst>
              <a:gd name="connsiteX0" fmla="*/ 0 w 5636399"/>
              <a:gd name="connsiteY0" fmla="*/ 0 h 6660590"/>
              <a:gd name="connsiteX1" fmla="*/ 5636399 w 5636399"/>
              <a:gd name="connsiteY1" fmla="*/ 0 h 6660590"/>
              <a:gd name="connsiteX2" fmla="*/ 5636399 w 5636399"/>
              <a:gd name="connsiteY2" fmla="*/ 6660590 h 6660590"/>
              <a:gd name="connsiteX3" fmla="*/ 0 w 5636399"/>
              <a:gd name="connsiteY3" fmla="*/ 6660590 h 6660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36399" h="6660590">
                <a:moveTo>
                  <a:pt x="0" y="0"/>
                </a:moveTo>
                <a:lnTo>
                  <a:pt x="5636399" y="0"/>
                </a:lnTo>
                <a:lnTo>
                  <a:pt x="5636399" y="6660590"/>
                </a:lnTo>
                <a:lnTo>
                  <a:pt x="0" y="6660590"/>
                </a:lnTo>
                <a:close/>
              </a:path>
            </a:pathLst>
          </a:cu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01A44FAD-6DFD-C07A-328C-35C4262ABD4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860" y="630708"/>
            <a:ext cx="5279590" cy="527959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xmlns="" id="{8306019C-5539-2A51-4CC8-3A7F9C609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3995" y="2544061"/>
            <a:ext cx="3299320" cy="1048494"/>
          </a:xfrm>
        </p:spPr>
        <p:txBody>
          <a:bodyPr>
            <a:noAutofit/>
          </a:bodyPr>
          <a:lstStyle>
            <a:lvl1pPr marL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x-none" sz="3200" kern="1200">
                <a:solidFill>
                  <a:schemeClr val="bg1"/>
                </a:soli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7F0BA483-841A-AD1E-89F6-BA7D225B4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4542" y="3756658"/>
            <a:ext cx="3298227" cy="535531"/>
          </a:xfrm>
        </p:spPr>
        <p:txBody>
          <a:bodyPr lIns="91440" tIns="45720" rIns="91440" bIns="45720">
            <a:sp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  <a:br>
              <a:rPr lang="en-US"/>
            </a:br>
            <a:r>
              <a:rPr lang="en-US"/>
              <a:t>(Arial Bold 16pt)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xmlns="" id="{8EABF6FD-DB8A-D499-5CAC-A58ADC72E1B1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5449A724-F820-4031-AE54-C7DE0A0E39E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407310" y="459045"/>
            <a:ext cx="6091963" cy="5622916"/>
          </a:xfrm>
        </p:spPr>
        <p:txBody>
          <a:bodyPr anchor="ctr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6F7E955-D7CF-12FB-6FA1-721A19115856}"/>
              </a:ext>
            </a:extLst>
          </p:cNvPr>
          <p:cNvSpPr/>
          <p:nvPr userDrawn="1"/>
        </p:nvSpPr>
        <p:spPr>
          <a:xfrm flipH="1">
            <a:off x="0" y="6660589"/>
            <a:ext cx="12192000" cy="19741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5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8FB1002D-E959-EE29-7502-34F21426584D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7" name="Picture 7">
              <a:extLst>
                <a:ext uri="{FF2B5EF4-FFF2-40B4-BE49-F238E27FC236}">
                  <a16:creationId xmlns:a16="http://schemas.microsoft.com/office/drawing/2014/main" xmlns="" id="{27FEC382-54E0-B491-960E-3C1A82B6A9A7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371C4FE3-6173-9009-E533-CFF74E444DDF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xmlns="" id="{C3341072-760D-C55B-4BAB-0F3638AF677C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51541B18-4941-1598-C09B-BD2681FFD516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xmlns="" id="{A528A07B-995B-77EC-B68A-61EE3AE490B4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xmlns="" id="{9917D631-F5DA-6266-6F1C-AC8D96914A36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xmlns="" id="{BBEE6B8B-BC2B-7291-0380-D75E33AABCD9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xmlns="" id="{985B2A5C-76DB-6075-0E5D-D5BDDFDBF4A8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xmlns="" id="{0ACD87AD-2DB9-35BA-7B4F-AC96159BE537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841046C9-9D1D-7940-C573-671BB1F4EF14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20707B82-0895-7204-3B76-B4573EC2E218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2A61A8FA-5A4B-4492-613C-6EE22CD7C5BE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1D8106BA-7EDE-96A8-D9CA-594A4804409A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xmlns="" id="{C8631A04-C48B-1750-77A9-4D8E891C428D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F2FFA268-2EC5-2FE1-BFFD-8B0AA6D6BADE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6D7F9930-3967-24E5-42D5-5DEB9E2016F3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616223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xmlns="" id="{9CB965F0-F27E-B7C6-301F-0BEDF7E8D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456" y="459044"/>
            <a:ext cx="10875818" cy="1005840"/>
          </a:xfr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gradFill flip="none" rotWithShape="1">
                  <a:gsLst>
                    <a:gs pos="100000">
                      <a:schemeClr val="accent5"/>
                    </a:gs>
                    <a:gs pos="0">
                      <a:schemeClr val="accent1"/>
                    </a:gs>
                  </a:gsLst>
                  <a:lin ang="10800000" scaled="1"/>
                  <a:tileRect/>
                </a:gra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xmlns="" id="{A42E1EFA-1FAB-F48E-516E-740B8F861F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456" y="1508760"/>
            <a:ext cx="10872216" cy="313932"/>
          </a:xfrm>
        </p:spPr>
        <p:txBody>
          <a:bodyPr lIns="91440" tIns="45720" rIns="91440" bIns="45720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Bold 16pt)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BA536150-988C-EFED-0E82-D6D58903CCB3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65961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Br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79E38BC-1315-EA4A-9C05-F745E7958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456" y="459044"/>
            <a:ext cx="10875818" cy="1005840"/>
          </a:xfrm>
        </p:spPr>
        <p:txBody>
          <a:bodyPr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gradFill flip="none" rotWithShape="1">
                  <a:gsLst>
                    <a:gs pos="100000">
                      <a:schemeClr val="accent5"/>
                    </a:gs>
                    <a:gs pos="0">
                      <a:schemeClr val="accent1"/>
                    </a:gs>
                  </a:gsLst>
                  <a:lin ang="10800000" scaled="1"/>
                  <a:tileRect/>
                </a:gra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7BF870D-4561-6946-AECE-304BE60EA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456" y="2061883"/>
            <a:ext cx="10875818" cy="402007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xmlns="" id="{26C77CD8-EB7A-1BCF-B9BE-8242EFA6FC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456" y="1508760"/>
            <a:ext cx="10872216" cy="313932"/>
          </a:xfrm>
        </p:spPr>
        <p:txBody>
          <a:bodyPr lIns="91440" tIns="45720" rIns="91440" bIns="45720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Bold 16pt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F06AC3D-687B-B7E4-6622-1E3D33544FAC}"/>
              </a:ext>
            </a:extLst>
          </p:cNvPr>
          <p:cNvSpPr/>
          <p:nvPr userDrawn="1"/>
        </p:nvSpPr>
        <p:spPr>
          <a:xfrm>
            <a:off x="215660" y="6297283"/>
            <a:ext cx="407796" cy="2501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xmlns="" id="{3CB1669C-09EF-250E-71F4-A7FD4F1798F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1428" y="6081961"/>
            <a:ext cx="1698629" cy="418852"/>
          </a:xfrm>
        </p:spPr>
        <p:txBody>
          <a:bodyPr anchor="b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Brand logo</a:t>
            </a:r>
          </a:p>
        </p:txBody>
      </p:sp>
    </p:spTree>
    <p:extLst>
      <p:ext uri="{BB962C8B-B14F-4D97-AF65-F5344CB8AC3E}">
        <p14:creationId xmlns:p14="http://schemas.microsoft.com/office/powerpoint/2010/main" val="3444490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olec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hape&#10;&#10;Description automatically generated with medium confidence">
            <a:extLst>
              <a:ext uri="{FF2B5EF4-FFF2-40B4-BE49-F238E27FC236}">
                <a16:creationId xmlns:a16="http://schemas.microsoft.com/office/drawing/2014/main" xmlns="" id="{363EA736-4DEE-9B70-4AB9-AE8DF3D188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30269DC-591D-B944-A479-80E360E756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4404" y="3834884"/>
            <a:ext cx="5133724" cy="658717"/>
          </a:xfrm>
        </p:spPr>
        <p:txBody>
          <a:bodyPr lIns="91440" tIns="45720" rIns="91440" bIns="45720">
            <a:noAutofit/>
          </a:bodyPr>
          <a:lstStyle>
            <a:lvl1pPr marL="0" indent="0" algn="r">
              <a:buNone/>
              <a:defRPr sz="2400" b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(Arial 24pt)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2F7201-0FDA-CE47-A9F3-7594A2B9A9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4404" y="2574295"/>
            <a:ext cx="5133724" cy="1237410"/>
          </a:xfrm>
        </p:spPr>
        <p:txBody>
          <a:bodyPr lIns="91440" tIns="45720" rIns="91440" bIns="45720" anchor="b">
            <a:noAutofit/>
          </a:bodyPr>
          <a:lstStyle>
            <a:lvl1pPr algn="r">
              <a:defRPr sz="4000" b="0" i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40pt)</a:t>
            </a:r>
            <a:endParaRPr lang="x-none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7BA34013-BB2E-88C6-06DC-A4B756B19EEA}"/>
              </a:ext>
            </a:extLst>
          </p:cNvPr>
          <p:cNvGrpSpPr/>
          <p:nvPr userDrawn="1"/>
        </p:nvGrpSpPr>
        <p:grpSpPr>
          <a:xfrm>
            <a:off x="9387557" y="3323005"/>
            <a:ext cx="2184530" cy="319082"/>
            <a:chOff x="9387557" y="3323005"/>
            <a:chExt cx="2184530" cy="319082"/>
          </a:xfrm>
        </p:grpSpPr>
        <p:grpSp>
          <p:nvGrpSpPr>
            <p:cNvPr id="8" name="Picture 7">
              <a:extLst>
                <a:ext uri="{FF2B5EF4-FFF2-40B4-BE49-F238E27FC236}">
                  <a16:creationId xmlns:a16="http://schemas.microsoft.com/office/drawing/2014/main" xmlns="" id="{8869AB66-C37F-7DA3-F84A-39CA7A3CD79F}"/>
                </a:ext>
              </a:extLst>
            </p:cNvPr>
            <p:cNvGrpSpPr/>
            <p:nvPr/>
          </p:nvGrpSpPr>
          <p:grpSpPr>
            <a:xfrm>
              <a:off x="9387557" y="3323005"/>
              <a:ext cx="2184530" cy="314756"/>
              <a:chOff x="9387557" y="3323005"/>
              <a:chExt cx="2184530" cy="314756"/>
            </a:xfrm>
            <a:solidFill>
              <a:srgbClr val="28509C"/>
            </a:solidFill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CF9AE9DF-527B-A824-4353-B4E65BD96643}"/>
                  </a:ext>
                </a:extLst>
              </p:cNvPr>
              <p:cNvSpPr/>
              <p:nvPr/>
            </p:nvSpPr>
            <p:spPr>
              <a:xfrm>
                <a:off x="10500022" y="3323005"/>
                <a:ext cx="270122" cy="308340"/>
              </a:xfrm>
              <a:custGeom>
                <a:avLst/>
                <a:gdLst>
                  <a:gd name="connsiteX0" fmla="*/ 135025 w 270122"/>
                  <a:gd name="connsiteY0" fmla="*/ 0 h 308340"/>
                  <a:gd name="connsiteX1" fmla="*/ 0 w 270122"/>
                  <a:gd name="connsiteY1" fmla="*/ 308341 h 308340"/>
                  <a:gd name="connsiteX2" fmla="*/ 28949 w 270122"/>
                  <a:gd name="connsiteY2" fmla="*/ 308341 h 308340"/>
                  <a:gd name="connsiteX3" fmla="*/ 76262 w 270122"/>
                  <a:gd name="connsiteY3" fmla="*/ 200274 h 308340"/>
                  <a:gd name="connsiteX4" fmla="*/ 193933 w 270122"/>
                  <a:gd name="connsiteY4" fmla="*/ 200274 h 308340"/>
                  <a:gd name="connsiteX5" fmla="*/ 241533 w 270122"/>
                  <a:gd name="connsiteY5" fmla="*/ 308341 h 308340"/>
                  <a:gd name="connsiteX6" fmla="*/ 270123 w 270122"/>
                  <a:gd name="connsiteY6" fmla="*/ 308341 h 308340"/>
                  <a:gd name="connsiteX7" fmla="*/ 135025 w 270122"/>
                  <a:gd name="connsiteY7" fmla="*/ 0 h 308340"/>
                  <a:gd name="connsiteX8" fmla="*/ 87640 w 270122"/>
                  <a:gd name="connsiteY8" fmla="*/ 174104 h 308340"/>
                  <a:gd name="connsiteX9" fmla="*/ 134809 w 270122"/>
                  <a:gd name="connsiteY9" fmla="*/ 66181 h 308340"/>
                  <a:gd name="connsiteX10" fmla="*/ 182338 w 270122"/>
                  <a:gd name="connsiteY10" fmla="*/ 174104 h 308340"/>
                  <a:gd name="connsiteX11" fmla="*/ 87568 w 270122"/>
                  <a:gd name="connsiteY11" fmla="*/ 174104 h 30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0122" h="308340">
                    <a:moveTo>
                      <a:pt x="135025" y="0"/>
                    </a:moveTo>
                    <a:lnTo>
                      <a:pt x="0" y="308341"/>
                    </a:lnTo>
                    <a:lnTo>
                      <a:pt x="28949" y="308341"/>
                    </a:lnTo>
                    <a:lnTo>
                      <a:pt x="76262" y="200274"/>
                    </a:lnTo>
                    <a:lnTo>
                      <a:pt x="193933" y="200274"/>
                    </a:lnTo>
                    <a:lnTo>
                      <a:pt x="241533" y="308341"/>
                    </a:lnTo>
                    <a:lnTo>
                      <a:pt x="270123" y="308341"/>
                    </a:lnTo>
                    <a:lnTo>
                      <a:pt x="135025" y="0"/>
                    </a:lnTo>
                    <a:close/>
                    <a:moveTo>
                      <a:pt x="87640" y="174104"/>
                    </a:moveTo>
                    <a:lnTo>
                      <a:pt x="134809" y="66181"/>
                    </a:lnTo>
                    <a:lnTo>
                      <a:pt x="182338" y="174104"/>
                    </a:lnTo>
                    <a:lnTo>
                      <a:pt x="87568" y="174104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xmlns="" id="{699C5C5A-CE54-8824-375C-006F4AE00D06}"/>
                  </a:ext>
                </a:extLst>
              </p:cNvPr>
              <p:cNvSpPr/>
              <p:nvPr/>
            </p:nvSpPr>
            <p:spPr>
              <a:xfrm>
                <a:off x="11126107" y="3329421"/>
                <a:ext cx="26140" cy="301852"/>
              </a:xfrm>
              <a:custGeom>
                <a:avLst/>
                <a:gdLst>
                  <a:gd name="connsiteX0" fmla="*/ 0 w 26140"/>
                  <a:gd name="connsiteY0" fmla="*/ 0 h 301852"/>
                  <a:gd name="connsiteX1" fmla="*/ 26141 w 26140"/>
                  <a:gd name="connsiteY1" fmla="*/ 0 h 301852"/>
                  <a:gd name="connsiteX2" fmla="*/ 26141 w 26140"/>
                  <a:gd name="connsiteY2" fmla="*/ 301852 h 301852"/>
                  <a:gd name="connsiteX3" fmla="*/ 0 w 26140"/>
                  <a:gd name="connsiteY3" fmla="*/ 301852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40" h="301852">
                    <a:moveTo>
                      <a:pt x="0" y="0"/>
                    </a:moveTo>
                    <a:lnTo>
                      <a:pt x="26141" y="0"/>
                    </a:lnTo>
                    <a:lnTo>
                      <a:pt x="26141" y="301852"/>
                    </a:lnTo>
                    <a:lnTo>
                      <a:pt x="0" y="30185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4CA911FA-3884-5F54-4AF0-BB5A162491E0}"/>
                  </a:ext>
                </a:extLst>
              </p:cNvPr>
              <p:cNvSpPr/>
              <p:nvPr/>
            </p:nvSpPr>
            <p:spPr>
              <a:xfrm>
                <a:off x="10168471" y="3323509"/>
                <a:ext cx="276820" cy="307763"/>
              </a:xfrm>
              <a:custGeom>
                <a:avLst/>
                <a:gdLst>
                  <a:gd name="connsiteX0" fmla="*/ 137762 w 276820"/>
                  <a:gd name="connsiteY0" fmla="*/ 139139 h 307763"/>
                  <a:gd name="connsiteX1" fmla="*/ 0 w 276820"/>
                  <a:gd name="connsiteY1" fmla="*/ 144 h 307763"/>
                  <a:gd name="connsiteX2" fmla="*/ 144 w 276820"/>
                  <a:gd name="connsiteY2" fmla="*/ 307764 h 307763"/>
                  <a:gd name="connsiteX3" fmla="*/ 26285 w 276820"/>
                  <a:gd name="connsiteY3" fmla="*/ 307764 h 307763"/>
                  <a:gd name="connsiteX4" fmla="*/ 26285 w 276820"/>
                  <a:gd name="connsiteY4" fmla="*/ 63946 h 307763"/>
                  <a:gd name="connsiteX5" fmla="*/ 137474 w 276820"/>
                  <a:gd name="connsiteY5" fmla="*/ 176555 h 307763"/>
                  <a:gd name="connsiteX6" fmla="*/ 250679 w 276820"/>
                  <a:gd name="connsiteY6" fmla="*/ 63370 h 307763"/>
                  <a:gd name="connsiteX7" fmla="*/ 250679 w 276820"/>
                  <a:gd name="connsiteY7" fmla="*/ 307764 h 307763"/>
                  <a:gd name="connsiteX8" fmla="*/ 276820 w 276820"/>
                  <a:gd name="connsiteY8" fmla="*/ 307764 h 307763"/>
                  <a:gd name="connsiteX9" fmla="*/ 276820 w 276820"/>
                  <a:gd name="connsiteY9" fmla="*/ 0 h 307763"/>
                  <a:gd name="connsiteX10" fmla="*/ 137762 w 276820"/>
                  <a:gd name="connsiteY10" fmla="*/ 139139 h 30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6820" h="307763">
                    <a:moveTo>
                      <a:pt x="137762" y="139139"/>
                    </a:moveTo>
                    <a:lnTo>
                      <a:pt x="0" y="144"/>
                    </a:lnTo>
                    <a:lnTo>
                      <a:pt x="144" y="307764"/>
                    </a:lnTo>
                    <a:lnTo>
                      <a:pt x="26285" y="307764"/>
                    </a:lnTo>
                    <a:lnTo>
                      <a:pt x="26285" y="63946"/>
                    </a:lnTo>
                    <a:lnTo>
                      <a:pt x="137474" y="176555"/>
                    </a:lnTo>
                    <a:lnTo>
                      <a:pt x="250679" y="63370"/>
                    </a:lnTo>
                    <a:lnTo>
                      <a:pt x="250679" y="307764"/>
                    </a:lnTo>
                    <a:lnTo>
                      <a:pt x="276820" y="307764"/>
                    </a:lnTo>
                    <a:lnTo>
                      <a:pt x="276820" y="0"/>
                    </a:lnTo>
                    <a:lnTo>
                      <a:pt x="137762" y="13913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37EAA81A-2068-80D2-5D49-728AAF404AB2}"/>
                  </a:ext>
                </a:extLst>
              </p:cNvPr>
              <p:cNvSpPr/>
              <p:nvPr/>
            </p:nvSpPr>
            <p:spPr>
              <a:xfrm>
                <a:off x="11259260" y="3324302"/>
                <a:ext cx="228210" cy="313459"/>
              </a:xfrm>
              <a:custGeom>
                <a:avLst/>
                <a:gdLst>
                  <a:gd name="connsiteX0" fmla="*/ 201998 w 228210"/>
                  <a:gd name="connsiteY0" fmla="*/ 5119 h 313459"/>
                  <a:gd name="connsiteX1" fmla="*/ 201998 w 228210"/>
                  <a:gd name="connsiteY1" fmla="*/ 240213 h 313459"/>
                  <a:gd name="connsiteX2" fmla="*/ 0 w 228210"/>
                  <a:gd name="connsiteY2" fmla="*/ 0 h 313459"/>
                  <a:gd name="connsiteX3" fmla="*/ 0 w 228210"/>
                  <a:gd name="connsiteY3" fmla="*/ 41814 h 313459"/>
                  <a:gd name="connsiteX4" fmla="*/ 0 w 228210"/>
                  <a:gd name="connsiteY4" fmla="*/ 306971 h 313459"/>
                  <a:gd name="connsiteX5" fmla="*/ 26141 w 228210"/>
                  <a:gd name="connsiteY5" fmla="*/ 306971 h 313459"/>
                  <a:gd name="connsiteX6" fmla="*/ 26141 w 228210"/>
                  <a:gd name="connsiteY6" fmla="*/ 72958 h 313459"/>
                  <a:gd name="connsiteX7" fmla="*/ 228211 w 228210"/>
                  <a:gd name="connsiteY7" fmla="*/ 313459 h 313459"/>
                  <a:gd name="connsiteX8" fmla="*/ 228211 w 228210"/>
                  <a:gd name="connsiteY8" fmla="*/ 5119 h 313459"/>
                  <a:gd name="connsiteX9" fmla="*/ 201998 w 228210"/>
                  <a:gd name="connsiteY9" fmla="*/ 5119 h 31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210" h="313459">
                    <a:moveTo>
                      <a:pt x="201998" y="5119"/>
                    </a:moveTo>
                    <a:lnTo>
                      <a:pt x="201998" y="240213"/>
                    </a:lnTo>
                    <a:lnTo>
                      <a:pt x="0" y="0"/>
                    </a:lnTo>
                    <a:lnTo>
                      <a:pt x="0" y="41814"/>
                    </a:lnTo>
                    <a:lnTo>
                      <a:pt x="0" y="306971"/>
                    </a:lnTo>
                    <a:lnTo>
                      <a:pt x="26141" y="306971"/>
                    </a:lnTo>
                    <a:lnTo>
                      <a:pt x="26141" y="72958"/>
                    </a:lnTo>
                    <a:lnTo>
                      <a:pt x="228211" y="313459"/>
                    </a:lnTo>
                    <a:lnTo>
                      <a:pt x="228211" y="5119"/>
                    </a:lnTo>
                    <a:lnTo>
                      <a:pt x="201998" y="511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E74E4898-46FF-569A-920B-1AD289B5754E}"/>
                  </a:ext>
                </a:extLst>
              </p:cNvPr>
              <p:cNvSpPr/>
              <p:nvPr/>
            </p:nvSpPr>
            <p:spPr>
              <a:xfrm>
                <a:off x="10827179" y="3329637"/>
                <a:ext cx="218993" cy="301780"/>
              </a:xfrm>
              <a:custGeom>
                <a:avLst/>
                <a:gdLst>
                  <a:gd name="connsiteX0" fmla="*/ 189468 w 218993"/>
                  <a:gd name="connsiteY0" fmla="*/ 301780 h 301780"/>
                  <a:gd name="connsiteX1" fmla="*/ 218993 w 218993"/>
                  <a:gd name="connsiteY1" fmla="*/ 301780 h 301780"/>
                  <a:gd name="connsiteX2" fmla="*/ 146692 w 218993"/>
                  <a:gd name="connsiteY2" fmla="*/ 160478 h 301780"/>
                  <a:gd name="connsiteX3" fmla="*/ 206319 w 218993"/>
                  <a:gd name="connsiteY3" fmla="*/ 89467 h 301780"/>
                  <a:gd name="connsiteX4" fmla="*/ 206391 w 218993"/>
                  <a:gd name="connsiteY4" fmla="*/ 89467 h 301780"/>
                  <a:gd name="connsiteX5" fmla="*/ 206391 w 218993"/>
                  <a:gd name="connsiteY5" fmla="*/ 87809 h 301780"/>
                  <a:gd name="connsiteX6" fmla="*/ 206679 w 218993"/>
                  <a:gd name="connsiteY6" fmla="*/ 82979 h 301780"/>
                  <a:gd name="connsiteX7" fmla="*/ 206391 w 218993"/>
                  <a:gd name="connsiteY7" fmla="*/ 82979 h 301780"/>
                  <a:gd name="connsiteX8" fmla="*/ 206391 w 218993"/>
                  <a:gd name="connsiteY8" fmla="*/ 80167 h 301780"/>
                  <a:gd name="connsiteX9" fmla="*/ 206679 w 218993"/>
                  <a:gd name="connsiteY9" fmla="*/ 80167 h 301780"/>
                  <a:gd name="connsiteX10" fmla="*/ 206391 w 218993"/>
                  <a:gd name="connsiteY10" fmla="*/ 75265 h 301780"/>
                  <a:gd name="connsiteX11" fmla="*/ 206391 w 218993"/>
                  <a:gd name="connsiteY11" fmla="*/ 75265 h 301780"/>
                  <a:gd name="connsiteX12" fmla="*/ 126600 w 218993"/>
                  <a:gd name="connsiteY12" fmla="*/ 0 h 301780"/>
                  <a:gd name="connsiteX13" fmla="*/ 0 w 218993"/>
                  <a:gd name="connsiteY13" fmla="*/ 0 h 301780"/>
                  <a:gd name="connsiteX14" fmla="*/ 0 w 218993"/>
                  <a:gd name="connsiteY14" fmla="*/ 301708 h 301780"/>
                  <a:gd name="connsiteX15" fmla="*/ 26141 w 218993"/>
                  <a:gd name="connsiteY15" fmla="*/ 301708 h 301780"/>
                  <a:gd name="connsiteX16" fmla="*/ 26141 w 218993"/>
                  <a:gd name="connsiteY16" fmla="*/ 163002 h 301780"/>
                  <a:gd name="connsiteX17" fmla="*/ 118390 w 218993"/>
                  <a:gd name="connsiteY17" fmla="*/ 163002 h 301780"/>
                  <a:gd name="connsiteX18" fmla="*/ 189468 w 218993"/>
                  <a:gd name="connsiteY18" fmla="*/ 301780 h 301780"/>
                  <a:gd name="connsiteX19" fmla="*/ 26141 w 218993"/>
                  <a:gd name="connsiteY19" fmla="*/ 26242 h 301780"/>
                  <a:gd name="connsiteX20" fmla="*/ 126600 w 218993"/>
                  <a:gd name="connsiteY20" fmla="*/ 26242 h 301780"/>
                  <a:gd name="connsiteX21" fmla="*/ 180250 w 218993"/>
                  <a:gd name="connsiteY21" fmla="*/ 79014 h 301780"/>
                  <a:gd name="connsiteX22" fmla="*/ 180250 w 218993"/>
                  <a:gd name="connsiteY22" fmla="*/ 83988 h 301780"/>
                  <a:gd name="connsiteX23" fmla="*/ 126600 w 218993"/>
                  <a:gd name="connsiteY23" fmla="*/ 136688 h 301780"/>
                  <a:gd name="connsiteX24" fmla="*/ 126600 w 218993"/>
                  <a:gd name="connsiteY24" fmla="*/ 136688 h 301780"/>
                  <a:gd name="connsiteX25" fmla="*/ 26141 w 218993"/>
                  <a:gd name="connsiteY25" fmla="*/ 136760 h 301780"/>
                  <a:gd name="connsiteX26" fmla="*/ 26141 w 218993"/>
                  <a:gd name="connsiteY26" fmla="*/ 26242 h 301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8993" h="301780">
                    <a:moveTo>
                      <a:pt x="189468" y="301780"/>
                    </a:moveTo>
                    <a:lnTo>
                      <a:pt x="218993" y="301780"/>
                    </a:lnTo>
                    <a:cubicBezTo>
                      <a:pt x="218993" y="301780"/>
                      <a:pt x="146692" y="160478"/>
                      <a:pt x="146692" y="160478"/>
                    </a:cubicBezTo>
                    <a:cubicBezTo>
                      <a:pt x="179098" y="152044"/>
                      <a:pt x="203582" y="123855"/>
                      <a:pt x="206319" y="89467"/>
                    </a:cubicBezTo>
                    <a:lnTo>
                      <a:pt x="206391" y="89467"/>
                    </a:lnTo>
                    <a:lnTo>
                      <a:pt x="206391" y="87809"/>
                    </a:lnTo>
                    <a:cubicBezTo>
                      <a:pt x="206463" y="86223"/>
                      <a:pt x="206679" y="84565"/>
                      <a:pt x="206679" y="82979"/>
                    </a:cubicBezTo>
                    <a:lnTo>
                      <a:pt x="206391" y="82979"/>
                    </a:lnTo>
                    <a:lnTo>
                      <a:pt x="206391" y="80167"/>
                    </a:lnTo>
                    <a:lnTo>
                      <a:pt x="206679" y="80167"/>
                    </a:lnTo>
                    <a:cubicBezTo>
                      <a:pt x="206679" y="78509"/>
                      <a:pt x="206535" y="76923"/>
                      <a:pt x="206391" y="75265"/>
                    </a:cubicBezTo>
                    <a:lnTo>
                      <a:pt x="206391" y="75265"/>
                    </a:lnTo>
                    <a:cubicBezTo>
                      <a:pt x="203798" y="33235"/>
                      <a:pt x="169160" y="0"/>
                      <a:pt x="126600" y="0"/>
                    </a:cubicBezTo>
                    <a:lnTo>
                      <a:pt x="0" y="0"/>
                    </a:lnTo>
                    <a:lnTo>
                      <a:pt x="0" y="301708"/>
                    </a:lnTo>
                    <a:lnTo>
                      <a:pt x="26141" y="301708"/>
                    </a:lnTo>
                    <a:lnTo>
                      <a:pt x="26141" y="163002"/>
                    </a:lnTo>
                    <a:lnTo>
                      <a:pt x="118390" y="163002"/>
                    </a:lnTo>
                    <a:lnTo>
                      <a:pt x="189468" y="301780"/>
                    </a:lnTo>
                    <a:close/>
                    <a:moveTo>
                      <a:pt x="26141" y="26242"/>
                    </a:moveTo>
                    <a:lnTo>
                      <a:pt x="126600" y="26242"/>
                    </a:lnTo>
                    <a:cubicBezTo>
                      <a:pt x="155909" y="26242"/>
                      <a:pt x="179674" y="49816"/>
                      <a:pt x="180250" y="79014"/>
                    </a:cubicBezTo>
                    <a:lnTo>
                      <a:pt x="180250" y="83988"/>
                    </a:lnTo>
                    <a:cubicBezTo>
                      <a:pt x="179674" y="113186"/>
                      <a:pt x="155909" y="136688"/>
                      <a:pt x="126600" y="136688"/>
                    </a:cubicBezTo>
                    <a:lnTo>
                      <a:pt x="126600" y="136688"/>
                    </a:lnTo>
                    <a:cubicBezTo>
                      <a:pt x="126600" y="136688"/>
                      <a:pt x="26141" y="136760"/>
                      <a:pt x="26141" y="136760"/>
                    </a:cubicBezTo>
                    <a:lnTo>
                      <a:pt x="26141" y="2624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4EB8C0C2-F927-5C57-FD8E-9B1D6FF3398B}"/>
                  </a:ext>
                </a:extLst>
              </p:cNvPr>
              <p:cNvSpPr/>
              <p:nvPr/>
            </p:nvSpPr>
            <p:spPr>
              <a:xfrm>
                <a:off x="9387557" y="3329493"/>
                <a:ext cx="212944" cy="301852"/>
              </a:xfrm>
              <a:custGeom>
                <a:avLst/>
                <a:gdLst>
                  <a:gd name="connsiteX0" fmla="*/ 212656 w 212944"/>
                  <a:gd name="connsiteY0" fmla="*/ 212818 h 301852"/>
                  <a:gd name="connsiteX1" fmla="*/ 201422 w 212944"/>
                  <a:gd name="connsiteY1" fmla="*/ 173455 h 301852"/>
                  <a:gd name="connsiteX2" fmla="*/ 174273 w 212944"/>
                  <a:gd name="connsiteY2" fmla="*/ 147358 h 301852"/>
                  <a:gd name="connsiteX3" fmla="*/ 206247 w 212944"/>
                  <a:gd name="connsiteY3" fmla="*/ 89539 h 301852"/>
                  <a:gd name="connsiteX4" fmla="*/ 206319 w 212944"/>
                  <a:gd name="connsiteY4" fmla="*/ 89539 h 301852"/>
                  <a:gd name="connsiteX5" fmla="*/ 206319 w 212944"/>
                  <a:gd name="connsiteY5" fmla="*/ 87881 h 301852"/>
                  <a:gd name="connsiteX6" fmla="*/ 206535 w 212944"/>
                  <a:gd name="connsiteY6" fmla="*/ 83051 h 301852"/>
                  <a:gd name="connsiteX7" fmla="*/ 206319 w 212944"/>
                  <a:gd name="connsiteY7" fmla="*/ 83051 h 301852"/>
                  <a:gd name="connsiteX8" fmla="*/ 206319 w 212944"/>
                  <a:gd name="connsiteY8" fmla="*/ 80239 h 301852"/>
                  <a:gd name="connsiteX9" fmla="*/ 206535 w 212944"/>
                  <a:gd name="connsiteY9" fmla="*/ 80239 h 301852"/>
                  <a:gd name="connsiteX10" fmla="*/ 206319 w 212944"/>
                  <a:gd name="connsiteY10" fmla="*/ 75337 h 301852"/>
                  <a:gd name="connsiteX11" fmla="*/ 206319 w 212944"/>
                  <a:gd name="connsiteY11" fmla="*/ 75337 h 301852"/>
                  <a:gd name="connsiteX12" fmla="*/ 206319 w 212944"/>
                  <a:gd name="connsiteY12" fmla="*/ 75265 h 301852"/>
                  <a:gd name="connsiteX13" fmla="*/ 126456 w 212944"/>
                  <a:gd name="connsiteY13" fmla="*/ 72 h 301852"/>
                  <a:gd name="connsiteX14" fmla="*/ 126456 w 212944"/>
                  <a:gd name="connsiteY14" fmla="*/ 216 h 301852"/>
                  <a:gd name="connsiteX15" fmla="*/ 0 w 212944"/>
                  <a:gd name="connsiteY15" fmla="*/ 0 h 301852"/>
                  <a:gd name="connsiteX16" fmla="*/ 0 w 212944"/>
                  <a:gd name="connsiteY16" fmla="*/ 301852 h 301852"/>
                  <a:gd name="connsiteX17" fmla="*/ 131425 w 212944"/>
                  <a:gd name="connsiteY17" fmla="*/ 301852 h 301852"/>
                  <a:gd name="connsiteX18" fmla="*/ 212800 w 212944"/>
                  <a:gd name="connsiteY18" fmla="*/ 221541 h 301852"/>
                  <a:gd name="connsiteX19" fmla="*/ 212944 w 212944"/>
                  <a:gd name="connsiteY19" fmla="*/ 221541 h 301852"/>
                  <a:gd name="connsiteX20" fmla="*/ 212944 w 212944"/>
                  <a:gd name="connsiteY20" fmla="*/ 212818 h 301852"/>
                  <a:gd name="connsiteX21" fmla="*/ 212800 w 212944"/>
                  <a:gd name="connsiteY21" fmla="*/ 212818 h 301852"/>
                  <a:gd name="connsiteX22" fmla="*/ 126528 w 212944"/>
                  <a:gd name="connsiteY22" fmla="*/ 26386 h 301852"/>
                  <a:gd name="connsiteX23" fmla="*/ 126528 w 212944"/>
                  <a:gd name="connsiteY23" fmla="*/ 26386 h 301852"/>
                  <a:gd name="connsiteX24" fmla="*/ 180250 w 212944"/>
                  <a:gd name="connsiteY24" fmla="*/ 79302 h 301852"/>
                  <a:gd name="connsiteX25" fmla="*/ 180250 w 212944"/>
                  <a:gd name="connsiteY25" fmla="*/ 83988 h 301852"/>
                  <a:gd name="connsiteX26" fmla="*/ 126528 w 212944"/>
                  <a:gd name="connsiteY26" fmla="*/ 137048 h 301852"/>
                  <a:gd name="connsiteX27" fmla="*/ 26141 w 212944"/>
                  <a:gd name="connsiteY27" fmla="*/ 137048 h 301852"/>
                  <a:gd name="connsiteX28" fmla="*/ 26141 w 212944"/>
                  <a:gd name="connsiteY28" fmla="*/ 26386 h 301852"/>
                  <a:gd name="connsiteX29" fmla="*/ 126528 w 212944"/>
                  <a:gd name="connsiteY29" fmla="*/ 26386 h 301852"/>
                  <a:gd name="connsiteX30" fmla="*/ 186659 w 212944"/>
                  <a:gd name="connsiteY30" fmla="*/ 220171 h 301852"/>
                  <a:gd name="connsiteX31" fmla="*/ 186443 w 212944"/>
                  <a:gd name="connsiteY31" fmla="*/ 220171 h 301852"/>
                  <a:gd name="connsiteX32" fmla="*/ 130921 w 212944"/>
                  <a:gd name="connsiteY32" fmla="*/ 275755 h 301852"/>
                  <a:gd name="connsiteX33" fmla="*/ 130921 w 212944"/>
                  <a:gd name="connsiteY33" fmla="*/ 275755 h 301852"/>
                  <a:gd name="connsiteX34" fmla="*/ 26141 w 212944"/>
                  <a:gd name="connsiteY34" fmla="*/ 275755 h 301852"/>
                  <a:gd name="connsiteX35" fmla="*/ 26141 w 212944"/>
                  <a:gd name="connsiteY35" fmla="*/ 163362 h 301852"/>
                  <a:gd name="connsiteX36" fmla="*/ 134593 w 212944"/>
                  <a:gd name="connsiteY36" fmla="*/ 163795 h 301852"/>
                  <a:gd name="connsiteX37" fmla="*/ 134593 w 212944"/>
                  <a:gd name="connsiteY37" fmla="*/ 163795 h 301852"/>
                  <a:gd name="connsiteX38" fmla="*/ 179458 w 212944"/>
                  <a:gd name="connsiteY38" fmla="*/ 187946 h 301852"/>
                  <a:gd name="connsiteX39" fmla="*/ 186515 w 212944"/>
                  <a:gd name="connsiteY39" fmla="*/ 214836 h 301852"/>
                  <a:gd name="connsiteX40" fmla="*/ 186731 w 212944"/>
                  <a:gd name="connsiteY40" fmla="*/ 214836 h 301852"/>
                  <a:gd name="connsiteX41" fmla="*/ 186731 w 212944"/>
                  <a:gd name="connsiteY41" fmla="*/ 220171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12944" h="301852">
                    <a:moveTo>
                      <a:pt x="212656" y="212818"/>
                    </a:moveTo>
                    <a:cubicBezTo>
                      <a:pt x="212296" y="198183"/>
                      <a:pt x="208623" y="185134"/>
                      <a:pt x="201422" y="173455"/>
                    </a:cubicBezTo>
                    <a:cubicBezTo>
                      <a:pt x="194509" y="162425"/>
                      <a:pt x="185219" y="153558"/>
                      <a:pt x="174273" y="147358"/>
                    </a:cubicBezTo>
                    <a:cubicBezTo>
                      <a:pt x="192204" y="133948"/>
                      <a:pt x="204374" y="113186"/>
                      <a:pt x="206247" y="89539"/>
                    </a:cubicBezTo>
                    <a:lnTo>
                      <a:pt x="206319" y="89539"/>
                    </a:lnTo>
                    <a:lnTo>
                      <a:pt x="206319" y="87881"/>
                    </a:lnTo>
                    <a:cubicBezTo>
                      <a:pt x="206391" y="86295"/>
                      <a:pt x="206535" y="84637"/>
                      <a:pt x="206535" y="83051"/>
                    </a:cubicBezTo>
                    <a:lnTo>
                      <a:pt x="206319" y="83051"/>
                    </a:lnTo>
                    <a:lnTo>
                      <a:pt x="206319" y="80239"/>
                    </a:lnTo>
                    <a:lnTo>
                      <a:pt x="206535" y="80239"/>
                    </a:lnTo>
                    <a:cubicBezTo>
                      <a:pt x="206535" y="78581"/>
                      <a:pt x="206391" y="76995"/>
                      <a:pt x="206319" y="75337"/>
                    </a:cubicBezTo>
                    <a:lnTo>
                      <a:pt x="206319" y="75337"/>
                    </a:lnTo>
                    <a:cubicBezTo>
                      <a:pt x="206319" y="75337"/>
                      <a:pt x="206319" y="75265"/>
                      <a:pt x="206319" y="75265"/>
                    </a:cubicBezTo>
                    <a:cubicBezTo>
                      <a:pt x="203726" y="33307"/>
                      <a:pt x="169016" y="72"/>
                      <a:pt x="126456" y="72"/>
                    </a:cubicBezTo>
                    <a:lnTo>
                      <a:pt x="126456" y="216"/>
                    </a:lnTo>
                    <a:lnTo>
                      <a:pt x="0" y="0"/>
                    </a:lnTo>
                    <a:lnTo>
                      <a:pt x="0" y="301852"/>
                    </a:lnTo>
                    <a:lnTo>
                      <a:pt x="131425" y="301852"/>
                    </a:lnTo>
                    <a:cubicBezTo>
                      <a:pt x="175857" y="301564"/>
                      <a:pt x="211864" y="265878"/>
                      <a:pt x="212800" y="221541"/>
                    </a:cubicBezTo>
                    <a:lnTo>
                      <a:pt x="212944" y="221541"/>
                    </a:lnTo>
                    <a:lnTo>
                      <a:pt x="212944" y="212818"/>
                    </a:lnTo>
                    <a:lnTo>
                      <a:pt x="212800" y="212818"/>
                    </a:lnTo>
                    <a:close/>
                    <a:moveTo>
                      <a:pt x="126528" y="26386"/>
                    </a:moveTo>
                    <a:lnTo>
                      <a:pt x="126528" y="26386"/>
                    </a:lnTo>
                    <a:cubicBezTo>
                      <a:pt x="155909" y="26386"/>
                      <a:pt x="179746" y="50032"/>
                      <a:pt x="180250" y="79302"/>
                    </a:cubicBezTo>
                    <a:lnTo>
                      <a:pt x="180250" y="83988"/>
                    </a:lnTo>
                    <a:cubicBezTo>
                      <a:pt x="179746" y="113258"/>
                      <a:pt x="155909" y="137048"/>
                      <a:pt x="126528" y="137048"/>
                    </a:cubicBezTo>
                    <a:lnTo>
                      <a:pt x="26141" y="137048"/>
                    </a:lnTo>
                    <a:lnTo>
                      <a:pt x="26141" y="26386"/>
                    </a:lnTo>
                    <a:lnTo>
                      <a:pt x="126528" y="26386"/>
                    </a:lnTo>
                    <a:close/>
                    <a:moveTo>
                      <a:pt x="186659" y="220171"/>
                    </a:moveTo>
                    <a:lnTo>
                      <a:pt x="186443" y="220171"/>
                    </a:lnTo>
                    <a:cubicBezTo>
                      <a:pt x="186443" y="250883"/>
                      <a:pt x="161598" y="275755"/>
                      <a:pt x="130921" y="275755"/>
                    </a:cubicBezTo>
                    <a:lnTo>
                      <a:pt x="130921" y="275755"/>
                    </a:lnTo>
                    <a:cubicBezTo>
                      <a:pt x="130921" y="275755"/>
                      <a:pt x="26141" y="275755"/>
                      <a:pt x="26141" y="275755"/>
                    </a:cubicBezTo>
                    <a:lnTo>
                      <a:pt x="26141" y="163362"/>
                    </a:lnTo>
                    <a:lnTo>
                      <a:pt x="134593" y="163795"/>
                    </a:lnTo>
                    <a:lnTo>
                      <a:pt x="134593" y="163795"/>
                    </a:lnTo>
                    <a:cubicBezTo>
                      <a:pt x="153461" y="163795"/>
                      <a:pt x="169880" y="173095"/>
                      <a:pt x="179458" y="187946"/>
                    </a:cubicBezTo>
                    <a:cubicBezTo>
                      <a:pt x="183490" y="196381"/>
                      <a:pt x="186515" y="204888"/>
                      <a:pt x="186515" y="214836"/>
                    </a:cubicBezTo>
                    <a:lnTo>
                      <a:pt x="186731" y="214836"/>
                    </a:lnTo>
                    <a:lnTo>
                      <a:pt x="186731" y="220171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C6127228-185B-3EB8-7C51-0F38FC2C725F}"/>
                  </a:ext>
                </a:extLst>
              </p:cNvPr>
              <p:cNvSpPr/>
              <p:nvPr/>
            </p:nvSpPr>
            <p:spPr>
              <a:xfrm>
                <a:off x="9791480" y="3324302"/>
                <a:ext cx="311818" cy="312017"/>
              </a:xfrm>
              <a:custGeom>
                <a:avLst/>
                <a:gdLst>
                  <a:gd name="connsiteX0" fmla="*/ 1368 w 311818"/>
                  <a:gd name="connsiteY0" fmla="*/ 175618 h 312017"/>
                  <a:gd name="connsiteX1" fmla="*/ 155981 w 311818"/>
                  <a:gd name="connsiteY1" fmla="*/ 312017 h 312017"/>
                  <a:gd name="connsiteX2" fmla="*/ 310594 w 311818"/>
                  <a:gd name="connsiteY2" fmla="*/ 175546 h 312017"/>
                  <a:gd name="connsiteX3" fmla="*/ 311819 w 311818"/>
                  <a:gd name="connsiteY3" fmla="*/ 156513 h 312017"/>
                  <a:gd name="connsiteX4" fmla="*/ 310954 w 311818"/>
                  <a:gd name="connsiteY4" fmla="*/ 139499 h 312017"/>
                  <a:gd name="connsiteX5" fmla="*/ 155981 w 311818"/>
                  <a:gd name="connsiteY5" fmla="*/ 0 h 312017"/>
                  <a:gd name="connsiteX6" fmla="*/ 1008 w 311818"/>
                  <a:gd name="connsiteY6" fmla="*/ 139499 h 312017"/>
                  <a:gd name="connsiteX7" fmla="*/ 864 w 311818"/>
                  <a:gd name="connsiteY7" fmla="*/ 139499 h 312017"/>
                  <a:gd name="connsiteX8" fmla="*/ 0 w 311818"/>
                  <a:gd name="connsiteY8" fmla="*/ 156513 h 312017"/>
                  <a:gd name="connsiteX9" fmla="*/ 1224 w 311818"/>
                  <a:gd name="connsiteY9" fmla="*/ 175546 h 312017"/>
                  <a:gd name="connsiteX10" fmla="*/ 155981 w 311818"/>
                  <a:gd name="connsiteY10" fmla="*/ 285487 h 312017"/>
                  <a:gd name="connsiteX11" fmla="*/ 28085 w 311818"/>
                  <a:gd name="connsiteY11" fmla="*/ 175618 h 312017"/>
                  <a:gd name="connsiteX12" fmla="*/ 27941 w 311818"/>
                  <a:gd name="connsiteY12" fmla="*/ 175618 h 312017"/>
                  <a:gd name="connsiteX13" fmla="*/ 26501 w 311818"/>
                  <a:gd name="connsiteY13" fmla="*/ 156513 h 312017"/>
                  <a:gd name="connsiteX14" fmla="*/ 27509 w 311818"/>
                  <a:gd name="connsiteY14" fmla="*/ 140004 h 312017"/>
                  <a:gd name="connsiteX15" fmla="*/ 27581 w 311818"/>
                  <a:gd name="connsiteY15" fmla="*/ 140004 h 312017"/>
                  <a:gd name="connsiteX16" fmla="*/ 155909 w 311818"/>
                  <a:gd name="connsiteY16" fmla="*/ 26530 h 312017"/>
                  <a:gd name="connsiteX17" fmla="*/ 284165 w 311818"/>
                  <a:gd name="connsiteY17" fmla="*/ 139788 h 312017"/>
                  <a:gd name="connsiteX18" fmla="*/ 285246 w 311818"/>
                  <a:gd name="connsiteY18" fmla="*/ 156585 h 312017"/>
                  <a:gd name="connsiteX19" fmla="*/ 283805 w 311818"/>
                  <a:gd name="connsiteY19" fmla="*/ 175906 h 312017"/>
                  <a:gd name="connsiteX20" fmla="*/ 155909 w 311818"/>
                  <a:gd name="connsiteY20" fmla="*/ 285559 h 312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1818" h="312017">
                    <a:moveTo>
                      <a:pt x="1368" y="175618"/>
                    </a:moveTo>
                    <a:cubicBezTo>
                      <a:pt x="11018" y="252541"/>
                      <a:pt x="76550" y="312017"/>
                      <a:pt x="155981" y="312017"/>
                    </a:cubicBezTo>
                    <a:cubicBezTo>
                      <a:pt x="235412" y="312017"/>
                      <a:pt x="300945" y="252469"/>
                      <a:pt x="310594" y="175546"/>
                    </a:cubicBezTo>
                    <a:cubicBezTo>
                      <a:pt x="311315" y="169346"/>
                      <a:pt x="311819" y="162930"/>
                      <a:pt x="311819" y="156513"/>
                    </a:cubicBezTo>
                    <a:cubicBezTo>
                      <a:pt x="311819" y="150602"/>
                      <a:pt x="311603" y="145267"/>
                      <a:pt x="310954" y="139499"/>
                    </a:cubicBezTo>
                    <a:cubicBezTo>
                      <a:pt x="302889" y="60846"/>
                      <a:pt x="236636" y="0"/>
                      <a:pt x="155981" y="0"/>
                    </a:cubicBezTo>
                    <a:cubicBezTo>
                      <a:pt x="75326" y="0"/>
                      <a:pt x="9218" y="61135"/>
                      <a:pt x="1008" y="139499"/>
                    </a:cubicBezTo>
                    <a:lnTo>
                      <a:pt x="864" y="139499"/>
                    </a:lnTo>
                    <a:cubicBezTo>
                      <a:pt x="216" y="145267"/>
                      <a:pt x="0" y="150602"/>
                      <a:pt x="0" y="156513"/>
                    </a:cubicBezTo>
                    <a:cubicBezTo>
                      <a:pt x="0" y="162930"/>
                      <a:pt x="432" y="169346"/>
                      <a:pt x="1224" y="175546"/>
                    </a:cubicBezTo>
                    <a:moveTo>
                      <a:pt x="155981" y="285487"/>
                    </a:moveTo>
                    <a:cubicBezTo>
                      <a:pt x="91169" y="285487"/>
                      <a:pt x="37519" y="237834"/>
                      <a:pt x="28085" y="175618"/>
                    </a:cubicBezTo>
                    <a:lnTo>
                      <a:pt x="27941" y="175618"/>
                    </a:lnTo>
                    <a:cubicBezTo>
                      <a:pt x="27005" y="169346"/>
                      <a:pt x="26501" y="163074"/>
                      <a:pt x="26501" y="156513"/>
                    </a:cubicBezTo>
                    <a:cubicBezTo>
                      <a:pt x="26501" y="150818"/>
                      <a:pt x="26789" y="145483"/>
                      <a:pt x="27509" y="140004"/>
                    </a:cubicBezTo>
                    <a:lnTo>
                      <a:pt x="27581" y="140004"/>
                    </a:lnTo>
                    <a:cubicBezTo>
                      <a:pt x="35431" y="76058"/>
                      <a:pt x="89873" y="26530"/>
                      <a:pt x="155909" y="26530"/>
                    </a:cubicBezTo>
                    <a:cubicBezTo>
                      <a:pt x="221946" y="26530"/>
                      <a:pt x="276316" y="75769"/>
                      <a:pt x="284165" y="139788"/>
                    </a:cubicBezTo>
                    <a:cubicBezTo>
                      <a:pt x="284886" y="145411"/>
                      <a:pt x="285246" y="150818"/>
                      <a:pt x="285246" y="156585"/>
                    </a:cubicBezTo>
                    <a:cubicBezTo>
                      <a:pt x="285246" y="163218"/>
                      <a:pt x="284741" y="169562"/>
                      <a:pt x="283805" y="175906"/>
                    </a:cubicBezTo>
                    <a:cubicBezTo>
                      <a:pt x="274372" y="238122"/>
                      <a:pt x="220721" y="285559"/>
                      <a:pt x="155909" y="285559"/>
                    </a:cubicBez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B4827656-872A-664A-70E9-C86FDBC49962}"/>
                  </a:ext>
                </a:extLst>
              </p:cNvPr>
              <p:cNvSpPr/>
              <p:nvPr/>
            </p:nvSpPr>
            <p:spPr>
              <a:xfrm>
                <a:off x="11529743" y="3323653"/>
                <a:ext cx="42343" cy="42390"/>
              </a:xfrm>
              <a:custGeom>
                <a:avLst/>
                <a:gdLst>
                  <a:gd name="connsiteX0" fmla="*/ 0 w 42343"/>
                  <a:gd name="connsiteY0" fmla="*/ 21123 h 42390"/>
                  <a:gd name="connsiteX1" fmla="*/ 21244 w 42343"/>
                  <a:gd name="connsiteY1" fmla="*/ 0 h 42390"/>
                  <a:gd name="connsiteX2" fmla="*/ 42344 w 42343"/>
                  <a:gd name="connsiteY2" fmla="*/ 21123 h 42390"/>
                  <a:gd name="connsiteX3" fmla="*/ 21244 w 42343"/>
                  <a:gd name="connsiteY3" fmla="*/ 42391 h 42390"/>
                  <a:gd name="connsiteX4" fmla="*/ 0 w 42343"/>
                  <a:gd name="connsiteY4" fmla="*/ 21123 h 42390"/>
                  <a:gd name="connsiteX5" fmla="*/ 38959 w 42343"/>
                  <a:gd name="connsiteY5" fmla="*/ 21123 h 42390"/>
                  <a:gd name="connsiteX6" fmla="*/ 21244 w 42343"/>
                  <a:gd name="connsiteY6" fmla="*/ 2812 h 42390"/>
                  <a:gd name="connsiteX7" fmla="*/ 3385 w 42343"/>
                  <a:gd name="connsiteY7" fmla="*/ 21123 h 42390"/>
                  <a:gd name="connsiteX8" fmla="*/ 21244 w 42343"/>
                  <a:gd name="connsiteY8" fmla="*/ 39579 h 42390"/>
                  <a:gd name="connsiteX9" fmla="*/ 38959 w 42343"/>
                  <a:gd name="connsiteY9" fmla="*/ 21123 h 42390"/>
                  <a:gd name="connsiteX10" fmla="*/ 31758 w 42343"/>
                  <a:gd name="connsiteY10" fmla="*/ 32946 h 42390"/>
                  <a:gd name="connsiteX11" fmla="*/ 28301 w 42343"/>
                  <a:gd name="connsiteY11" fmla="*/ 32946 h 42390"/>
                  <a:gd name="connsiteX12" fmla="*/ 21532 w 42343"/>
                  <a:gd name="connsiteY12" fmla="*/ 22060 h 42390"/>
                  <a:gd name="connsiteX13" fmla="*/ 16203 w 42343"/>
                  <a:gd name="connsiteY13" fmla="*/ 22060 h 42390"/>
                  <a:gd name="connsiteX14" fmla="*/ 16203 w 42343"/>
                  <a:gd name="connsiteY14" fmla="*/ 32946 h 42390"/>
                  <a:gd name="connsiteX15" fmla="*/ 13323 w 42343"/>
                  <a:gd name="connsiteY15" fmla="*/ 32946 h 42390"/>
                  <a:gd name="connsiteX16" fmla="*/ 13323 w 42343"/>
                  <a:gd name="connsiteY16" fmla="*/ 9300 h 42390"/>
                  <a:gd name="connsiteX17" fmla="*/ 23693 w 42343"/>
                  <a:gd name="connsiteY17" fmla="*/ 9300 h 42390"/>
                  <a:gd name="connsiteX18" fmla="*/ 32046 w 42343"/>
                  <a:gd name="connsiteY18" fmla="*/ 15572 h 42390"/>
                  <a:gd name="connsiteX19" fmla="*/ 24629 w 42343"/>
                  <a:gd name="connsiteY19" fmla="*/ 22060 h 42390"/>
                  <a:gd name="connsiteX20" fmla="*/ 31758 w 42343"/>
                  <a:gd name="connsiteY20" fmla="*/ 32946 h 42390"/>
                  <a:gd name="connsiteX21" fmla="*/ 20668 w 42343"/>
                  <a:gd name="connsiteY21" fmla="*/ 19753 h 42390"/>
                  <a:gd name="connsiteX22" fmla="*/ 28949 w 42343"/>
                  <a:gd name="connsiteY22" fmla="*/ 15500 h 42390"/>
                  <a:gd name="connsiteX23" fmla="*/ 23044 w 42343"/>
                  <a:gd name="connsiteY23" fmla="*/ 11391 h 42390"/>
                  <a:gd name="connsiteX24" fmla="*/ 16275 w 42343"/>
                  <a:gd name="connsiteY24" fmla="*/ 11391 h 42390"/>
                  <a:gd name="connsiteX25" fmla="*/ 16275 w 42343"/>
                  <a:gd name="connsiteY25" fmla="*/ 19753 h 42390"/>
                  <a:gd name="connsiteX26" fmla="*/ 20668 w 42343"/>
                  <a:gd name="connsiteY26" fmla="*/ 19753 h 4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2343" h="42390">
                    <a:moveTo>
                      <a:pt x="0" y="21123"/>
                    </a:moveTo>
                    <a:cubicBezTo>
                      <a:pt x="0" y="9516"/>
                      <a:pt x="9506" y="0"/>
                      <a:pt x="21244" y="0"/>
                    </a:cubicBezTo>
                    <a:cubicBezTo>
                      <a:pt x="32982" y="0"/>
                      <a:pt x="42344" y="9516"/>
                      <a:pt x="42344" y="21123"/>
                    </a:cubicBezTo>
                    <a:cubicBezTo>
                      <a:pt x="42344" y="32730"/>
                      <a:pt x="32910" y="42391"/>
                      <a:pt x="21244" y="42391"/>
                    </a:cubicBezTo>
                    <a:cubicBezTo>
                      <a:pt x="9578" y="42391"/>
                      <a:pt x="0" y="32874"/>
                      <a:pt x="0" y="21123"/>
                    </a:cubicBezTo>
                    <a:close/>
                    <a:moveTo>
                      <a:pt x="38959" y="21123"/>
                    </a:moveTo>
                    <a:cubicBezTo>
                      <a:pt x="38959" y="10814"/>
                      <a:pt x="31470" y="2812"/>
                      <a:pt x="21244" y="2812"/>
                    </a:cubicBezTo>
                    <a:cubicBezTo>
                      <a:pt x="11018" y="2812"/>
                      <a:pt x="3385" y="10886"/>
                      <a:pt x="3385" y="21123"/>
                    </a:cubicBezTo>
                    <a:cubicBezTo>
                      <a:pt x="3385" y="31360"/>
                      <a:pt x="10946" y="39579"/>
                      <a:pt x="21244" y="39579"/>
                    </a:cubicBezTo>
                    <a:cubicBezTo>
                      <a:pt x="31542" y="39579"/>
                      <a:pt x="38959" y="31505"/>
                      <a:pt x="38959" y="21123"/>
                    </a:cubicBezTo>
                    <a:close/>
                    <a:moveTo>
                      <a:pt x="31758" y="32946"/>
                    </a:moveTo>
                    <a:lnTo>
                      <a:pt x="28301" y="32946"/>
                    </a:lnTo>
                    <a:lnTo>
                      <a:pt x="21532" y="22060"/>
                    </a:lnTo>
                    <a:lnTo>
                      <a:pt x="16203" y="22060"/>
                    </a:lnTo>
                    <a:lnTo>
                      <a:pt x="16203" y="32946"/>
                    </a:lnTo>
                    <a:lnTo>
                      <a:pt x="13323" y="32946"/>
                    </a:lnTo>
                    <a:lnTo>
                      <a:pt x="13323" y="9300"/>
                    </a:lnTo>
                    <a:lnTo>
                      <a:pt x="23693" y="9300"/>
                    </a:lnTo>
                    <a:cubicBezTo>
                      <a:pt x="29958" y="9300"/>
                      <a:pt x="32046" y="11679"/>
                      <a:pt x="32046" y="15572"/>
                    </a:cubicBezTo>
                    <a:cubicBezTo>
                      <a:pt x="32046" y="20186"/>
                      <a:pt x="28805" y="21916"/>
                      <a:pt x="24629" y="22060"/>
                    </a:cubicBezTo>
                    <a:lnTo>
                      <a:pt x="31758" y="32946"/>
                    </a:lnTo>
                    <a:close/>
                    <a:moveTo>
                      <a:pt x="20668" y="19753"/>
                    </a:moveTo>
                    <a:cubicBezTo>
                      <a:pt x="24052" y="19753"/>
                      <a:pt x="28949" y="20330"/>
                      <a:pt x="28949" y="15500"/>
                    </a:cubicBezTo>
                    <a:cubicBezTo>
                      <a:pt x="28949" y="11823"/>
                      <a:pt x="25925" y="11391"/>
                      <a:pt x="23044" y="11391"/>
                    </a:cubicBezTo>
                    <a:lnTo>
                      <a:pt x="16275" y="11391"/>
                    </a:lnTo>
                    <a:lnTo>
                      <a:pt x="16275" y="19753"/>
                    </a:lnTo>
                    <a:lnTo>
                      <a:pt x="20668" y="19753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5B2E2F7A-42BC-20DC-EB86-0DCDF9AB6A72}"/>
                </a:ext>
              </a:extLst>
            </p:cNvPr>
            <p:cNvSpPr/>
            <p:nvPr/>
          </p:nvSpPr>
          <p:spPr>
            <a:xfrm>
              <a:off x="9662576" y="3326249"/>
              <a:ext cx="70213" cy="41020"/>
            </a:xfrm>
            <a:custGeom>
              <a:avLst/>
              <a:gdLst>
                <a:gd name="connsiteX0" fmla="*/ 15267 w 70213"/>
                <a:gd name="connsiteY0" fmla="*/ 4398 h 41020"/>
                <a:gd name="connsiteX1" fmla="*/ 9434 w 70213"/>
                <a:gd name="connsiteY1" fmla="*/ 7714 h 41020"/>
                <a:gd name="connsiteX2" fmla="*/ 4321 w 70213"/>
                <a:gd name="connsiteY2" fmla="*/ 11607 h 41020"/>
                <a:gd name="connsiteX3" fmla="*/ 2737 w 70213"/>
                <a:gd name="connsiteY3" fmla="*/ 15139 h 41020"/>
                <a:gd name="connsiteX4" fmla="*/ 648 w 70213"/>
                <a:gd name="connsiteY4" fmla="*/ 18167 h 41020"/>
                <a:gd name="connsiteX5" fmla="*/ 144 w 70213"/>
                <a:gd name="connsiteY5" fmla="*/ 19249 h 41020"/>
                <a:gd name="connsiteX6" fmla="*/ 0 w 70213"/>
                <a:gd name="connsiteY6" fmla="*/ 20330 h 41020"/>
                <a:gd name="connsiteX7" fmla="*/ 288 w 70213"/>
                <a:gd name="connsiteY7" fmla="*/ 21556 h 41020"/>
                <a:gd name="connsiteX8" fmla="*/ 2232 w 70213"/>
                <a:gd name="connsiteY8" fmla="*/ 26891 h 41020"/>
                <a:gd name="connsiteX9" fmla="*/ 5617 w 70213"/>
                <a:gd name="connsiteY9" fmla="*/ 28981 h 41020"/>
                <a:gd name="connsiteX10" fmla="*/ 9506 w 70213"/>
                <a:gd name="connsiteY10" fmla="*/ 33379 h 41020"/>
                <a:gd name="connsiteX11" fmla="*/ 12314 w 70213"/>
                <a:gd name="connsiteY11" fmla="*/ 36046 h 41020"/>
                <a:gd name="connsiteX12" fmla="*/ 16347 w 70213"/>
                <a:gd name="connsiteY12" fmla="*/ 37993 h 41020"/>
                <a:gd name="connsiteX13" fmla="*/ 20380 w 70213"/>
                <a:gd name="connsiteY13" fmla="*/ 39218 h 41020"/>
                <a:gd name="connsiteX14" fmla="*/ 26069 w 70213"/>
                <a:gd name="connsiteY14" fmla="*/ 39218 h 41020"/>
                <a:gd name="connsiteX15" fmla="*/ 29814 w 70213"/>
                <a:gd name="connsiteY15" fmla="*/ 39939 h 41020"/>
                <a:gd name="connsiteX16" fmla="*/ 33846 w 70213"/>
                <a:gd name="connsiteY16" fmla="*/ 40300 h 41020"/>
                <a:gd name="connsiteX17" fmla="*/ 39319 w 70213"/>
                <a:gd name="connsiteY17" fmla="*/ 40660 h 41020"/>
                <a:gd name="connsiteX18" fmla="*/ 44576 w 70213"/>
                <a:gd name="connsiteY18" fmla="*/ 41021 h 41020"/>
                <a:gd name="connsiteX19" fmla="*/ 51130 w 70213"/>
                <a:gd name="connsiteY19" fmla="*/ 40516 h 41020"/>
                <a:gd name="connsiteX20" fmla="*/ 56099 w 70213"/>
                <a:gd name="connsiteY20" fmla="*/ 39074 h 41020"/>
                <a:gd name="connsiteX21" fmla="*/ 62076 w 70213"/>
                <a:gd name="connsiteY21" fmla="*/ 36623 h 41020"/>
                <a:gd name="connsiteX22" fmla="*/ 64740 w 70213"/>
                <a:gd name="connsiteY22" fmla="*/ 33595 h 41020"/>
                <a:gd name="connsiteX23" fmla="*/ 67765 w 70213"/>
                <a:gd name="connsiteY23" fmla="*/ 30784 h 41020"/>
                <a:gd name="connsiteX24" fmla="*/ 70213 w 70213"/>
                <a:gd name="connsiteY24" fmla="*/ 26891 h 41020"/>
                <a:gd name="connsiteX25" fmla="*/ 70069 w 70213"/>
                <a:gd name="connsiteY25" fmla="*/ 22853 h 41020"/>
                <a:gd name="connsiteX26" fmla="*/ 68989 w 70213"/>
                <a:gd name="connsiteY26" fmla="*/ 17014 h 41020"/>
                <a:gd name="connsiteX27" fmla="*/ 62652 w 70213"/>
                <a:gd name="connsiteY27" fmla="*/ 7786 h 41020"/>
                <a:gd name="connsiteX28" fmla="*/ 57035 w 70213"/>
                <a:gd name="connsiteY28" fmla="*/ 3533 h 41020"/>
                <a:gd name="connsiteX29" fmla="*/ 54226 w 70213"/>
                <a:gd name="connsiteY29" fmla="*/ 2163 h 41020"/>
                <a:gd name="connsiteX30" fmla="*/ 52138 w 70213"/>
                <a:gd name="connsiteY30" fmla="*/ 1370 h 41020"/>
                <a:gd name="connsiteX31" fmla="*/ 50121 w 70213"/>
                <a:gd name="connsiteY31" fmla="*/ 1081 h 41020"/>
                <a:gd name="connsiteX32" fmla="*/ 43568 w 70213"/>
                <a:gd name="connsiteY32" fmla="*/ 1586 h 41020"/>
                <a:gd name="connsiteX33" fmla="*/ 37015 w 70213"/>
                <a:gd name="connsiteY33" fmla="*/ 505 h 41020"/>
                <a:gd name="connsiteX34" fmla="*/ 33846 w 70213"/>
                <a:gd name="connsiteY34" fmla="*/ 0 h 41020"/>
                <a:gd name="connsiteX35" fmla="*/ 29814 w 70213"/>
                <a:gd name="connsiteY35" fmla="*/ 865 h 41020"/>
                <a:gd name="connsiteX36" fmla="*/ 24485 w 70213"/>
                <a:gd name="connsiteY36" fmla="*/ 1586 h 41020"/>
                <a:gd name="connsiteX37" fmla="*/ 21100 w 70213"/>
                <a:gd name="connsiteY37" fmla="*/ 2812 h 41020"/>
                <a:gd name="connsiteX38" fmla="*/ 15267 w 70213"/>
                <a:gd name="connsiteY38" fmla="*/ 4398 h 4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0213" h="41020">
                  <a:moveTo>
                    <a:pt x="15267" y="4398"/>
                  </a:moveTo>
                  <a:lnTo>
                    <a:pt x="9434" y="7714"/>
                  </a:lnTo>
                  <a:lnTo>
                    <a:pt x="4321" y="11607"/>
                  </a:lnTo>
                  <a:lnTo>
                    <a:pt x="2737" y="15139"/>
                  </a:lnTo>
                  <a:lnTo>
                    <a:pt x="648" y="18167"/>
                  </a:lnTo>
                  <a:lnTo>
                    <a:pt x="144" y="19249"/>
                  </a:lnTo>
                  <a:lnTo>
                    <a:pt x="0" y="20330"/>
                  </a:lnTo>
                  <a:lnTo>
                    <a:pt x="288" y="21556"/>
                  </a:lnTo>
                  <a:lnTo>
                    <a:pt x="2232" y="26891"/>
                  </a:lnTo>
                  <a:lnTo>
                    <a:pt x="5617" y="28981"/>
                  </a:lnTo>
                  <a:lnTo>
                    <a:pt x="9506" y="33379"/>
                  </a:lnTo>
                  <a:lnTo>
                    <a:pt x="12314" y="36046"/>
                  </a:lnTo>
                  <a:lnTo>
                    <a:pt x="16347" y="37993"/>
                  </a:lnTo>
                  <a:lnTo>
                    <a:pt x="20380" y="39218"/>
                  </a:lnTo>
                  <a:lnTo>
                    <a:pt x="26069" y="39218"/>
                  </a:lnTo>
                  <a:lnTo>
                    <a:pt x="29814" y="39939"/>
                  </a:lnTo>
                  <a:lnTo>
                    <a:pt x="33846" y="40300"/>
                  </a:lnTo>
                  <a:lnTo>
                    <a:pt x="39319" y="40660"/>
                  </a:lnTo>
                  <a:lnTo>
                    <a:pt x="44576" y="41021"/>
                  </a:lnTo>
                  <a:lnTo>
                    <a:pt x="51130" y="40516"/>
                  </a:lnTo>
                  <a:lnTo>
                    <a:pt x="56099" y="39074"/>
                  </a:lnTo>
                  <a:lnTo>
                    <a:pt x="62076" y="36623"/>
                  </a:lnTo>
                  <a:lnTo>
                    <a:pt x="64740" y="33595"/>
                  </a:lnTo>
                  <a:lnTo>
                    <a:pt x="67765" y="30784"/>
                  </a:lnTo>
                  <a:lnTo>
                    <a:pt x="70213" y="26891"/>
                  </a:lnTo>
                  <a:lnTo>
                    <a:pt x="70069" y="22853"/>
                  </a:lnTo>
                  <a:lnTo>
                    <a:pt x="68989" y="17014"/>
                  </a:lnTo>
                  <a:lnTo>
                    <a:pt x="62652" y="7786"/>
                  </a:lnTo>
                  <a:lnTo>
                    <a:pt x="57035" y="3533"/>
                  </a:lnTo>
                  <a:lnTo>
                    <a:pt x="54226" y="2163"/>
                  </a:lnTo>
                  <a:lnTo>
                    <a:pt x="52138" y="1370"/>
                  </a:lnTo>
                  <a:lnTo>
                    <a:pt x="50121" y="1081"/>
                  </a:lnTo>
                  <a:lnTo>
                    <a:pt x="43568" y="1586"/>
                  </a:lnTo>
                  <a:lnTo>
                    <a:pt x="37015" y="505"/>
                  </a:lnTo>
                  <a:lnTo>
                    <a:pt x="33846" y="0"/>
                  </a:lnTo>
                  <a:lnTo>
                    <a:pt x="29814" y="865"/>
                  </a:lnTo>
                  <a:lnTo>
                    <a:pt x="24485" y="1586"/>
                  </a:lnTo>
                  <a:lnTo>
                    <a:pt x="21100" y="2812"/>
                  </a:lnTo>
                  <a:lnTo>
                    <a:pt x="15267" y="4398"/>
                  </a:lnTo>
                </a:path>
              </a:pathLst>
            </a:custGeom>
            <a:solidFill>
              <a:srgbClr val="F26531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7E9CA8DE-E050-3A24-2AFA-602CFE0F5BC8}"/>
                </a:ext>
              </a:extLst>
            </p:cNvPr>
            <p:cNvSpPr/>
            <p:nvPr/>
          </p:nvSpPr>
          <p:spPr>
            <a:xfrm>
              <a:off x="9668265" y="3427034"/>
              <a:ext cx="59915" cy="15932"/>
            </a:xfrm>
            <a:custGeom>
              <a:avLst/>
              <a:gdLst>
                <a:gd name="connsiteX0" fmla="*/ 1224 w 59915"/>
                <a:gd name="connsiteY0" fmla="*/ 360 h 15932"/>
                <a:gd name="connsiteX1" fmla="*/ 32694 w 59915"/>
                <a:gd name="connsiteY1" fmla="*/ 1081 h 15932"/>
                <a:gd name="connsiteX2" fmla="*/ 37375 w 59915"/>
                <a:gd name="connsiteY2" fmla="*/ 144 h 15932"/>
                <a:gd name="connsiteX3" fmla="*/ 43424 w 59915"/>
                <a:gd name="connsiteY3" fmla="*/ 0 h 15932"/>
                <a:gd name="connsiteX4" fmla="*/ 49473 w 59915"/>
                <a:gd name="connsiteY4" fmla="*/ 649 h 15932"/>
                <a:gd name="connsiteX5" fmla="*/ 54082 w 59915"/>
                <a:gd name="connsiteY5" fmla="*/ 1947 h 15932"/>
                <a:gd name="connsiteX6" fmla="*/ 57611 w 59915"/>
                <a:gd name="connsiteY6" fmla="*/ 4326 h 15932"/>
                <a:gd name="connsiteX7" fmla="*/ 58907 w 59915"/>
                <a:gd name="connsiteY7" fmla="*/ 5984 h 15932"/>
                <a:gd name="connsiteX8" fmla="*/ 59699 w 59915"/>
                <a:gd name="connsiteY8" fmla="*/ 7714 h 15932"/>
                <a:gd name="connsiteX9" fmla="*/ 59915 w 59915"/>
                <a:gd name="connsiteY9" fmla="*/ 9588 h 15932"/>
                <a:gd name="connsiteX10" fmla="*/ 59339 w 59915"/>
                <a:gd name="connsiteY10" fmla="*/ 11535 h 15932"/>
                <a:gd name="connsiteX11" fmla="*/ 57971 w 59915"/>
                <a:gd name="connsiteY11" fmla="*/ 13409 h 15932"/>
                <a:gd name="connsiteX12" fmla="*/ 55522 w 59915"/>
                <a:gd name="connsiteY12" fmla="*/ 15212 h 15932"/>
                <a:gd name="connsiteX13" fmla="*/ 51922 w 59915"/>
                <a:gd name="connsiteY13" fmla="*/ 15932 h 15932"/>
                <a:gd name="connsiteX14" fmla="*/ 45513 w 59915"/>
                <a:gd name="connsiteY14" fmla="*/ 15932 h 15932"/>
                <a:gd name="connsiteX15" fmla="*/ 28229 w 59915"/>
                <a:gd name="connsiteY15" fmla="*/ 14635 h 15932"/>
                <a:gd name="connsiteX16" fmla="*/ 1872 w 59915"/>
                <a:gd name="connsiteY16" fmla="*/ 11607 h 15932"/>
                <a:gd name="connsiteX17" fmla="*/ 864 w 59915"/>
                <a:gd name="connsiteY17" fmla="*/ 11174 h 15932"/>
                <a:gd name="connsiteX18" fmla="*/ 288 w 59915"/>
                <a:gd name="connsiteY18" fmla="*/ 10165 h 15932"/>
                <a:gd name="connsiteX19" fmla="*/ 0 w 59915"/>
                <a:gd name="connsiteY19" fmla="*/ 6921 h 15932"/>
                <a:gd name="connsiteX20" fmla="*/ 1224 w 59915"/>
                <a:gd name="connsiteY20" fmla="*/ 360 h 1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9915" h="15932">
                  <a:moveTo>
                    <a:pt x="1224" y="360"/>
                  </a:moveTo>
                  <a:lnTo>
                    <a:pt x="32694" y="1081"/>
                  </a:lnTo>
                  <a:lnTo>
                    <a:pt x="37375" y="144"/>
                  </a:lnTo>
                  <a:lnTo>
                    <a:pt x="43424" y="0"/>
                  </a:lnTo>
                  <a:lnTo>
                    <a:pt x="49473" y="649"/>
                  </a:lnTo>
                  <a:lnTo>
                    <a:pt x="54082" y="1947"/>
                  </a:lnTo>
                  <a:lnTo>
                    <a:pt x="57611" y="4326"/>
                  </a:lnTo>
                  <a:lnTo>
                    <a:pt x="58907" y="5984"/>
                  </a:lnTo>
                  <a:lnTo>
                    <a:pt x="59699" y="7714"/>
                  </a:lnTo>
                  <a:lnTo>
                    <a:pt x="59915" y="9588"/>
                  </a:lnTo>
                  <a:lnTo>
                    <a:pt x="59339" y="11535"/>
                  </a:lnTo>
                  <a:lnTo>
                    <a:pt x="57971" y="13409"/>
                  </a:lnTo>
                  <a:lnTo>
                    <a:pt x="55522" y="15212"/>
                  </a:lnTo>
                  <a:lnTo>
                    <a:pt x="51922" y="15932"/>
                  </a:lnTo>
                  <a:lnTo>
                    <a:pt x="45513" y="15932"/>
                  </a:lnTo>
                  <a:lnTo>
                    <a:pt x="28229" y="14635"/>
                  </a:lnTo>
                  <a:lnTo>
                    <a:pt x="1872" y="11607"/>
                  </a:lnTo>
                  <a:lnTo>
                    <a:pt x="864" y="11174"/>
                  </a:lnTo>
                  <a:lnTo>
                    <a:pt x="288" y="10165"/>
                  </a:lnTo>
                  <a:lnTo>
                    <a:pt x="0" y="6921"/>
                  </a:lnTo>
                  <a:lnTo>
                    <a:pt x="1224" y="360"/>
                  </a:lnTo>
                </a:path>
              </a:pathLst>
            </a:custGeom>
            <a:solidFill>
              <a:srgbClr val="ED1849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5C5C2E45-2295-6C9A-082C-FAAF100B61EC}"/>
                </a:ext>
              </a:extLst>
            </p:cNvPr>
            <p:cNvSpPr/>
            <p:nvPr/>
          </p:nvSpPr>
          <p:spPr>
            <a:xfrm>
              <a:off x="9671290" y="3456448"/>
              <a:ext cx="57754" cy="15644"/>
            </a:xfrm>
            <a:custGeom>
              <a:avLst/>
              <a:gdLst>
                <a:gd name="connsiteX0" fmla="*/ 7057 w 57754"/>
                <a:gd name="connsiteY0" fmla="*/ 0 h 15644"/>
                <a:gd name="connsiteX1" fmla="*/ 9794 w 57754"/>
                <a:gd name="connsiteY1" fmla="*/ 1658 h 15644"/>
                <a:gd name="connsiteX2" fmla="*/ 11522 w 57754"/>
                <a:gd name="connsiteY2" fmla="*/ 2667 h 15644"/>
                <a:gd name="connsiteX3" fmla="*/ 13467 w 57754"/>
                <a:gd name="connsiteY3" fmla="*/ 3172 h 15644"/>
                <a:gd name="connsiteX4" fmla="*/ 14835 w 57754"/>
                <a:gd name="connsiteY4" fmla="*/ 2884 h 15644"/>
                <a:gd name="connsiteX5" fmla="*/ 16419 w 57754"/>
                <a:gd name="connsiteY5" fmla="*/ 2163 h 15644"/>
                <a:gd name="connsiteX6" fmla="*/ 18003 w 57754"/>
                <a:gd name="connsiteY6" fmla="*/ 1370 h 15644"/>
                <a:gd name="connsiteX7" fmla="*/ 19588 w 57754"/>
                <a:gd name="connsiteY7" fmla="*/ 1009 h 15644"/>
                <a:gd name="connsiteX8" fmla="*/ 22324 w 57754"/>
                <a:gd name="connsiteY8" fmla="*/ 2019 h 15644"/>
                <a:gd name="connsiteX9" fmla="*/ 25277 w 57754"/>
                <a:gd name="connsiteY9" fmla="*/ 3028 h 15644"/>
                <a:gd name="connsiteX10" fmla="*/ 27725 w 57754"/>
                <a:gd name="connsiteY10" fmla="*/ 2235 h 15644"/>
                <a:gd name="connsiteX11" fmla="*/ 30246 w 57754"/>
                <a:gd name="connsiteY11" fmla="*/ 1514 h 15644"/>
                <a:gd name="connsiteX12" fmla="*/ 33198 w 57754"/>
                <a:gd name="connsiteY12" fmla="*/ 2595 h 15644"/>
                <a:gd name="connsiteX13" fmla="*/ 34638 w 57754"/>
                <a:gd name="connsiteY13" fmla="*/ 3172 h 15644"/>
                <a:gd name="connsiteX14" fmla="*/ 36079 w 57754"/>
                <a:gd name="connsiteY14" fmla="*/ 3172 h 15644"/>
                <a:gd name="connsiteX15" fmla="*/ 45224 w 57754"/>
                <a:gd name="connsiteY15" fmla="*/ 1947 h 15644"/>
                <a:gd name="connsiteX16" fmla="*/ 52210 w 57754"/>
                <a:gd name="connsiteY16" fmla="*/ 3100 h 15644"/>
                <a:gd name="connsiteX17" fmla="*/ 52642 w 57754"/>
                <a:gd name="connsiteY17" fmla="*/ 3388 h 15644"/>
                <a:gd name="connsiteX18" fmla="*/ 52858 w 57754"/>
                <a:gd name="connsiteY18" fmla="*/ 3749 h 15644"/>
                <a:gd name="connsiteX19" fmla="*/ 52642 w 57754"/>
                <a:gd name="connsiteY19" fmla="*/ 4614 h 15644"/>
                <a:gd name="connsiteX20" fmla="*/ 52354 w 57754"/>
                <a:gd name="connsiteY20" fmla="*/ 5551 h 15644"/>
                <a:gd name="connsiteX21" fmla="*/ 52642 w 57754"/>
                <a:gd name="connsiteY21" fmla="*/ 6416 h 15644"/>
                <a:gd name="connsiteX22" fmla="*/ 54370 w 57754"/>
                <a:gd name="connsiteY22" fmla="*/ 7426 h 15644"/>
                <a:gd name="connsiteX23" fmla="*/ 56315 w 57754"/>
                <a:gd name="connsiteY23" fmla="*/ 8219 h 15644"/>
                <a:gd name="connsiteX24" fmla="*/ 57107 w 57754"/>
                <a:gd name="connsiteY24" fmla="*/ 8795 h 15644"/>
                <a:gd name="connsiteX25" fmla="*/ 57611 w 57754"/>
                <a:gd name="connsiteY25" fmla="*/ 9660 h 15644"/>
                <a:gd name="connsiteX26" fmla="*/ 57755 w 57754"/>
                <a:gd name="connsiteY26" fmla="*/ 10958 h 15644"/>
                <a:gd name="connsiteX27" fmla="*/ 57395 w 57754"/>
                <a:gd name="connsiteY27" fmla="*/ 12760 h 15644"/>
                <a:gd name="connsiteX28" fmla="*/ 56819 w 57754"/>
                <a:gd name="connsiteY28" fmla="*/ 13626 h 15644"/>
                <a:gd name="connsiteX29" fmla="*/ 55522 w 57754"/>
                <a:gd name="connsiteY29" fmla="*/ 14346 h 15644"/>
                <a:gd name="connsiteX30" fmla="*/ 51562 w 57754"/>
                <a:gd name="connsiteY30" fmla="*/ 15212 h 15644"/>
                <a:gd name="connsiteX31" fmla="*/ 39031 w 57754"/>
                <a:gd name="connsiteY31" fmla="*/ 15644 h 15644"/>
                <a:gd name="connsiteX32" fmla="*/ 21100 w 57754"/>
                <a:gd name="connsiteY32" fmla="*/ 13337 h 15644"/>
                <a:gd name="connsiteX33" fmla="*/ 5545 w 57754"/>
                <a:gd name="connsiteY33" fmla="*/ 10453 h 15644"/>
                <a:gd name="connsiteX34" fmla="*/ 3241 w 57754"/>
                <a:gd name="connsiteY34" fmla="*/ 9516 h 15644"/>
                <a:gd name="connsiteX35" fmla="*/ 1512 w 57754"/>
                <a:gd name="connsiteY35" fmla="*/ 7426 h 15644"/>
                <a:gd name="connsiteX36" fmla="*/ 360 w 57754"/>
                <a:gd name="connsiteY36" fmla="*/ 4974 h 15644"/>
                <a:gd name="connsiteX37" fmla="*/ 0 w 57754"/>
                <a:gd name="connsiteY37" fmla="*/ 2812 h 15644"/>
                <a:gd name="connsiteX38" fmla="*/ 7057 w 57754"/>
                <a:gd name="connsiteY38" fmla="*/ 0 h 1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754" h="15644">
                  <a:moveTo>
                    <a:pt x="7057" y="0"/>
                  </a:moveTo>
                  <a:lnTo>
                    <a:pt x="9794" y="1658"/>
                  </a:lnTo>
                  <a:lnTo>
                    <a:pt x="11522" y="2667"/>
                  </a:lnTo>
                  <a:lnTo>
                    <a:pt x="13467" y="3172"/>
                  </a:lnTo>
                  <a:lnTo>
                    <a:pt x="14835" y="2884"/>
                  </a:lnTo>
                  <a:lnTo>
                    <a:pt x="16419" y="2163"/>
                  </a:lnTo>
                  <a:lnTo>
                    <a:pt x="18003" y="1370"/>
                  </a:lnTo>
                  <a:lnTo>
                    <a:pt x="19588" y="1009"/>
                  </a:lnTo>
                  <a:lnTo>
                    <a:pt x="22324" y="2019"/>
                  </a:lnTo>
                  <a:lnTo>
                    <a:pt x="25277" y="3028"/>
                  </a:lnTo>
                  <a:lnTo>
                    <a:pt x="27725" y="2235"/>
                  </a:lnTo>
                  <a:lnTo>
                    <a:pt x="30246" y="1514"/>
                  </a:lnTo>
                  <a:lnTo>
                    <a:pt x="33198" y="2595"/>
                  </a:lnTo>
                  <a:lnTo>
                    <a:pt x="34638" y="3172"/>
                  </a:lnTo>
                  <a:lnTo>
                    <a:pt x="36079" y="3172"/>
                  </a:lnTo>
                  <a:lnTo>
                    <a:pt x="45224" y="1947"/>
                  </a:lnTo>
                  <a:lnTo>
                    <a:pt x="52210" y="3100"/>
                  </a:lnTo>
                  <a:lnTo>
                    <a:pt x="52642" y="3388"/>
                  </a:lnTo>
                  <a:lnTo>
                    <a:pt x="52858" y="3749"/>
                  </a:lnTo>
                  <a:lnTo>
                    <a:pt x="52642" y="4614"/>
                  </a:lnTo>
                  <a:lnTo>
                    <a:pt x="52354" y="5551"/>
                  </a:lnTo>
                  <a:lnTo>
                    <a:pt x="52642" y="6416"/>
                  </a:lnTo>
                  <a:lnTo>
                    <a:pt x="54370" y="7426"/>
                  </a:lnTo>
                  <a:lnTo>
                    <a:pt x="56315" y="8219"/>
                  </a:lnTo>
                  <a:lnTo>
                    <a:pt x="57107" y="8795"/>
                  </a:lnTo>
                  <a:lnTo>
                    <a:pt x="57611" y="9660"/>
                  </a:lnTo>
                  <a:lnTo>
                    <a:pt x="57755" y="10958"/>
                  </a:lnTo>
                  <a:lnTo>
                    <a:pt x="57395" y="12760"/>
                  </a:lnTo>
                  <a:lnTo>
                    <a:pt x="56819" y="13626"/>
                  </a:lnTo>
                  <a:lnTo>
                    <a:pt x="55522" y="14346"/>
                  </a:lnTo>
                  <a:lnTo>
                    <a:pt x="51562" y="15212"/>
                  </a:lnTo>
                  <a:lnTo>
                    <a:pt x="39031" y="15644"/>
                  </a:lnTo>
                  <a:lnTo>
                    <a:pt x="21100" y="13337"/>
                  </a:lnTo>
                  <a:lnTo>
                    <a:pt x="5545" y="10453"/>
                  </a:lnTo>
                  <a:lnTo>
                    <a:pt x="3241" y="9516"/>
                  </a:lnTo>
                  <a:lnTo>
                    <a:pt x="1512" y="7426"/>
                  </a:lnTo>
                  <a:lnTo>
                    <a:pt x="360" y="4974"/>
                  </a:lnTo>
                  <a:lnTo>
                    <a:pt x="0" y="2812"/>
                  </a:lnTo>
                  <a:lnTo>
                    <a:pt x="705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DC5AD85E-114E-A5CA-E9E8-56B227FF180C}"/>
                </a:ext>
              </a:extLst>
            </p:cNvPr>
            <p:cNvSpPr/>
            <p:nvPr/>
          </p:nvSpPr>
          <p:spPr>
            <a:xfrm>
              <a:off x="9668481" y="3473390"/>
              <a:ext cx="59771" cy="17013"/>
            </a:xfrm>
            <a:custGeom>
              <a:avLst/>
              <a:gdLst>
                <a:gd name="connsiteX0" fmla="*/ 5617 w 59771"/>
                <a:gd name="connsiteY0" fmla="*/ 0 h 17013"/>
                <a:gd name="connsiteX1" fmla="*/ 10442 w 59771"/>
                <a:gd name="connsiteY1" fmla="*/ 1874 h 17013"/>
                <a:gd name="connsiteX2" fmla="*/ 12818 w 59771"/>
                <a:gd name="connsiteY2" fmla="*/ 2740 h 17013"/>
                <a:gd name="connsiteX3" fmla="*/ 15195 w 59771"/>
                <a:gd name="connsiteY3" fmla="*/ 2667 h 17013"/>
                <a:gd name="connsiteX4" fmla="*/ 36583 w 59771"/>
                <a:gd name="connsiteY4" fmla="*/ 1658 h 17013"/>
                <a:gd name="connsiteX5" fmla="*/ 45152 w 59771"/>
                <a:gd name="connsiteY5" fmla="*/ 2451 h 17013"/>
                <a:gd name="connsiteX6" fmla="*/ 51850 w 59771"/>
                <a:gd name="connsiteY6" fmla="*/ 4109 h 17013"/>
                <a:gd name="connsiteX7" fmla="*/ 54874 w 59771"/>
                <a:gd name="connsiteY7" fmla="*/ 4902 h 17013"/>
                <a:gd name="connsiteX8" fmla="*/ 56603 w 59771"/>
                <a:gd name="connsiteY8" fmla="*/ 5623 h 17013"/>
                <a:gd name="connsiteX9" fmla="*/ 57971 w 59771"/>
                <a:gd name="connsiteY9" fmla="*/ 6633 h 17013"/>
                <a:gd name="connsiteX10" fmla="*/ 59483 w 59771"/>
                <a:gd name="connsiteY10" fmla="*/ 9300 h 17013"/>
                <a:gd name="connsiteX11" fmla="*/ 59771 w 59771"/>
                <a:gd name="connsiteY11" fmla="*/ 11895 h 17013"/>
                <a:gd name="connsiteX12" fmla="*/ 59123 w 59771"/>
                <a:gd name="connsiteY12" fmla="*/ 14130 h 17013"/>
                <a:gd name="connsiteX13" fmla="*/ 57971 w 59771"/>
                <a:gd name="connsiteY13" fmla="*/ 15572 h 17013"/>
                <a:gd name="connsiteX14" fmla="*/ 57971 w 59771"/>
                <a:gd name="connsiteY14" fmla="*/ 17014 h 17013"/>
                <a:gd name="connsiteX15" fmla="*/ 37015 w 59771"/>
                <a:gd name="connsiteY15" fmla="*/ 16942 h 17013"/>
                <a:gd name="connsiteX16" fmla="*/ 30030 w 59771"/>
                <a:gd name="connsiteY16" fmla="*/ 17014 h 17013"/>
                <a:gd name="connsiteX17" fmla="*/ 23116 w 59771"/>
                <a:gd name="connsiteY17" fmla="*/ 16437 h 17013"/>
                <a:gd name="connsiteX18" fmla="*/ 16203 w 59771"/>
                <a:gd name="connsiteY18" fmla="*/ 15212 h 17013"/>
                <a:gd name="connsiteX19" fmla="*/ 10010 w 59771"/>
                <a:gd name="connsiteY19" fmla="*/ 14202 h 17013"/>
                <a:gd name="connsiteX20" fmla="*/ 5545 w 59771"/>
                <a:gd name="connsiteY20" fmla="*/ 13481 h 17013"/>
                <a:gd name="connsiteX21" fmla="*/ 3745 w 59771"/>
                <a:gd name="connsiteY21" fmla="*/ 13049 h 17013"/>
                <a:gd name="connsiteX22" fmla="*/ 2520 w 59771"/>
                <a:gd name="connsiteY22" fmla="*/ 11895 h 17013"/>
                <a:gd name="connsiteX23" fmla="*/ 792 w 59771"/>
                <a:gd name="connsiteY23" fmla="*/ 8219 h 17013"/>
                <a:gd name="connsiteX24" fmla="*/ 0 w 59771"/>
                <a:gd name="connsiteY24" fmla="*/ 4253 h 17013"/>
                <a:gd name="connsiteX25" fmla="*/ 5617 w 59771"/>
                <a:gd name="connsiteY25" fmla="*/ 0 h 17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9771" h="17013">
                  <a:moveTo>
                    <a:pt x="5617" y="0"/>
                  </a:moveTo>
                  <a:lnTo>
                    <a:pt x="10442" y="1874"/>
                  </a:lnTo>
                  <a:lnTo>
                    <a:pt x="12818" y="2740"/>
                  </a:lnTo>
                  <a:lnTo>
                    <a:pt x="15195" y="2667"/>
                  </a:lnTo>
                  <a:lnTo>
                    <a:pt x="36583" y="1658"/>
                  </a:lnTo>
                  <a:lnTo>
                    <a:pt x="45152" y="2451"/>
                  </a:lnTo>
                  <a:lnTo>
                    <a:pt x="51850" y="4109"/>
                  </a:lnTo>
                  <a:lnTo>
                    <a:pt x="54874" y="4902"/>
                  </a:lnTo>
                  <a:lnTo>
                    <a:pt x="56603" y="5623"/>
                  </a:lnTo>
                  <a:lnTo>
                    <a:pt x="57971" y="6633"/>
                  </a:lnTo>
                  <a:lnTo>
                    <a:pt x="59483" y="9300"/>
                  </a:lnTo>
                  <a:lnTo>
                    <a:pt x="59771" y="11895"/>
                  </a:lnTo>
                  <a:lnTo>
                    <a:pt x="59123" y="14130"/>
                  </a:lnTo>
                  <a:lnTo>
                    <a:pt x="57971" y="15572"/>
                  </a:lnTo>
                  <a:lnTo>
                    <a:pt x="57971" y="17014"/>
                  </a:lnTo>
                  <a:lnTo>
                    <a:pt x="37015" y="16942"/>
                  </a:lnTo>
                  <a:lnTo>
                    <a:pt x="30030" y="17014"/>
                  </a:lnTo>
                  <a:lnTo>
                    <a:pt x="23116" y="16437"/>
                  </a:lnTo>
                  <a:lnTo>
                    <a:pt x="16203" y="15212"/>
                  </a:lnTo>
                  <a:lnTo>
                    <a:pt x="10010" y="14202"/>
                  </a:lnTo>
                  <a:lnTo>
                    <a:pt x="5545" y="13481"/>
                  </a:lnTo>
                  <a:lnTo>
                    <a:pt x="3745" y="13049"/>
                  </a:lnTo>
                  <a:lnTo>
                    <a:pt x="2520" y="11895"/>
                  </a:lnTo>
                  <a:lnTo>
                    <a:pt x="792" y="8219"/>
                  </a:lnTo>
                  <a:lnTo>
                    <a:pt x="0" y="4253"/>
                  </a:lnTo>
                  <a:lnTo>
                    <a:pt x="561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467025E8-A039-C98B-4059-05FDF5CA57F6}"/>
                </a:ext>
              </a:extLst>
            </p:cNvPr>
            <p:cNvSpPr/>
            <p:nvPr/>
          </p:nvSpPr>
          <p:spPr>
            <a:xfrm>
              <a:off x="9668553" y="3498406"/>
              <a:ext cx="60779" cy="27899"/>
            </a:xfrm>
            <a:custGeom>
              <a:avLst/>
              <a:gdLst>
                <a:gd name="connsiteX0" fmla="*/ 7129 w 60779"/>
                <a:gd name="connsiteY0" fmla="*/ 0 h 27899"/>
                <a:gd name="connsiteX1" fmla="*/ 16635 w 60779"/>
                <a:gd name="connsiteY1" fmla="*/ 1226 h 27899"/>
                <a:gd name="connsiteX2" fmla="*/ 19804 w 60779"/>
                <a:gd name="connsiteY2" fmla="*/ 1586 h 27899"/>
                <a:gd name="connsiteX3" fmla="*/ 22540 w 60779"/>
                <a:gd name="connsiteY3" fmla="*/ 1081 h 27899"/>
                <a:gd name="connsiteX4" fmla="*/ 26213 w 60779"/>
                <a:gd name="connsiteY4" fmla="*/ 721 h 27899"/>
                <a:gd name="connsiteX5" fmla="*/ 31974 w 60779"/>
                <a:gd name="connsiteY5" fmla="*/ 1153 h 27899"/>
                <a:gd name="connsiteX6" fmla="*/ 40256 w 60779"/>
                <a:gd name="connsiteY6" fmla="*/ 1298 h 27899"/>
                <a:gd name="connsiteX7" fmla="*/ 48609 w 60779"/>
                <a:gd name="connsiteY7" fmla="*/ 865 h 27899"/>
                <a:gd name="connsiteX8" fmla="*/ 51490 w 60779"/>
                <a:gd name="connsiteY8" fmla="*/ 793 h 27899"/>
                <a:gd name="connsiteX9" fmla="*/ 53938 w 60779"/>
                <a:gd name="connsiteY9" fmla="*/ 1802 h 27899"/>
                <a:gd name="connsiteX10" fmla="*/ 58259 w 60779"/>
                <a:gd name="connsiteY10" fmla="*/ 5407 h 27899"/>
                <a:gd name="connsiteX11" fmla="*/ 59699 w 60779"/>
                <a:gd name="connsiteY11" fmla="*/ 7209 h 27899"/>
                <a:gd name="connsiteX12" fmla="*/ 60563 w 60779"/>
                <a:gd name="connsiteY12" fmla="*/ 9300 h 27899"/>
                <a:gd name="connsiteX13" fmla="*/ 60779 w 60779"/>
                <a:gd name="connsiteY13" fmla="*/ 11607 h 27899"/>
                <a:gd name="connsiteX14" fmla="*/ 60203 w 60779"/>
                <a:gd name="connsiteY14" fmla="*/ 13914 h 27899"/>
                <a:gd name="connsiteX15" fmla="*/ 57683 w 60779"/>
                <a:gd name="connsiteY15" fmla="*/ 20979 h 27899"/>
                <a:gd name="connsiteX16" fmla="*/ 56243 w 60779"/>
                <a:gd name="connsiteY16" fmla="*/ 24079 h 27899"/>
                <a:gd name="connsiteX17" fmla="*/ 54154 w 60779"/>
                <a:gd name="connsiteY17" fmla="*/ 26602 h 27899"/>
                <a:gd name="connsiteX18" fmla="*/ 52930 w 60779"/>
                <a:gd name="connsiteY18" fmla="*/ 27179 h 27899"/>
                <a:gd name="connsiteX19" fmla="*/ 51490 w 60779"/>
                <a:gd name="connsiteY19" fmla="*/ 27251 h 27899"/>
                <a:gd name="connsiteX20" fmla="*/ 47961 w 60779"/>
                <a:gd name="connsiteY20" fmla="*/ 26602 h 27899"/>
                <a:gd name="connsiteX21" fmla="*/ 44288 w 60779"/>
                <a:gd name="connsiteY21" fmla="*/ 25593 h 27899"/>
                <a:gd name="connsiteX22" fmla="*/ 41120 w 60779"/>
                <a:gd name="connsiteY22" fmla="*/ 25160 h 27899"/>
                <a:gd name="connsiteX23" fmla="*/ 38815 w 60779"/>
                <a:gd name="connsiteY23" fmla="*/ 25737 h 27899"/>
                <a:gd name="connsiteX24" fmla="*/ 36799 w 60779"/>
                <a:gd name="connsiteY24" fmla="*/ 26746 h 27899"/>
                <a:gd name="connsiteX25" fmla="*/ 34711 w 60779"/>
                <a:gd name="connsiteY25" fmla="*/ 27612 h 27899"/>
                <a:gd name="connsiteX26" fmla="*/ 32334 w 60779"/>
                <a:gd name="connsiteY26" fmla="*/ 27900 h 27899"/>
                <a:gd name="connsiteX27" fmla="*/ 25565 w 60779"/>
                <a:gd name="connsiteY27" fmla="*/ 26098 h 27899"/>
                <a:gd name="connsiteX28" fmla="*/ 21748 w 60779"/>
                <a:gd name="connsiteY28" fmla="*/ 25593 h 27899"/>
                <a:gd name="connsiteX29" fmla="*/ 17355 w 60779"/>
                <a:gd name="connsiteY29" fmla="*/ 26314 h 27899"/>
                <a:gd name="connsiteX30" fmla="*/ 16203 w 60779"/>
                <a:gd name="connsiteY30" fmla="*/ 26458 h 27899"/>
                <a:gd name="connsiteX31" fmla="*/ 15123 w 60779"/>
                <a:gd name="connsiteY31" fmla="*/ 25953 h 27899"/>
                <a:gd name="connsiteX32" fmla="*/ 13971 w 60779"/>
                <a:gd name="connsiteY32" fmla="*/ 25377 h 27899"/>
                <a:gd name="connsiteX33" fmla="*/ 12746 w 60779"/>
                <a:gd name="connsiteY33" fmla="*/ 25088 h 27899"/>
                <a:gd name="connsiteX34" fmla="*/ 10082 w 60779"/>
                <a:gd name="connsiteY34" fmla="*/ 25016 h 27899"/>
                <a:gd name="connsiteX35" fmla="*/ 9074 w 60779"/>
                <a:gd name="connsiteY35" fmla="*/ 24656 h 27899"/>
                <a:gd name="connsiteX36" fmla="*/ 8570 w 60779"/>
                <a:gd name="connsiteY36" fmla="*/ 24079 h 27899"/>
                <a:gd name="connsiteX37" fmla="*/ 5329 w 60779"/>
                <a:gd name="connsiteY37" fmla="*/ 19105 h 27899"/>
                <a:gd name="connsiteX38" fmla="*/ 1872 w 60779"/>
                <a:gd name="connsiteY38" fmla="*/ 14995 h 27899"/>
                <a:gd name="connsiteX39" fmla="*/ 432 w 60779"/>
                <a:gd name="connsiteY39" fmla="*/ 13121 h 27899"/>
                <a:gd name="connsiteX40" fmla="*/ 0 w 60779"/>
                <a:gd name="connsiteY40" fmla="*/ 10958 h 27899"/>
                <a:gd name="connsiteX41" fmla="*/ 792 w 60779"/>
                <a:gd name="connsiteY41" fmla="*/ 8363 h 27899"/>
                <a:gd name="connsiteX42" fmla="*/ 2664 w 60779"/>
                <a:gd name="connsiteY42" fmla="*/ 5623 h 27899"/>
                <a:gd name="connsiteX43" fmla="*/ 7129 w 60779"/>
                <a:gd name="connsiteY43" fmla="*/ 0 h 27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0779" h="27899">
                  <a:moveTo>
                    <a:pt x="7129" y="0"/>
                  </a:moveTo>
                  <a:lnTo>
                    <a:pt x="16635" y="1226"/>
                  </a:lnTo>
                  <a:lnTo>
                    <a:pt x="19804" y="1586"/>
                  </a:lnTo>
                  <a:lnTo>
                    <a:pt x="22540" y="1081"/>
                  </a:lnTo>
                  <a:lnTo>
                    <a:pt x="26213" y="721"/>
                  </a:lnTo>
                  <a:lnTo>
                    <a:pt x="31974" y="1153"/>
                  </a:lnTo>
                  <a:lnTo>
                    <a:pt x="40256" y="1298"/>
                  </a:lnTo>
                  <a:lnTo>
                    <a:pt x="48609" y="865"/>
                  </a:lnTo>
                  <a:lnTo>
                    <a:pt x="51490" y="793"/>
                  </a:lnTo>
                  <a:lnTo>
                    <a:pt x="53938" y="1802"/>
                  </a:lnTo>
                  <a:lnTo>
                    <a:pt x="58259" y="5407"/>
                  </a:lnTo>
                  <a:lnTo>
                    <a:pt x="59699" y="7209"/>
                  </a:lnTo>
                  <a:lnTo>
                    <a:pt x="60563" y="9300"/>
                  </a:lnTo>
                  <a:lnTo>
                    <a:pt x="60779" y="11607"/>
                  </a:lnTo>
                  <a:lnTo>
                    <a:pt x="60203" y="13914"/>
                  </a:lnTo>
                  <a:lnTo>
                    <a:pt x="57683" y="20979"/>
                  </a:lnTo>
                  <a:lnTo>
                    <a:pt x="56243" y="24079"/>
                  </a:lnTo>
                  <a:lnTo>
                    <a:pt x="54154" y="26602"/>
                  </a:lnTo>
                  <a:lnTo>
                    <a:pt x="52930" y="27179"/>
                  </a:lnTo>
                  <a:lnTo>
                    <a:pt x="51490" y="27251"/>
                  </a:lnTo>
                  <a:lnTo>
                    <a:pt x="47961" y="26602"/>
                  </a:lnTo>
                  <a:lnTo>
                    <a:pt x="44288" y="25593"/>
                  </a:lnTo>
                  <a:lnTo>
                    <a:pt x="41120" y="25160"/>
                  </a:lnTo>
                  <a:lnTo>
                    <a:pt x="38815" y="25737"/>
                  </a:lnTo>
                  <a:lnTo>
                    <a:pt x="36799" y="26746"/>
                  </a:lnTo>
                  <a:lnTo>
                    <a:pt x="34711" y="27612"/>
                  </a:lnTo>
                  <a:lnTo>
                    <a:pt x="32334" y="27900"/>
                  </a:lnTo>
                  <a:lnTo>
                    <a:pt x="25565" y="26098"/>
                  </a:lnTo>
                  <a:lnTo>
                    <a:pt x="21748" y="25593"/>
                  </a:lnTo>
                  <a:lnTo>
                    <a:pt x="17355" y="26314"/>
                  </a:lnTo>
                  <a:lnTo>
                    <a:pt x="16203" y="26458"/>
                  </a:lnTo>
                  <a:lnTo>
                    <a:pt x="15123" y="25953"/>
                  </a:lnTo>
                  <a:lnTo>
                    <a:pt x="13971" y="25377"/>
                  </a:lnTo>
                  <a:lnTo>
                    <a:pt x="12746" y="25088"/>
                  </a:lnTo>
                  <a:lnTo>
                    <a:pt x="10082" y="25016"/>
                  </a:lnTo>
                  <a:lnTo>
                    <a:pt x="9074" y="24656"/>
                  </a:lnTo>
                  <a:lnTo>
                    <a:pt x="8570" y="24079"/>
                  </a:lnTo>
                  <a:lnTo>
                    <a:pt x="5329" y="19105"/>
                  </a:lnTo>
                  <a:lnTo>
                    <a:pt x="1872" y="14995"/>
                  </a:lnTo>
                  <a:lnTo>
                    <a:pt x="432" y="13121"/>
                  </a:lnTo>
                  <a:lnTo>
                    <a:pt x="0" y="10958"/>
                  </a:lnTo>
                  <a:lnTo>
                    <a:pt x="792" y="8363"/>
                  </a:lnTo>
                  <a:lnTo>
                    <a:pt x="2664" y="5623"/>
                  </a:lnTo>
                  <a:lnTo>
                    <a:pt x="7129" y="0"/>
                  </a:lnTo>
                </a:path>
              </a:pathLst>
            </a:custGeom>
            <a:solidFill>
              <a:srgbClr val="A9218E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740954F5-1737-6C2C-9327-1DD984796A05}"/>
                </a:ext>
              </a:extLst>
            </p:cNvPr>
            <p:cNvSpPr/>
            <p:nvPr/>
          </p:nvSpPr>
          <p:spPr>
            <a:xfrm>
              <a:off x="9664305" y="3546780"/>
              <a:ext cx="69565" cy="39506"/>
            </a:xfrm>
            <a:custGeom>
              <a:avLst/>
              <a:gdLst>
                <a:gd name="connsiteX0" fmla="*/ 22180 w 69565"/>
                <a:gd name="connsiteY0" fmla="*/ 216 h 39506"/>
                <a:gd name="connsiteX1" fmla="*/ 25709 w 69565"/>
                <a:gd name="connsiteY1" fmla="*/ 0 h 39506"/>
                <a:gd name="connsiteX2" fmla="*/ 29238 w 69565"/>
                <a:gd name="connsiteY2" fmla="*/ 360 h 39506"/>
                <a:gd name="connsiteX3" fmla="*/ 49545 w 69565"/>
                <a:gd name="connsiteY3" fmla="*/ 2379 h 39506"/>
                <a:gd name="connsiteX4" fmla="*/ 55234 w 69565"/>
                <a:gd name="connsiteY4" fmla="*/ 3244 h 39506"/>
                <a:gd name="connsiteX5" fmla="*/ 60635 w 69565"/>
                <a:gd name="connsiteY5" fmla="*/ 4758 h 39506"/>
                <a:gd name="connsiteX6" fmla="*/ 63084 w 69565"/>
                <a:gd name="connsiteY6" fmla="*/ 6272 h 39506"/>
                <a:gd name="connsiteX7" fmla="*/ 65244 w 69565"/>
                <a:gd name="connsiteY7" fmla="*/ 8435 h 39506"/>
                <a:gd name="connsiteX8" fmla="*/ 67045 w 69565"/>
                <a:gd name="connsiteY8" fmla="*/ 11679 h 39506"/>
                <a:gd name="connsiteX9" fmla="*/ 68485 w 69565"/>
                <a:gd name="connsiteY9" fmla="*/ 16005 h 39506"/>
                <a:gd name="connsiteX10" fmla="*/ 69565 w 69565"/>
                <a:gd name="connsiteY10" fmla="*/ 23358 h 39506"/>
                <a:gd name="connsiteX11" fmla="*/ 69205 w 69565"/>
                <a:gd name="connsiteY11" fmla="*/ 27035 h 39506"/>
                <a:gd name="connsiteX12" fmla="*/ 67837 w 69565"/>
                <a:gd name="connsiteY12" fmla="*/ 30423 h 39506"/>
                <a:gd name="connsiteX13" fmla="*/ 65964 w 69565"/>
                <a:gd name="connsiteY13" fmla="*/ 32586 h 39506"/>
                <a:gd name="connsiteX14" fmla="*/ 63516 w 69565"/>
                <a:gd name="connsiteY14" fmla="*/ 34460 h 39506"/>
                <a:gd name="connsiteX15" fmla="*/ 56963 w 69565"/>
                <a:gd name="connsiteY15" fmla="*/ 37272 h 39506"/>
                <a:gd name="connsiteX16" fmla="*/ 39751 w 69565"/>
                <a:gd name="connsiteY16" fmla="*/ 39507 h 39506"/>
                <a:gd name="connsiteX17" fmla="*/ 34278 w 69565"/>
                <a:gd name="connsiteY17" fmla="*/ 38786 h 39506"/>
                <a:gd name="connsiteX18" fmla="*/ 29021 w 69565"/>
                <a:gd name="connsiteY18" fmla="*/ 37272 h 39506"/>
                <a:gd name="connsiteX19" fmla="*/ 23764 w 69565"/>
                <a:gd name="connsiteY19" fmla="*/ 35830 h 39506"/>
                <a:gd name="connsiteX20" fmla="*/ 18652 w 69565"/>
                <a:gd name="connsiteY20" fmla="*/ 35253 h 39506"/>
                <a:gd name="connsiteX21" fmla="*/ 11450 w 69565"/>
                <a:gd name="connsiteY21" fmla="*/ 34388 h 39506"/>
                <a:gd name="connsiteX22" fmla="*/ 6049 w 69565"/>
                <a:gd name="connsiteY22" fmla="*/ 31721 h 39506"/>
                <a:gd name="connsiteX23" fmla="*/ 2448 w 69565"/>
                <a:gd name="connsiteY23" fmla="*/ 27900 h 39506"/>
                <a:gd name="connsiteX24" fmla="*/ 504 w 69565"/>
                <a:gd name="connsiteY24" fmla="*/ 23574 h 39506"/>
                <a:gd name="connsiteX25" fmla="*/ 0 w 69565"/>
                <a:gd name="connsiteY25" fmla="*/ 18816 h 39506"/>
                <a:gd name="connsiteX26" fmla="*/ 1152 w 69565"/>
                <a:gd name="connsiteY26" fmla="*/ 14707 h 39506"/>
                <a:gd name="connsiteX27" fmla="*/ 3529 w 69565"/>
                <a:gd name="connsiteY27" fmla="*/ 11246 h 39506"/>
                <a:gd name="connsiteX28" fmla="*/ 6625 w 69565"/>
                <a:gd name="connsiteY28" fmla="*/ 8507 h 39506"/>
                <a:gd name="connsiteX29" fmla="*/ 13395 w 69565"/>
                <a:gd name="connsiteY29" fmla="*/ 4758 h 39506"/>
                <a:gd name="connsiteX30" fmla="*/ 18003 w 69565"/>
                <a:gd name="connsiteY30" fmla="*/ 3100 h 39506"/>
                <a:gd name="connsiteX31" fmla="*/ 19156 w 69565"/>
                <a:gd name="connsiteY31" fmla="*/ 2523 h 39506"/>
                <a:gd name="connsiteX32" fmla="*/ 19948 w 69565"/>
                <a:gd name="connsiteY32" fmla="*/ 1730 h 39506"/>
                <a:gd name="connsiteX33" fmla="*/ 20812 w 69565"/>
                <a:gd name="connsiteY33" fmla="*/ 865 h 39506"/>
                <a:gd name="connsiteX34" fmla="*/ 22180 w 69565"/>
                <a:gd name="connsiteY34" fmla="*/ 216 h 3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9565" h="39506">
                  <a:moveTo>
                    <a:pt x="22180" y="216"/>
                  </a:moveTo>
                  <a:lnTo>
                    <a:pt x="25709" y="0"/>
                  </a:lnTo>
                  <a:lnTo>
                    <a:pt x="29238" y="360"/>
                  </a:lnTo>
                  <a:lnTo>
                    <a:pt x="49545" y="2379"/>
                  </a:lnTo>
                  <a:lnTo>
                    <a:pt x="55234" y="3244"/>
                  </a:lnTo>
                  <a:lnTo>
                    <a:pt x="60635" y="4758"/>
                  </a:lnTo>
                  <a:lnTo>
                    <a:pt x="63084" y="6272"/>
                  </a:lnTo>
                  <a:lnTo>
                    <a:pt x="65244" y="8435"/>
                  </a:lnTo>
                  <a:lnTo>
                    <a:pt x="67045" y="11679"/>
                  </a:lnTo>
                  <a:lnTo>
                    <a:pt x="68485" y="16005"/>
                  </a:lnTo>
                  <a:lnTo>
                    <a:pt x="69565" y="23358"/>
                  </a:lnTo>
                  <a:lnTo>
                    <a:pt x="69205" y="27035"/>
                  </a:lnTo>
                  <a:lnTo>
                    <a:pt x="67837" y="30423"/>
                  </a:lnTo>
                  <a:lnTo>
                    <a:pt x="65964" y="32586"/>
                  </a:lnTo>
                  <a:lnTo>
                    <a:pt x="63516" y="34460"/>
                  </a:lnTo>
                  <a:lnTo>
                    <a:pt x="56963" y="37272"/>
                  </a:lnTo>
                  <a:lnTo>
                    <a:pt x="39751" y="39507"/>
                  </a:lnTo>
                  <a:lnTo>
                    <a:pt x="34278" y="38786"/>
                  </a:lnTo>
                  <a:lnTo>
                    <a:pt x="29021" y="37272"/>
                  </a:lnTo>
                  <a:lnTo>
                    <a:pt x="23764" y="35830"/>
                  </a:lnTo>
                  <a:lnTo>
                    <a:pt x="18652" y="35253"/>
                  </a:lnTo>
                  <a:lnTo>
                    <a:pt x="11450" y="34388"/>
                  </a:lnTo>
                  <a:lnTo>
                    <a:pt x="6049" y="31721"/>
                  </a:lnTo>
                  <a:lnTo>
                    <a:pt x="2448" y="27900"/>
                  </a:lnTo>
                  <a:lnTo>
                    <a:pt x="504" y="23574"/>
                  </a:lnTo>
                  <a:lnTo>
                    <a:pt x="0" y="18816"/>
                  </a:lnTo>
                  <a:lnTo>
                    <a:pt x="1152" y="14707"/>
                  </a:lnTo>
                  <a:lnTo>
                    <a:pt x="3529" y="11246"/>
                  </a:lnTo>
                  <a:lnTo>
                    <a:pt x="6625" y="8507"/>
                  </a:lnTo>
                  <a:lnTo>
                    <a:pt x="13395" y="4758"/>
                  </a:lnTo>
                  <a:lnTo>
                    <a:pt x="18003" y="3100"/>
                  </a:lnTo>
                  <a:lnTo>
                    <a:pt x="19156" y="2523"/>
                  </a:lnTo>
                  <a:lnTo>
                    <a:pt x="19948" y="1730"/>
                  </a:lnTo>
                  <a:lnTo>
                    <a:pt x="20812" y="865"/>
                  </a:lnTo>
                  <a:lnTo>
                    <a:pt x="22180" y="216"/>
                  </a:lnTo>
                </a:path>
              </a:pathLst>
            </a:custGeom>
            <a:solidFill>
              <a:srgbClr val="353D98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B62AB3C2-0490-10AB-95FA-106D0725E83D}"/>
                </a:ext>
              </a:extLst>
            </p:cNvPr>
            <p:cNvSpPr/>
            <p:nvPr/>
          </p:nvSpPr>
          <p:spPr>
            <a:xfrm>
              <a:off x="9669201" y="3603950"/>
              <a:ext cx="58186" cy="38137"/>
            </a:xfrm>
            <a:custGeom>
              <a:avLst/>
              <a:gdLst>
                <a:gd name="connsiteX0" fmla="*/ 32838 w 58186"/>
                <a:gd name="connsiteY0" fmla="*/ 0 h 38137"/>
                <a:gd name="connsiteX1" fmla="*/ 39463 w 58186"/>
                <a:gd name="connsiteY1" fmla="*/ 577 h 38137"/>
                <a:gd name="connsiteX2" fmla="*/ 46377 w 58186"/>
                <a:gd name="connsiteY2" fmla="*/ 3100 h 38137"/>
                <a:gd name="connsiteX3" fmla="*/ 48393 w 58186"/>
                <a:gd name="connsiteY3" fmla="*/ 5046 h 38137"/>
                <a:gd name="connsiteX4" fmla="*/ 50049 w 58186"/>
                <a:gd name="connsiteY4" fmla="*/ 6560 h 38137"/>
                <a:gd name="connsiteX5" fmla="*/ 53506 w 58186"/>
                <a:gd name="connsiteY5" fmla="*/ 7281 h 38137"/>
                <a:gd name="connsiteX6" fmla="*/ 55162 w 58186"/>
                <a:gd name="connsiteY6" fmla="*/ 7786 h 38137"/>
                <a:gd name="connsiteX7" fmla="*/ 56243 w 58186"/>
                <a:gd name="connsiteY7" fmla="*/ 8723 h 38137"/>
                <a:gd name="connsiteX8" fmla="*/ 58043 w 58186"/>
                <a:gd name="connsiteY8" fmla="*/ 16653 h 38137"/>
                <a:gd name="connsiteX9" fmla="*/ 58187 w 58186"/>
                <a:gd name="connsiteY9" fmla="*/ 21700 h 38137"/>
                <a:gd name="connsiteX10" fmla="*/ 57395 w 58186"/>
                <a:gd name="connsiteY10" fmla="*/ 25881 h 38137"/>
                <a:gd name="connsiteX11" fmla="*/ 55882 w 58186"/>
                <a:gd name="connsiteY11" fmla="*/ 28477 h 38137"/>
                <a:gd name="connsiteX12" fmla="*/ 53722 w 58186"/>
                <a:gd name="connsiteY12" fmla="*/ 30784 h 38137"/>
                <a:gd name="connsiteX13" fmla="*/ 48033 w 58186"/>
                <a:gd name="connsiteY13" fmla="*/ 34388 h 38137"/>
                <a:gd name="connsiteX14" fmla="*/ 40904 w 58186"/>
                <a:gd name="connsiteY14" fmla="*/ 36767 h 38137"/>
                <a:gd name="connsiteX15" fmla="*/ 32910 w 58186"/>
                <a:gd name="connsiteY15" fmla="*/ 37993 h 38137"/>
                <a:gd name="connsiteX16" fmla="*/ 24701 w 58186"/>
                <a:gd name="connsiteY16" fmla="*/ 38137 h 38137"/>
                <a:gd name="connsiteX17" fmla="*/ 16851 w 58186"/>
                <a:gd name="connsiteY17" fmla="*/ 37200 h 38137"/>
                <a:gd name="connsiteX18" fmla="*/ 9938 w 58186"/>
                <a:gd name="connsiteY18" fmla="*/ 35398 h 38137"/>
                <a:gd name="connsiteX19" fmla="*/ 4681 w 58186"/>
                <a:gd name="connsiteY19" fmla="*/ 32730 h 38137"/>
                <a:gd name="connsiteX20" fmla="*/ 3025 w 58186"/>
                <a:gd name="connsiteY20" fmla="*/ 31144 h 38137"/>
                <a:gd name="connsiteX21" fmla="*/ 1872 w 58186"/>
                <a:gd name="connsiteY21" fmla="*/ 29270 h 38137"/>
                <a:gd name="connsiteX22" fmla="*/ 432 w 58186"/>
                <a:gd name="connsiteY22" fmla="*/ 25016 h 38137"/>
                <a:gd name="connsiteX23" fmla="*/ 0 w 58186"/>
                <a:gd name="connsiteY23" fmla="*/ 20330 h 38137"/>
                <a:gd name="connsiteX24" fmla="*/ 936 w 58186"/>
                <a:gd name="connsiteY24" fmla="*/ 16221 h 38137"/>
                <a:gd name="connsiteX25" fmla="*/ 3097 w 58186"/>
                <a:gd name="connsiteY25" fmla="*/ 12688 h 38137"/>
                <a:gd name="connsiteX26" fmla="*/ 5977 w 58186"/>
                <a:gd name="connsiteY26" fmla="*/ 9733 h 38137"/>
                <a:gd name="connsiteX27" fmla="*/ 13106 w 58186"/>
                <a:gd name="connsiteY27" fmla="*/ 5623 h 38137"/>
                <a:gd name="connsiteX28" fmla="*/ 19732 w 58186"/>
                <a:gd name="connsiteY28" fmla="*/ 3821 h 38137"/>
                <a:gd name="connsiteX29" fmla="*/ 26429 w 58186"/>
                <a:gd name="connsiteY29" fmla="*/ 1802 h 38137"/>
                <a:gd name="connsiteX30" fmla="*/ 32838 w 58186"/>
                <a:gd name="connsiteY30" fmla="*/ 0 h 3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8186" h="38137">
                  <a:moveTo>
                    <a:pt x="32838" y="0"/>
                  </a:moveTo>
                  <a:lnTo>
                    <a:pt x="39463" y="577"/>
                  </a:lnTo>
                  <a:lnTo>
                    <a:pt x="46377" y="3100"/>
                  </a:lnTo>
                  <a:lnTo>
                    <a:pt x="48393" y="5046"/>
                  </a:lnTo>
                  <a:lnTo>
                    <a:pt x="50049" y="6560"/>
                  </a:lnTo>
                  <a:lnTo>
                    <a:pt x="53506" y="7281"/>
                  </a:lnTo>
                  <a:lnTo>
                    <a:pt x="55162" y="7786"/>
                  </a:lnTo>
                  <a:lnTo>
                    <a:pt x="56243" y="8723"/>
                  </a:lnTo>
                  <a:lnTo>
                    <a:pt x="58043" y="16653"/>
                  </a:lnTo>
                  <a:lnTo>
                    <a:pt x="58187" y="21700"/>
                  </a:lnTo>
                  <a:lnTo>
                    <a:pt x="57395" y="25881"/>
                  </a:lnTo>
                  <a:lnTo>
                    <a:pt x="55882" y="28477"/>
                  </a:lnTo>
                  <a:lnTo>
                    <a:pt x="53722" y="30784"/>
                  </a:lnTo>
                  <a:lnTo>
                    <a:pt x="48033" y="34388"/>
                  </a:lnTo>
                  <a:lnTo>
                    <a:pt x="40904" y="36767"/>
                  </a:lnTo>
                  <a:lnTo>
                    <a:pt x="32910" y="37993"/>
                  </a:lnTo>
                  <a:lnTo>
                    <a:pt x="24701" y="38137"/>
                  </a:lnTo>
                  <a:lnTo>
                    <a:pt x="16851" y="37200"/>
                  </a:lnTo>
                  <a:lnTo>
                    <a:pt x="9938" y="35398"/>
                  </a:lnTo>
                  <a:lnTo>
                    <a:pt x="4681" y="32730"/>
                  </a:lnTo>
                  <a:lnTo>
                    <a:pt x="3025" y="31144"/>
                  </a:lnTo>
                  <a:lnTo>
                    <a:pt x="1872" y="29270"/>
                  </a:lnTo>
                  <a:lnTo>
                    <a:pt x="432" y="25016"/>
                  </a:lnTo>
                  <a:lnTo>
                    <a:pt x="0" y="20330"/>
                  </a:lnTo>
                  <a:lnTo>
                    <a:pt x="936" y="16221"/>
                  </a:lnTo>
                  <a:lnTo>
                    <a:pt x="3097" y="12688"/>
                  </a:lnTo>
                  <a:lnTo>
                    <a:pt x="5977" y="9733"/>
                  </a:lnTo>
                  <a:lnTo>
                    <a:pt x="13106" y="5623"/>
                  </a:lnTo>
                  <a:lnTo>
                    <a:pt x="19732" y="3821"/>
                  </a:lnTo>
                  <a:lnTo>
                    <a:pt x="26429" y="1802"/>
                  </a:lnTo>
                  <a:lnTo>
                    <a:pt x="32838" y="0"/>
                  </a:lnTo>
                </a:path>
              </a:pathLst>
            </a:custGeom>
            <a:solidFill>
              <a:srgbClr val="002E56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91407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xmlns="" id="{DEA6FB04-DAE1-1995-B718-C0B7AEF5A7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0455" b="33135"/>
          <a:stretch>
            <a:fillRect/>
          </a:stretch>
        </p:blipFill>
        <p:spPr>
          <a:xfrm rot="20871425" flipV="1">
            <a:off x="10145111" y="-263104"/>
            <a:ext cx="2234674" cy="2509402"/>
          </a:xfrm>
          <a:custGeom>
            <a:avLst/>
            <a:gdLst>
              <a:gd name="connsiteX0" fmla="*/ 0 w 2234674"/>
              <a:gd name="connsiteY0" fmla="*/ 2509402 h 2509402"/>
              <a:gd name="connsiteX1" fmla="*/ 2234674 w 2234674"/>
              <a:gd name="connsiteY1" fmla="*/ 2028579 h 2509402"/>
              <a:gd name="connsiteX2" fmla="*/ 1798195 w 2234674"/>
              <a:gd name="connsiteY2" fmla="*/ 0 h 2509402"/>
              <a:gd name="connsiteX3" fmla="*/ 0 w 2234674"/>
              <a:gd name="connsiteY3" fmla="*/ 0 h 2509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674" h="2509402">
                <a:moveTo>
                  <a:pt x="0" y="2509402"/>
                </a:moveTo>
                <a:lnTo>
                  <a:pt x="2234674" y="2028579"/>
                </a:lnTo>
                <a:lnTo>
                  <a:pt x="1798195" y="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679E38BC-1315-EA4A-9C05-F745E7958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456" y="459044"/>
            <a:ext cx="9378960" cy="1005840"/>
          </a:xfrm>
        </p:spPr>
        <p:txBody>
          <a:bodyPr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gradFill flip="none" rotWithShape="1">
                  <a:gsLst>
                    <a:gs pos="100000">
                      <a:schemeClr val="accent5"/>
                    </a:gs>
                    <a:gs pos="0">
                      <a:schemeClr val="accent1"/>
                    </a:gs>
                  </a:gsLst>
                  <a:lin ang="10800000" scaled="1"/>
                  <a:tileRect/>
                </a:gra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xmlns="" id="{26C77CD8-EB7A-1BCF-B9BE-8242EFA6FC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456" y="1508760"/>
            <a:ext cx="9375854" cy="313932"/>
          </a:xfrm>
        </p:spPr>
        <p:txBody>
          <a:bodyPr lIns="91440" tIns="45720" rIns="91440" bIns="45720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Bold 16pt)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7FC39600-045A-15DD-7FF5-C117A9367B40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D10E7CC7-CDC8-E0E2-B703-868146152D31}"/>
              </a:ext>
            </a:extLst>
          </p:cNvPr>
          <p:cNvGrpSpPr/>
          <p:nvPr userDrawn="1"/>
        </p:nvGrpSpPr>
        <p:grpSpPr>
          <a:xfrm>
            <a:off x="10700593" y="581023"/>
            <a:ext cx="1321993" cy="193096"/>
            <a:chOff x="10700593" y="581023"/>
            <a:chExt cx="1321993" cy="193096"/>
          </a:xfrm>
        </p:grpSpPr>
        <p:grpSp>
          <p:nvGrpSpPr>
            <p:cNvPr id="5" name="Picture 11">
              <a:extLst>
                <a:ext uri="{FF2B5EF4-FFF2-40B4-BE49-F238E27FC236}">
                  <a16:creationId xmlns:a16="http://schemas.microsoft.com/office/drawing/2014/main" xmlns="" id="{A5AF32FE-458C-7E30-0B0E-99BFBFA21C73}"/>
                </a:ext>
              </a:extLst>
            </p:cNvPr>
            <p:cNvGrpSpPr/>
            <p:nvPr/>
          </p:nvGrpSpPr>
          <p:grpSpPr>
            <a:xfrm>
              <a:off x="10700593" y="581023"/>
              <a:ext cx="1321993" cy="190478"/>
              <a:chOff x="10700593" y="581023"/>
              <a:chExt cx="1321993" cy="190478"/>
            </a:xfrm>
            <a:solidFill>
              <a:schemeClr val="bg1"/>
            </a:solidFill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xmlns="" id="{44D628FA-E158-45C8-4038-7F107C206DB5}"/>
                  </a:ext>
                </a:extLst>
              </p:cNvPr>
              <p:cNvSpPr/>
              <p:nvPr/>
            </p:nvSpPr>
            <p:spPr>
              <a:xfrm>
                <a:off x="11373813" y="581023"/>
                <a:ext cx="163467" cy="186595"/>
              </a:xfrm>
              <a:custGeom>
                <a:avLst/>
                <a:gdLst>
                  <a:gd name="connsiteX0" fmla="*/ 81712 w 163467"/>
                  <a:gd name="connsiteY0" fmla="*/ 0 h 186595"/>
                  <a:gd name="connsiteX1" fmla="*/ 0 w 163467"/>
                  <a:gd name="connsiteY1" fmla="*/ 186596 h 186595"/>
                  <a:gd name="connsiteX2" fmla="*/ 17519 w 163467"/>
                  <a:gd name="connsiteY2" fmla="*/ 186596 h 186595"/>
                  <a:gd name="connsiteX3" fmla="*/ 46151 w 163467"/>
                  <a:gd name="connsiteY3" fmla="*/ 121198 h 186595"/>
                  <a:gd name="connsiteX4" fmla="*/ 117360 w 163467"/>
                  <a:gd name="connsiteY4" fmla="*/ 121198 h 186595"/>
                  <a:gd name="connsiteX5" fmla="*/ 146167 w 163467"/>
                  <a:gd name="connsiteY5" fmla="*/ 186596 h 186595"/>
                  <a:gd name="connsiteX6" fmla="*/ 163468 w 163467"/>
                  <a:gd name="connsiteY6" fmla="*/ 186596 h 186595"/>
                  <a:gd name="connsiteX7" fmla="*/ 81712 w 163467"/>
                  <a:gd name="connsiteY7" fmla="*/ 0 h 186595"/>
                  <a:gd name="connsiteX8" fmla="*/ 53037 w 163467"/>
                  <a:gd name="connsiteY8" fmla="*/ 105361 h 186595"/>
                  <a:gd name="connsiteX9" fmla="*/ 81581 w 163467"/>
                  <a:gd name="connsiteY9" fmla="*/ 40050 h 186595"/>
                  <a:gd name="connsiteX10" fmla="*/ 110344 w 163467"/>
                  <a:gd name="connsiteY10" fmla="*/ 105361 h 186595"/>
                  <a:gd name="connsiteX11" fmla="*/ 52993 w 163467"/>
                  <a:gd name="connsiteY11" fmla="*/ 105361 h 186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3467" h="186595">
                    <a:moveTo>
                      <a:pt x="81712" y="0"/>
                    </a:moveTo>
                    <a:lnTo>
                      <a:pt x="0" y="186596"/>
                    </a:lnTo>
                    <a:lnTo>
                      <a:pt x="17519" y="186596"/>
                    </a:lnTo>
                    <a:lnTo>
                      <a:pt x="46151" y="121198"/>
                    </a:lnTo>
                    <a:lnTo>
                      <a:pt x="117360" y="121198"/>
                    </a:lnTo>
                    <a:lnTo>
                      <a:pt x="146167" y="186596"/>
                    </a:lnTo>
                    <a:lnTo>
                      <a:pt x="163468" y="186596"/>
                    </a:lnTo>
                    <a:lnTo>
                      <a:pt x="81712" y="0"/>
                    </a:lnTo>
                    <a:close/>
                    <a:moveTo>
                      <a:pt x="53037" y="105361"/>
                    </a:moveTo>
                    <a:lnTo>
                      <a:pt x="81581" y="40050"/>
                    </a:lnTo>
                    <a:lnTo>
                      <a:pt x="110344" y="105361"/>
                    </a:lnTo>
                    <a:lnTo>
                      <a:pt x="52993" y="105361"/>
                    </a:lnTo>
                    <a:close/>
                  </a:path>
                </a:pathLst>
              </a:custGeom>
              <a:solidFill>
                <a:schemeClr val="bg1"/>
              </a:solidFill>
              <a:ln w="4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xmlns="" id="{437AFEF5-3674-48CE-9AA4-0E50F9D50D30}"/>
                  </a:ext>
                </a:extLst>
              </p:cNvPr>
              <p:cNvSpPr/>
              <p:nvPr/>
            </p:nvSpPr>
            <p:spPr>
              <a:xfrm>
                <a:off x="11752696" y="584905"/>
                <a:ext cx="15819" cy="182669"/>
              </a:xfrm>
              <a:custGeom>
                <a:avLst/>
                <a:gdLst>
                  <a:gd name="connsiteX0" fmla="*/ 0 w 15819"/>
                  <a:gd name="connsiteY0" fmla="*/ 0 h 182669"/>
                  <a:gd name="connsiteX1" fmla="*/ 15819 w 15819"/>
                  <a:gd name="connsiteY1" fmla="*/ 0 h 182669"/>
                  <a:gd name="connsiteX2" fmla="*/ 15819 w 15819"/>
                  <a:gd name="connsiteY2" fmla="*/ 182669 h 182669"/>
                  <a:gd name="connsiteX3" fmla="*/ 0 w 15819"/>
                  <a:gd name="connsiteY3" fmla="*/ 182669 h 182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819" h="182669">
                    <a:moveTo>
                      <a:pt x="0" y="0"/>
                    </a:moveTo>
                    <a:lnTo>
                      <a:pt x="15819" y="0"/>
                    </a:lnTo>
                    <a:lnTo>
                      <a:pt x="15819" y="182669"/>
                    </a:lnTo>
                    <a:lnTo>
                      <a:pt x="0" y="182669"/>
                    </a:lnTo>
                    <a:close/>
                  </a:path>
                </a:pathLst>
              </a:custGeom>
              <a:solidFill>
                <a:schemeClr val="bg1"/>
              </a:solidFill>
              <a:ln w="4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xmlns="" id="{0B4BB593-7CBD-8143-64E2-55BB1A3D11CF}"/>
                  </a:ext>
                </a:extLst>
              </p:cNvPr>
              <p:cNvSpPr/>
              <p:nvPr/>
            </p:nvSpPr>
            <p:spPr>
              <a:xfrm>
                <a:off x="11173172" y="581328"/>
                <a:ext cx="167520" cy="186246"/>
              </a:xfrm>
              <a:custGeom>
                <a:avLst/>
                <a:gdLst>
                  <a:gd name="connsiteX0" fmla="*/ 83368 w 167520"/>
                  <a:gd name="connsiteY0" fmla="*/ 84202 h 186246"/>
                  <a:gd name="connsiteX1" fmla="*/ 0 w 167520"/>
                  <a:gd name="connsiteY1" fmla="*/ 87 h 186246"/>
                  <a:gd name="connsiteX2" fmla="*/ 87 w 167520"/>
                  <a:gd name="connsiteY2" fmla="*/ 186247 h 186246"/>
                  <a:gd name="connsiteX3" fmla="*/ 15907 w 167520"/>
                  <a:gd name="connsiteY3" fmla="*/ 186247 h 186246"/>
                  <a:gd name="connsiteX4" fmla="*/ 15907 w 167520"/>
                  <a:gd name="connsiteY4" fmla="*/ 38698 h 186246"/>
                  <a:gd name="connsiteX5" fmla="*/ 83194 w 167520"/>
                  <a:gd name="connsiteY5" fmla="*/ 106844 h 186246"/>
                  <a:gd name="connsiteX6" fmla="*/ 151701 w 167520"/>
                  <a:gd name="connsiteY6" fmla="*/ 38349 h 186246"/>
                  <a:gd name="connsiteX7" fmla="*/ 151701 w 167520"/>
                  <a:gd name="connsiteY7" fmla="*/ 186247 h 186246"/>
                  <a:gd name="connsiteX8" fmla="*/ 167521 w 167520"/>
                  <a:gd name="connsiteY8" fmla="*/ 186247 h 186246"/>
                  <a:gd name="connsiteX9" fmla="*/ 167521 w 167520"/>
                  <a:gd name="connsiteY9" fmla="*/ 0 h 186246"/>
                  <a:gd name="connsiteX10" fmla="*/ 83368 w 167520"/>
                  <a:gd name="connsiteY10" fmla="*/ 84202 h 186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7520" h="186246">
                    <a:moveTo>
                      <a:pt x="83368" y="84202"/>
                    </a:moveTo>
                    <a:lnTo>
                      <a:pt x="0" y="87"/>
                    </a:lnTo>
                    <a:lnTo>
                      <a:pt x="87" y="186247"/>
                    </a:lnTo>
                    <a:lnTo>
                      <a:pt x="15907" y="186247"/>
                    </a:lnTo>
                    <a:lnTo>
                      <a:pt x="15907" y="38698"/>
                    </a:lnTo>
                    <a:lnTo>
                      <a:pt x="83194" y="106844"/>
                    </a:lnTo>
                    <a:lnTo>
                      <a:pt x="151701" y="38349"/>
                    </a:lnTo>
                    <a:lnTo>
                      <a:pt x="151701" y="186247"/>
                    </a:lnTo>
                    <a:lnTo>
                      <a:pt x="167521" y="186247"/>
                    </a:lnTo>
                    <a:lnTo>
                      <a:pt x="167521" y="0"/>
                    </a:lnTo>
                    <a:lnTo>
                      <a:pt x="83368" y="84202"/>
                    </a:lnTo>
                    <a:close/>
                  </a:path>
                </a:pathLst>
              </a:custGeom>
              <a:solidFill>
                <a:schemeClr val="bg1"/>
              </a:solidFill>
              <a:ln w="4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xmlns="" id="{2F6A7117-CC2A-9758-5EC6-C4E50E1A6201}"/>
                  </a:ext>
                </a:extLst>
              </p:cNvPr>
              <p:cNvSpPr/>
              <p:nvPr/>
            </p:nvSpPr>
            <p:spPr>
              <a:xfrm>
                <a:off x="11833275" y="581808"/>
                <a:ext cx="138104" cy="189693"/>
              </a:xfrm>
              <a:custGeom>
                <a:avLst/>
                <a:gdLst>
                  <a:gd name="connsiteX0" fmla="*/ 122241 w 138104"/>
                  <a:gd name="connsiteY0" fmla="*/ 3098 h 189693"/>
                  <a:gd name="connsiteX1" fmla="*/ 122241 w 138104"/>
                  <a:gd name="connsiteY1" fmla="*/ 145368 h 189693"/>
                  <a:gd name="connsiteX2" fmla="*/ 0 w 138104"/>
                  <a:gd name="connsiteY2" fmla="*/ 0 h 189693"/>
                  <a:gd name="connsiteX3" fmla="*/ 0 w 138104"/>
                  <a:gd name="connsiteY3" fmla="*/ 25304 h 189693"/>
                  <a:gd name="connsiteX4" fmla="*/ 0 w 138104"/>
                  <a:gd name="connsiteY4" fmla="*/ 185767 h 189693"/>
                  <a:gd name="connsiteX5" fmla="*/ 15819 w 138104"/>
                  <a:gd name="connsiteY5" fmla="*/ 185767 h 189693"/>
                  <a:gd name="connsiteX6" fmla="*/ 15819 w 138104"/>
                  <a:gd name="connsiteY6" fmla="*/ 44151 h 189693"/>
                  <a:gd name="connsiteX7" fmla="*/ 138104 w 138104"/>
                  <a:gd name="connsiteY7" fmla="*/ 189693 h 189693"/>
                  <a:gd name="connsiteX8" fmla="*/ 138104 w 138104"/>
                  <a:gd name="connsiteY8" fmla="*/ 3098 h 189693"/>
                  <a:gd name="connsiteX9" fmla="*/ 122241 w 138104"/>
                  <a:gd name="connsiteY9" fmla="*/ 3098 h 189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8104" h="189693">
                    <a:moveTo>
                      <a:pt x="122241" y="3098"/>
                    </a:moveTo>
                    <a:lnTo>
                      <a:pt x="122241" y="145368"/>
                    </a:lnTo>
                    <a:lnTo>
                      <a:pt x="0" y="0"/>
                    </a:lnTo>
                    <a:lnTo>
                      <a:pt x="0" y="25304"/>
                    </a:lnTo>
                    <a:lnTo>
                      <a:pt x="0" y="185767"/>
                    </a:lnTo>
                    <a:lnTo>
                      <a:pt x="15819" y="185767"/>
                    </a:lnTo>
                    <a:lnTo>
                      <a:pt x="15819" y="44151"/>
                    </a:lnTo>
                    <a:lnTo>
                      <a:pt x="138104" y="189693"/>
                    </a:lnTo>
                    <a:lnTo>
                      <a:pt x="138104" y="3098"/>
                    </a:lnTo>
                    <a:lnTo>
                      <a:pt x="122241" y="3098"/>
                    </a:lnTo>
                    <a:close/>
                  </a:path>
                </a:pathLst>
              </a:custGeom>
              <a:solidFill>
                <a:schemeClr val="bg1"/>
              </a:solidFill>
              <a:ln w="4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11A92B7C-5787-E68B-0FF1-D633BBCA4AD0}"/>
                  </a:ext>
                </a:extLst>
              </p:cNvPr>
              <p:cNvSpPr/>
              <p:nvPr/>
            </p:nvSpPr>
            <p:spPr>
              <a:xfrm>
                <a:off x="11571796" y="585036"/>
                <a:ext cx="132526" cy="182625"/>
              </a:xfrm>
              <a:custGeom>
                <a:avLst/>
                <a:gdLst>
                  <a:gd name="connsiteX0" fmla="*/ 114658 w 132526"/>
                  <a:gd name="connsiteY0" fmla="*/ 182626 h 182625"/>
                  <a:gd name="connsiteX1" fmla="*/ 132526 w 132526"/>
                  <a:gd name="connsiteY1" fmla="*/ 182626 h 182625"/>
                  <a:gd name="connsiteX2" fmla="*/ 88772 w 132526"/>
                  <a:gd name="connsiteY2" fmla="*/ 97115 h 182625"/>
                  <a:gd name="connsiteX3" fmla="*/ 124856 w 132526"/>
                  <a:gd name="connsiteY3" fmla="*/ 54142 h 182625"/>
                  <a:gd name="connsiteX4" fmla="*/ 124900 w 132526"/>
                  <a:gd name="connsiteY4" fmla="*/ 54142 h 182625"/>
                  <a:gd name="connsiteX5" fmla="*/ 124900 w 132526"/>
                  <a:gd name="connsiteY5" fmla="*/ 53139 h 182625"/>
                  <a:gd name="connsiteX6" fmla="*/ 125074 w 132526"/>
                  <a:gd name="connsiteY6" fmla="*/ 50216 h 182625"/>
                  <a:gd name="connsiteX7" fmla="*/ 124900 w 132526"/>
                  <a:gd name="connsiteY7" fmla="*/ 50216 h 182625"/>
                  <a:gd name="connsiteX8" fmla="*/ 124900 w 132526"/>
                  <a:gd name="connsiteY8" fmla="*/ 48514 h 182625"/>
                  <a:gd name="connsiteX9" fmla="*/ 125074 w 132526"/>
                  <a:gd name="connsiteY9" fmla="*/ 48514 h 182625"/>
                  <a:gd name="connsiteX10" fmla="*/ 124900 w 132526"/>
                  <a:gd name="connsiteY10" fmla="*/ 45547 h 182625"/>
                  <a:gd name="connsiteX11" fmla="*/ 124900 w 132526"/>
                  <a:gd name="connsiteY11" fmla="*/ 45547 h 182625"/>
                  <a:gd name="connsiteX12" fmla="*/ 76613 w 132526"/>
                  <a:gd name="connsiteY12" fmla="*/ 0 h 182625"/>
                  <a:gd name="connsiteX13" fmla="*/ 0 w 132526"/>
                  <a:gd name="connsiteY13" fmla="*/ 0 h 182625"/>
                  <a:gd name="connsiteX14" fmla="*/ 0 w 132526"/>
                  <a:gd name="connsiteY14" fmla="*/ 182582 h 182625"/>
                  <a:gd name="connsiteX15" fmla="*/ 15819 w 132526"/>
                  <a:gd name="connsiteY15" fmla="*/ 182582 h 182625"/>
                  <a:gd name="connsiteX16" fmla="*/ 15819 w 132526"/>
                  <a:gd name="connsiteY16" fmla="*/ 98642 h 182625"/>
                  <a:gd name="connsiteX17" fmla="*/ 71645 w 132526"/>
                  <a:gd name="connsiteY17" fmla="*/ 98642 h 182625"/>
                  <a:gd name="connsiteX18" fmla="*/ 114658 w 132526"/>
                  <a:gd name="connsiteY18" fmla="*/ 182626 h 182625"/>
                  <a:gd name="connsiteX19" fmla="*/ 15819 w 132526"/>
                  <a:gd name="connsiteY19" fmla="*/ 15880 h 182625"/>
                  <a:gd name="connsiteX20" fmla="*/ 76613 w 132526"/>
                  <a:gd name="connsiteY20" fmla="*/ 15880 h 182625"/>
                  <a:gd name="connsiteX21" fmla="*/ 109080 w 132526"/>
                  <a:gd name="connsiteY21" fmla="*/ 47816 h 182625"/>
                  <a:gd name="connsiteX22" fmla="*/ 109080 w 132526"/>
                  <a:gd name="connsiteY22" fmla="*/ 50826 h 182625"/>
                  <a:gd name="connsiteX23" fmla="*/ 76613 w 132526"/>
                  <a:gd name="connsiteY23" fmla="*/ 82718 h 182625"/>
                  <a:gd name="connsiteX24" fmla="*/ 76613 w 132526"/>
                  <a:gd name="connsiteY24" fmla="*/ 82718 h 182625"/>
                  <a:gd name="connsiteX25" fmla="*/ 15819 w 132526"/>
                  <a:gd name="connsiteY25" fmla="*/ 82762 h 182625"/>
                  <a:gd name="connsiteX26" fmla="*/ 15819 w 132526"/>
                  <a:gd name="connsiteY26" fmla="*/ 15880 h 182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2526" h="182625">
                    <a:moveTo>
                      <a:pt x="114658" y="182626"/>
                    </a:moveTo>
                    <a:lnTo>
                      <a:pt x="132526" y="182626"/>
                    </a:lnTo>
                    <a:cubicBezTo>
                      <a:pt x="132526" y="182626"/>
                      <a:pt x="88772" y="97115"/>
                      <a:pt x="88772" y="97115"/>
                    </a:cubicBezTo>
                    <a:cubicBezTo>
                      <a:pt x="108383" y="92011"/>
                      <a:pt x="123200" y="74952"/>
                      <a:pt x="124856" y="54142"/>
                    </a:cubicBezTo>
                    <a:lnTo>
                      <a:pt x="124900" y="54142"/>
                    </a:lnTo>
                    <a:lnTo>
                      <a:pt x="124900" y="53139"/>
                    </a:lnTo>
                    <a:cubicBezTo>
                      <a:pt x="124943" y="52179"/>
                      <a:pt x="125074" y="51175"/>
                      <a:pt x="125074" y="50216"/>
                    </a:cubicBezTo>
                    <a:lnTo>
                      <a:pt x="124900" y="50216"/>
                    </a:lnTo>
                    <a:lnTo>
                      <a:pt x="124900" y="48514"/>
                    </a:lnTo>
                    <a:lnTo>
                      <a:pt x="125074" y="48514"/>
                    </a:lnTo>
                    <a:cubicBezTo>
                      <a:pt x="125074" y="47511"/>
                      <a:pt x="124987" y="46551"/>
                      <a:pt x="124900" y="45547"/>
                    </a:cubicBezTo>
                    <a:lnTo>
                      <a:pt x="124900" y="45547"/>
                    </a:lnTo>
                    <a:cubicBezTo>
                      <a:pt x="123331" y="20112"/>
                      <a:pt x="102369" y="0"/>
                      <a:pt x="76613" y="0"/>
                    </a:cubicBezTo>
                    <a:lnTo>
                      <a:pt x="0" y="0"/>
                    </a:lnTo>
                    <a:lnTo>
                      <a:pt x="0" y="182582"/>
                    </a:lnTo>
                    <a:lnTo>
                      <a:pt x="15819" y="182582"/>
                    </a:lnTo>
                    <a:lnTo>
                      <a:pt x="15819" y="98642"/>
                    </a:lnTo>
                    <a:lnTo>
                      <a:pt x="71645" y="98642"/>
                    </a:lnTo>
                    <a:lnTo>
                      <a:pt x="114658" y="182626"/>
                    </a:lnTo>
                    <a:close/>
                    <a:moveTo>
                      <a:pt x="15819" y="15880"/>
                    </a:moveTo>
                    <a:lnTo>
                      <a:pt x="76613" y="15880"/>
                    </a:lnTo>
                    <a:cubicBezTo>
                      <a:pt x="94350" y="15880"/>
                      <a:pt x="108732" y="30147"/>
                      <a:pt x="109080" y="47816"/>
                    </a:cubicBezTo>
                    <a:lnTo>
                      <a:pt x="109080" y="50826"/>
                    </a:lnTo>
                    <a:cubicBezTo>
                      <a:pt x="108732" y="68496"/>
                      <a:pt x="94350" y="82718"/>
                      <a:pt x="76613" y="82718"/>
                    </a:cubicBezTo>
                    <a:lnTo>
                      <a:pt x="76613" y="82718"/>
                    </a:lnTo>
                    <a:cubicBezTo>
                      <a:pt x="76613" y="82718"/>
                      <a:pt x="15819" y="82762"/>
                      <a:pt x="15819" y="82762"/>
                    </a:cubicBezTo>
                    <a:lnTo>
                      <a:pt x="15819" y="15880"/>
                    </a:lnTo>
                    <a:close/>
                  </a:path>
                </a:pathLst>
              </a:custGeom>
              <a:solidFill>
                <a:schemeClr val="bg1"/>
              </a:solidFill>
              <a:ln w="4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4AB2DDF5-91CE-F7F8-5746-43D25A8777B2}"/>
                  </a:ext>
                </a:extLst>
              </p:cNvPr>
              <p:cNvSpPr/>
              <p:nvPr/>
            </p:nvSpPr>
            <p:spPr>
              <a:xfrm>
                <a:off x="10700593" y="584949"/>
                <a:ext cx="128865" cy="182669"/>
              </a:xfrm>
              <a:custGeom>
                <a:avLst/>
                <a:gdLst>
                  <a:gd name="connsiteX0" fmla="*/ 128691 w 128865"/>
                  <a:gd name="connsiteY0" fmla="*/ 128789 h 182669"/>
                  <a:gd name="connsiteX1" fmla="*/ 121893 w 128865"/>
                  <a:gd name="connsiteY1" fmla="*/ 104968 h 182669"/>
                  <a:gd name="connsiteX2" fmla="*/ 105463 w 128865"/>
                  <a:gd name="connsiteY2" fmla="*/ 89175 h 182669"/>
                  <a:gd name="connsiteX3" fmla="*/ 124813 w 128865"/>
                  <a:gd name="connsiteY3" fmla="*/ 54186 h 182669"/>
                  <a:gd name="connsiteX4" fmla="*/ 124856 w 128865"/>
                  <a:gd name="connsiteY4" fmla="*/ 54186 h 182669"/>
                  <a:gd name="connsiteX5" fmla="*/ 124856 w 128865"/>
                  <a:gd name="connsiteY5" fmla="*/ 53182 h 182669"/>
                  <a:gd name="connsiteX6" fmla="*/ 124987 w 128865"/>
                  <a:gd name="connsiteY6" fmla="*/ 50259 h 182669"/>
                  <a:gd name="connsiteX7" fmla="*/ 124856 w 128865"/>
                  <a:gd name="connsiteY7" fmla="*/ 50259 h 182669"/>
                  <a:gd name="connsiteX8" fmla="*/ 124856 w 128865"/>
                  <a:gd name="connsiteY8" fmla="*/ 48558 h 182669"/>
                  <a:gd name="connsiteX9" fmla="*/ 124987 w 128865"/>
                  <a:gd name="connsiteY9" fmla="*/ 48558 h 182669"/>
                  <a:gd name="connsiteX10" fmla="*/ 124856 w 128865"/>
                  <a:gd name="connsiteY10" fmla="*/ 45591 h 182669"/>
                  <a:gd name="connsiteX11" fmla="*/ 124856 w 128865"/>
                  <a:gd name="connsiteY11" fmla="*/ 45591 h 182669"/>
                  <a:gd name="connsiteX12" fmla="*/ 124856 w 128865"/>
                  <a:gd name="connsiteY12" fmla="*/ 45547 h 182669"/>
                  <a:gd name="connsiteX13" fmla="*/ 76526 w 128865"/>
                  <a:gd name="connsiteY13" fmla="*/ 44 h 182669"/>
                  <a:gd name="connsiteX14" fmla="*/ 76526 w 128865"/>
                  <a:gd name="connsiteY14" fmla="*/ 131 h 182669"/>
                  <a:gd name="connsiteX15" fmla="*/ 0 w 128865"/>
                  <a:gd name="connsiteY15" fmla="*/ 0 h 182669"/>
                  <a:gd name="connsiteX16" fmla="*/ 0 w 128865"/>
                  <a:gd name="connsiteY16" fmla="*/ 182669 h 182669"/>
                  <a:gd name="connsiteX17" fmla="*/ 79533 w 128865"/>
                  <a:gd name="connsiteY17" fmla="*/ 182669 h 182669"/>
                  <a:gd name="connsiteX18" fmla="*/ 128778 w 128865"/>
                  <a:gd name="connsiteY18" fmla="*/ 134068 h 182669"/>
                  <a:gd name="connsiteX19" fmla="*/ 128865 w 128865"/>
                  <a:gd name="connsiteY19" fmla="*/ 134068 h 182669"/>
                  <a:gd name="connsiteX20" fmla="*/ 128865 w 128865"/>
                  <a:gd name="connsiteY20" fmla="*/ 128789 h 182669"/>
                  <a:gd name="connsiteX21" fmla="*/ 128778 w 128865"/>
                  <a:gd name="connsiteY21" fmla="*/ 128789 h 182669"/>
                  <a:gd name="connsiteX22" fmla="*/ 76570 w 128865"/>
                  <a:gd name="connsiteY22" fmla="*/ 15968 h 182669"/>
                  <a:gd name="connsiteX23" fmla="*/ 76570 w 128865"/>
                  <a:gd name="connsiteY23" fmla="*/ 15968 h 182669"/>
                  <a:gd name="connsiteX24" fmla="*/ 109080 w 128865"/>
                  <a:gd name="connsiteY24" fmla="*/ 47991 h 182669"/>
                  <a:gd name="connsiteX25" fmla="*/ 109080 w 128865"/>
                  <a:gd name="connsiteY25" fmla="*/ 50826 h 182669"/>
                  <a:gd name="connsiteX26" fmla="*/ 76570 w 128865"/>
                  <a:gd name="connsiteY26" fmla="*/ 82936 h 182669"/>
                  <a:gd name="connsiteX27" fmla="*/ 15819 w 128865"/>
                  <a:gd name="connsiteY27" fmla="*/ 82936 h 182669"/>
                  <a:gd name="connsiteX28" fmla="*/ 15819 w 128865"/>
                  <a:gd name="connsiteY28" fmla="*/ 15968 h 182669"/>
                  <a:gd name="connsiteX29" fmla="*/ 76570 w 128865"/>
                  <a:gd name="connsiteY29" fmla="*/ 15968 h 182669"/>
                  <a:gd name="connsiteX30" fmla="*/ 112959 w 128865"/>
                  <a:gd name="connsiteY30" fmla="*/ 133239 h 182669"/>
                  <a:gd name="connsiteX31" fmla="*/ 112828 w 128865"/>
                  <a:gd name="connsiteY31" fmla="*/ 133239 h 182669"/>
                  <a:gd name="connsiteX32" fmla="*/ 79228 w 128865"/>
                  <a:gd name="connsiteY32" fmla="*/ 166876 h 182669"/>
                  <a:gd name="connsiteX33" fmla="*/ 79228 w 128865"/>
                  <a:gd name="connsiteY33" fmla="*/ 166876 h 182669"/>
                  <a:gd name="connsiteX34" fmla="*/ 15819 w 128865"/>
                  <a:gd name="connsiteY34" fmla="*/ 166876 h 182669"/>
                  <a:gd name="connsiteX35" fmla="*/ 15819 w 128865"/>
                  <a:gd name="connsiteY35" fmla="*/ 98860 h 182669"/>
                  <a:gd name="connsiteX36" fmla="*/ 81451 w 128865"/>
                  <a:gd name="connsiteY36" fmla="*/ 99122 h 182669"/>
                  <a:gd name="connsiteX37" fmla="*/ 81451 w 128865"/>
                  <a:gd name="connsiteY37" fmla="*/ 99122 h 182669"/>
                  <a:gd name="connsiteX38" fmla="*/ 108601 w 128865"/>
                  <a:gd name="connsiteY38" fmla="*/ 113737 h 182669"/>
                  <a:gd name="connsiteX39" fmla="*/ 112872 w 128865"/>
                  <a:gd name="connsiteY39" fmla="*/ 130011 h 182669"/>
                  <a:gd name="connsiteX40" fmla="*/ 113002 w 128865"/>
                  <a:gd name="connsiteY40" fmla="*/ 130011 h 182669"/>
                  <a:gd name="connsiteX41" fmla="*/ 113002 w 128865"/>
                  <a:gd name="connsiteY41" fmla="*/ 133239 h 182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28865" h="182669">
                    <a:moveTo>
                      <a:pt x="128691" y="128789"/>
                    </a:moveTo>
                    <a:cubicBezTo>
                      <a:pt x="128473" y="119933"/>
                      <a:pt x="126251" y="112036"/>
                      <a:pt x="121893" y="104968"/>
                    </a:cubicBezTo>
                    <a:cubicBezTo>
                      <a:pt x="117709" y="98293"/>
                      <a:pt x="112087" y="92927"/>
                      <a:pt x="105463" y="89175"/>
                    </a:cubicBezTo>
                    <a:cubicBezTo>
                      <a:pt x="116314" y="81060"/>
                      <a:pt x="123679" y="68496"/>
                      <a:pt x="124813" y="54186"/>
                    </a:cubicBezTo>
                    <a:lnTo>
                      <a:pt x="124856" y="54186"/>
                    </a:lnTo>
                    <a:lnTo>
                      <a:pt x="124856" y="53182"/>
                    </a:lnTo>
                    <a:cubicBezTo>
                      <a:pt x="124900" y="52222"/>
                      <a:pt x="124987" y="51219"/>
                      <a:pt x="124987" y="50259"/>
                    </a:cubicBezTo>
                    <a:lnTo>
                      <a:pt x="124856" y="50259"/>
                    </a:lnTo>
                    <a:lnTo>
                      <a:pt x="124856" y="48558"/>
                    </a:lnTo>
                    <a:lnTo>
                      <a:pt x="124987" y="48558"/>
                    </a:lnTo>
                    <a:cubicBezTo>
                      <a:pt x="124987" y="47554"/>
                      <a:pt x="124900" y="46594"/>
                      <a:pt x="124856" y="45591"/>
                    </a:cubicBezTo>
                    <a:lnTo>
                      <a:pt x="124856" y="45591"/>
                    </a:lnTo>
                    <a:cubicBezTo>
                      <a:pt x="124856" y="45591"/>
                      <a:pt x="124856" y="45547"/>
                      <a:pt x="124856" y="45547"/>
                    </a:cubicBezTo>
                    <a:cubicBezTo>
                      <a:pt x="123287" y="20156"/>
                      <a:pt x="102282" y="44"/>
                      <a:pt x="76526" y="44"/>
                    </a:cubicBezTo>
                    <a:lnTo>
                      <a:pt x="76526" y="131"/>
                    </a:lnTo>
                    <a:lnTo>
                      <a:pt x="0" y="0"/>
                    </a:lnTo>
                    <a:lnTo>
                      <a:pt x="0" y="182669"/>
                    </a:lnTo>
                    <a:lnTo>
                      <a:pt x="79533" y="182669"/>
                    </a:lnTo>
                    <a:cubicBezTo>
                      <a:pt x="106422" y="182495"/>
                      <a:pt x="128212" y="160899"/>
                      <a:pt x="128778" y="134068"/>
                    </a:cubicBezTo>
                    <a:lnTo>
                      <a:pt x="128865" y="134068"/>
                    </a:lnTo>
                    <a:lnTo>
                      <a:pt x="128865" y="128789"/>
                    </a:lnTo>
                    <a:lnTo>
                      <a:pt x="128778" y="128789"/>
                    </a:lnTo>
                    <a:close/>
                    <a:moveTo>
                      <a:pt x="76570" y="15968"/>
                    </a:moveTo>
                    <a:lnTo>
                      <a:pt x="76570" y="15968"/>
                    </a:lnTo>
                    <a:cubicBezTo>
                      <a:pt x="94350" y="15968"/>
                      <a:pt x="108775" y="30278"/>
                      <a:pt x="109080" y="47991"/>
                    </a:cubicBezTo>
                    <a:lnTo>
                      <a:pt x="109080" y="50826"/>
                    </a:lnTo>
                    <a:cubicBezTo>
                      <a:pt x="108775" y="68539"/>
                      <a:pt x="94350" y="82936"/>
                      <a:pt x="76570" y="82936"/>
                    </a:cubicBezTo>
                    <a:lnTo>
                      <a:pt x="15819" y="82936"/>
                    </a:lnTo>
                    <a:lnTo>
                      <a:pt x="15819" y="15968"/>
                    </a:lnTo>
                    <a:lnTo>
                      <a:pt x="76570" y="15968"/>
                    </a:lnTo>
                    <a:close/>
                    <a:moveTo>
                      <a:pt x="112959" y="133239"/>
                    </a:moveTo>
                    <a:lnTo>
                      <a:pt x="112828" y="133239"/>
                    </a:lnTo>
                    <a:cubicBezTo>
                      <a:pt x="112828" y="151825"/>
                      <a:pt x="97793" y="166876"/>
                      <a:pt x="79228" y="166876"/>
                    </a:cubicBezTo>
                    <a:lnTo>
                      <a:pt x="79228" y="166876"/>
                    </a:lnTo>
                    <a:cubicBezTo>
                      <a:pt x="79228" y="166876"/>
                      <a:pt x="15819" y="166876"/>
                      <a:pt x="15819" y="166876"/>
                    </a:cubicBezTo>
                    <a:lnTo>
                      <a:pt x="15819" y="98860"/>
                    </a:lnTo>
                    <a:lnTo>
                      <a:pt x="81451" y="99122"/>
                    </a:lnTo>
                    <a:lnTo>
                      <a:pt x="81451" y="99122"/>
                    </a:lnTo>
                    <a:cubicBezTo>
                      <a:pt x="92869" y="99122"/>
                      <a:pt x="102805" y="104750"/>
                      <a:pt x="108601" y="113737"/>
                    </a:cubicBezTo>
                    <a:cubicBezTo>
                      <a:pt x="111041" y="118842"/>
                      <a:pt x="112872" y="123990"/>
                      <a:pt x="112872" y="130011"/>
                    </a:cubicBezTo>
                    <a:lnTo>
                      <a:pt x="113002" y="130011"/>
                    </a:lnTo>
                    <a:lnTo>
                      <a:pt x="113002" y="133239"/>
                    </a:lnTo>
                    <a:close/>
                  </a:path>
                </a:pathLst>
              </a:custGeom>
              <a:solidFill>
                <a:schemeClr val="bg1"/>
              </a:solidFill>
              <a:ln w="4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CB7EDB7F-8DE4-C212-845E-68DF63F89FD4}"/>
                  </a:ext>
                </a:extLst>
              </p:cNvPr>
              <p:cNvSpPr/>
              <p:nvPr/>
            </p:nvSpPr>
            <p:spPr>
              <a:xfrm>
                <a:off x="10945032" y="581808"/>
                <a:ext cx="188700" cy="188820"/>
              </a:xfrm>
              <a:custGeom>
                <a:avLst/>
                <a:gdLst>
                  <a:gd name="connsiteX0" fmla="*/ 828 w 188700"/>
                  <a:gd name="connsiteY0" fmla="*/ 106277 h 188820"/>
                  <a:gd name="connsiteX1" fmla="*/ 94394 w 188700"/>
                  <a:gd name="connsiteY1" fmla="*/ 188821 h 188820"/>
                  <a:gd name="connsiteX2" fmla="*/ 187960 w 188700"/>
                  <a:gd name="connsiteY2" fmla="*/ 106234 h 188820"/>
                  <a:gd name="connsiteX3" fmla="*/ 188701 w 188700"/>
                  <a:gd name="connsiteY3" fmla="*/ 94716 h 188820"/>
                  <a:gd name="connsiteX4" fmla="*/ 188178 w 188700"/>
                  <a:gd name="connsiteY4" fmla="*/ 84420 h 188820"/>
                  <a:gd name="connsiteX5" fmla="*/ 94394 w 188700"/>
                  <a:gd name="connsiteY5" fmla="*/ 0 h 188820"/>
                  <a:gd name="connsiteX6" fmla="*/ 610 w 188700"/>
                  <a:gd name="connsiteY6" fmla="*/ 84420 h 188820"/>
                  <a:gd name="connsiteX7" fmla="*/ 523 w 188700"/>
                  <a:gd name="connsiteY7" fmla="*/ 84420 h 188820"/>
                  <a:gd name="connsiteX8" fmla="*/ 0 w 188700"/>
                  <a:gd name="connsiteY8" fmla="*/ 94716 h 188820"/>
                  <a:gd name="connsiteX9" fmla="*/ 741 w 188700"/>
                  <a:gd name="connsiteY9" fmla="*/ 106234 h 188820"/>
                  <a:gd name="connsiteX10" fmla="*/ 94394 w 188700"/>
                  <a:gd name="connsiteY10" fmla="*/ 172766 h 188820"/>
                  <a:gd name="connsiteX11" fmla="*/ 16996 w 188700"/>
                  <a:gd name="connsiteY11" fmla="*/ 106277 h 188820"/>
                  <a:gd name="connsiteX12" fmla="*/ 16909 w 188700"/>
                  <a:gd name="connsiteY12" fmla="*/ 106277 h 188820"/>
                  <a:gd name="connsiteX13" fmla="*/ 16037 w 188700"/>
                  <a:gd name="connsiteY13" fmla="*/ 94716 h 188820"/>
                  <a:gd name="connsiteX14" fmla="*/ 16647 w 188700"/>
                  <a:gd name="connsiteY14" fmla="*/ 84725 h 188820"/>
                  <a:gd name="connsiteX15" fmla="*/ 16691 w 188700"/>
                  <a:gd name="connsiteY15" fmla="*/ 84725 h 188820"/>
                  <a:gd name="connsiteX16" fmla="*/ 94350 w 188700"/>
                  <a:gd name="connsiteY16" fmla="*/ 16055 h 188820"/>
                  <a:gd name="connsiteX17" fmla="*/ 171966 w 188700"/>
                  <a:gd name="connsiteY17" fmla="*/ 84594 h 188820"/>
                  <a:gd name="connsiteX18" fmla="*/ 172620 w 188700"/>
                  <a:gd name="connsiteY18" fmla="*/ 94759 h 188820"/>
                  <a:gd name="connsiteX19" fmla="*/ 171748 w 188700"/>
                  <a:gd name="connsiteY19" fmla="*/ 106452 h 188820"/>
                  <a:gd name="connsiteX20" fmla="*/ 94350 w 188700"/>
                  <a:gd name="connsiteY20" fmla="*/ 172809 h 188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88700" h="188820">
                    <a:moveTo>
                      <a:pt x="828" y="106277"/>
                    </a:moveTo>
                    <a:cubicBezTo>
                      <a:pt x="6668" y="152828"/>
                      <a:pt x="46325" y="188821"/>
                      <a:pt x="94394" y="188821"/>
                    </a:cubicBezTo>
                    <a:cubicBezTo>
                      <a:pt x="142462" y="188821"/>
                      <a:pt x="182120" y="152784"/>
                      <a:pt x="187960" y="106234"/>
                    </a:cubicBezTo>
                    <a:cubicBezTo>
                      <a:pt x="188395" y="102482"/>
                      <a:pt x="188701" y="98599"/>
                      <a:pt x="188701" y="94716"/>
                    </a:cubicBezTo>
                    <a:cubicBezTo>
                      <a:pt x="188701" y="91138"/>
                      <a:pt x="188570" y="87910"/>
                      <a:pt x="188178" y="84420"/>
                    </a:cubicBezTo>
                    <a:cubicBezTo>
                      <a:pt x="183297" y="36822"/>
                      <a:pt x="143203" y="0"/>
                      <a:pt x="94394" y="0"/>
                    </a:cubicBezTo>
                    <a:cubicBezTo>
                      <a:pt x="45584" y="0"/>
                      <a:pt x="5578" y="36996"/>
                      <a:pt x="610" y="84420"/>
                    </a:cubicBezTo>
                    <a:lnTo>
                      <a:pt x="523" y="84420"/>
                    </a:lnTo>
                    <a:cubicBezTo>
                      <a:pt x="131" y="87910"/>
                      <a:pt x="0" y="91138"/>
                      <a:pt x="0" y="94716"/>
                    </a:cubicBezTo>
                    <a:cubicBezTo>
                      <a:pt x="0" y="98599"/>
                      <a:pt x="261" y="102482"/>
                      <a:pt x="741" y="106234"/>
                    </a:cubicBezTo>
                    <a:moveTo>
                      <a:pt x="94394" y="172766"/>
                    </a:moveTo>
                    <a:cubicBezTo>
                      <a:pt x="55172" y="172766"/>
                      <a:pt x="22705" y="143928"/>
                      <a:pt x="16996" y="106277"/>
                    </a:cubicBezTo>
                    <a:lnTo>
                      <a:pt x="16909" y="106277"/>
                    </a:lnTo>
                    <a:cubicBezTo>
                      <a:pt x="16342" y="102482"/>
                      <a:pt x="16037" y="98686"/>
                      <a:pt x="16037" y="94716"/>
                    </a:cubicBezTo>
                    <a:cubicBezTo>
                      <a:pt x="16037" y="91269"/>
                      <a:pt x="16212" y="88041"/>
                      <a:pt x="16647" y="84725"/>
                    </a:cubicBezTo>
                    <a:lnTo>
                      <a:pt x="16691" y="84725"/>
                    </a:lnTo>
                    <a:cubicBezTo>
                      <a:pt x="21441" y="46027"/>
                      <a:pt x="54388" y="16055"/>
                      <a:pt x="94350" y="16055"/>
                    </a:cubicBezTo>
                    <a:cubicBezTo>
                      <a:pt x="134313" y="16055"/>
                      <a:pt x="167216" y="45853"/>
                      <a:pt x="171966" y="84594"/>
                    </a:cubicBezTo>
                    <a:cubicBezTo>
                      <a:pt x="172402" y="87997"/>
                      <a:pt x="172620" y="91269"/>
                      <a:pt x="172620" y="94759"/>
                    </a:cubicBezTo>
                    <a:cubicBezTo>
                      <a:pt x="172620" y="98773"/>
                      <a:pt x="172315" y="102612"/>
                      <a:pt x="171748" y="106452"/>
                    </a:cubicBezTo>
                    <a:cubicBezTo>
                      <a:pt x="166039" y="144102"/>
                      <a:pt x="133572" y="172809"/>
                      <a:pt x="94350" y="172809"/>
                    </a:cubicBezTo>
                    <a:close/>
                  </a:path>
                </a:pathLst>
              </a:custGeom>
              <a:solidFill>
                <a:schemeClr val="bg1"/>
              </a:solidFill>
              <a:ln w="4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2BBA9693-A56F-B6F4-E30D-2BF13627ABC3}"/>
                  </a:ext>
                </a:extLst>
              </p:cNvPr>
              <p:cNvSpPr/>
              <p:nvPr/>
            </p:nvSpPr>
            <p:spPr>
              <a:xfrm>
                <a:off x="11996961" y="581415"/>
                <a:ext cx="25624" cy="25653"/>
              </a:xfrm>
              <a:custGeom>
                <a:avLst/>
                <a:gdLst>
                  <a:gd name="connsiteX0" fmla="*/ 0 w 25624"/>
                  <a:gd name="connsiteY0" fmla="*/ 12783 h 25653"/>
                  <a:gd name="connsiteX1" fmla="*/ 12856 w 25624"/>
                  <a:gd name="connsiteY1" fmla="*/ 0 h 25653"/>
                  <a:gd name="connsiteX2" fmla="*/ 25625 w 25624"/>
                  <a:gd name="connsiteY2" fmla="*/ 12783 h 25653"/>
                  <a:gd name="connsiteX3" fmla="*/ 12856 w 25624"/>
                  <a:gd name="connsiteY3" fmla="*/ 25653 h 25653"/>
                  <a:gd name="connsiteX4" fmla="*/ 0 w 25624"/>
                  <a:gd name="connsiteY4" fmla="*/ 12783 h 25653"/>
                  <a:gd name="connsiteX5" fmla="*/ 23577 w 25624"/>
                  <a:gd name="connsiteY5" fmla="*/ 12783 h 25653"/>
                  <a:gd name="connsiteX6" fmla="*/ 12856 w 25624"/>
                  <a:gd name="connsiteY6" fmla="*/ 1701 h 25653"/>
                  <a:gd name="connsiteX7" fmla="*/ 2048 w 25624"/>
                  <a:gd name="connsiteY7" fmla="*/ 12783 h 25653"/>
                  <a:gd name="connsiteX8" fmla="*/ 12856 w 25624"/>
                  <a:gd name="connsiteY8" fmla="*/ 23952 h 25653"/>
                  <a:gd name="connsiteX9" fmla="*/ 23577 w 25624"/>
                  <a:gd name="connsiteY9" fmla="*/ 12783 h 25653"/>
                  <a:gd name="connsiteX10" fmla="*/ 19219 w 25624"/>
                  <a:gd name="connsiteY10" fmla="*/ 19938 h 25653"/>
                  <a:gd name="connsiteX11" fmla="*/ 17127 w 25624"/>
                  <a:gd name="connsiteY11" fmla="*/ 19938 h 25653"/>
                  <a:gd name="connsiteX12" fmla="*/ 13030 w 25624"/>
                  <a:gd name="connsiteY12" fmla="*/ 13350 h 25653"/>
                  <a:gd name="connsiteX13" fmla="*/ 9805 w 25624"/>
                  <a:gd name="connsiteY13" fmla="*/ 13350 h 25653"/>
                  <a:gd name="connsiteX14" fmla="*/ 9805 w 25624"/>
                  <a:gd name="connsiteY14" fmla="*/ 19938 h 25653"/>
                  <a:gd name="connsiteX15" fmla="*/ 8062 w 25624"/>
                  <a:gd name="connsiteY15" fmla="*/ 19938 h 25653"/>
                  <a:gd name="connsiteX16" fmla="*/ 8062 w 25624"/>
                  <a:gd name="connsiteY16" fmla="*/ 5628 h 25653"/>
                  <a:gd name="connsiteX17" fmla="*/ 14338 w 25624"/>
                  <a:gd name="connsiteY17" fmla="*/ 5628 h 25653"/>
                  <a:gd name="connsiteX18" fmla="*/ 19393 w 25624"/>
                  <a:gd name="connsiteY18" fmla="*/ 9424 h 25653"/>
                  <a:gd name="connsiteX19" fmla="*/ 14904 w 25624"/>
                  <a:gd name="connsiteY19" fmla="*/ 13350 h 25653"/>
                  <a:gd name="connsiteX20" fmla="*/ 19219 w 25624"/>
                  <a:gd name="connsiteY20" fmla="*/ 19938 h 25653"/>
                  <a:gd name="connsiteX21" fmla="*/ 12507 w 25624"/>
                  <a:gd name="connsiteY21" fmla="*/ 11954 h 25653"/>
                  <a:gd name="connsiteX22" fmla="*/ 17519 w 25624"/>
                  <a:gd name="connsiteY22" fmla="*/ 9380 h 25653"/>
                  <a:gd name="connsiteX23" fmla="*/ 13946 w 25624"/>
                  <a:gd name="connsiteY23" fmla="*/ 6893 h 25653"/>
                  <a:gd name="connsiteX24" fmla="*/ 9849 w 25624"/>
                  <a:gd name="connsiteY24" fmla="*/ 6893 h 25653"/>
                  <a:gd name="connsiteX25" fmla="*/ 9849 w 25624"/>
                  <a:gd name="connsiteY25" fmla="*/ 11954 h 25653"/>
                  <a:gd name="connsiteX26" fmla="*/ 12507 w 25624"/>
                  <a:gd name="connsiteY26" fmla="*/ 11954 h 25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5624" h="25653">
                    <a:moveTo>
                      <a:pt x="0" y="12783"/>
                    </a:moveTo>
                    <a:cubicBezTo>
                      <a:pt x="0" y="5759"/>
                      <a:pt x="5753" y="0"/>
                      <a:pt x="12856" y="0"/>
                    </a:cubicBezTo>
                    <a:cubicBezTo>
                      <a:pt x="19959" y="0"/>
                      <a:pt x="25625" y="5759"/>
                      <a:pt x="25625" y="12783"/>
                    </a:cubicBezTo>
                    <a:cubicBezTo>
                      <a:pt x="25625" y="19807"/>
                      <a:pt x="19916" y="25653"/>
                      <a:pt x="12856" y="25653"/>
                    </a:cubicBezTo>
                    <a:cubicBezTo>
                      <a:pt x="5796" y="25653"/>
                      <a:pt x="0" y="19894"/>
                      <a:pt x="0" y="12783"/>
                    </a:cubicBezTo>
                    <a:close/>
                    <a:moveTo>
                      <a:pt x="23577" y="12783"/>
                    </a:moveTo>
                    <a:cubicBezTo>
                      <a:pt x="23577" y="6544"/>
                      <a:pt x="19044" y="1701"/>
                      <a:pt x="12856" y="1701"/>
                    </a:cubicBezTo>
                    <a:cubicBezTo>
                      <a:pt x="6668" y="1701"/>
                      <a:pt x="2048" y="6588"/>
                      <a:pt x="2048" y="12783"/>
                    </a:cubicBezTo>
                    <a:cubicBezTo>
                      <a:pt x="2048" y="18978"/>
                      <a:pt x="6624" y="23952"/>
                      <a:pt x="12856" y="23952"/>
                    </a:cubicBezTo>
                    <a:cubicBezTo>
                      <a:pt x="19088" y="23952"/>
                      <a:pt x="23577" y="19065"/>
                      <a:pt x="23577" y="12783"/>
                    </a:cubicBezTo>
                    <a:close/>
                    <a:moveTo>
                      <a:pt x="19219" y="19938"/>
                    </a:moveTo>
                    <a:lnTo>
                      <a:pt x="17127" y="19938"/>
                    </a:lnTo>
                    <a:lnTo>
                      <a:pt x="13030" y="13350"/>
                    </a:lnTo>
                    <a:lnTo>
                      <a:pt x="9805" y="13350"/>
                    </a:lnTo>
                    <a:lnTo>
                      <a:pt x="9805" y="19938"/>
                    </a:lnTo>
                    <a:lnTo>
                      <a:pt x="8062" y="19938"/>
                    </a:lnTo>
                    <a:lnTo>
                      <a:pt x="8062" y="5628"/>
                    </a:lnTo>
                    <a:lnTo>
                      <a:pt x="14338" y="5628"/>
                    </a:lnTo>
                    <a:cubicBezTo>
                      <a:pt x="18129" y="5628"/>
                      <a:pt x="19393" y="7068"/>
                      <a:pt x="19393" y="9424"/>
                    </a:cubicBezTo>
                    <a:cubicBezTo>
                      <a:pt x="19393" y="12216"/>
                      <a:pt x="17432" y="13263"/>
                      <a:pt x="14904" y="13350"/>
                    </a:cubicBezTo>
                    <a:lnTo>
                      <a:pt x="19219" y="19938"/>
                    </a:lnTo>
                    <a:close/>
                    <a:moveTo>
                      <a:pt x="12507" y="11954"/>
                    </a:moveTo>
                    <a:cubicBezTo>
                      <a:pt x="14556" y="11954"/>
                      <a:pt x="17519" y="12303"/>
                      <a:pt x="17519" y="9380"/>
                    </a:cubicBezTo>
                    <a:cubicBezTo>
                      <a:pt x="17519" y="7155"/>
                      <a:pt x="15689" y="6893"/>
                      <a:pt x="13946" y="6893"/>
                    </a:cubicBezTo>
                    <a:lnTo>
                      <a:pt x="9849" y="6893"/>
                    </a:lnTo>
                    <a:lnTo>
                      <a:pt x="9849" y="11954"/>
                    </a:lnTo>
                    <a:lnTo>
                      <a:pt x="12507" y="11954"/>
                    </a:lnTo>
                    <a:close/>
                  </a:path>
                </a:pathLst>
              </a:custGeom>
              <a:solidFill>
                <a:schemeClr val="bg1"/>
              </a:solidFill>
              <a:ln w="4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FC315605-5063-7C29-C984-2FF2B052EFBA}"/>
                </a:ext>
              </a:extLst>
            </p:cNvPr>
            <p:cNvSpPr/>
            <p:nvPr/>
          </p:nvSpPr>
          <p:spPr>
            <a:xfrm>
              <a:off x="10867024" y="582986"/>
              <a:ext cx="42490" cy="24824"/>
            </a:xfrm>
            <a:custGeom>
              <a:avLst/>
              <a:gdLst>
                <a:gd name="connsiteX0" fmla="*/ 9239 w 42490"/>
                <a:gd name="connsiteY0" fmla="*/ 2661 h 24824"/>
                <a:gd name="connsiteX1" fmla="*/ 5709 w 42490"/>
                <a:gd name="connsiteY1" fmla="*/ 4668 h 24824"/>
                <a:gd name="connsiteX2" fmla="*/ 2615 w 42490"/>
                <a:gd name="connsiteY2" fmla="*/ 7024 h 24824"/>
                <a:gd name="connsiteX3" fmla="*/ 1656 w 42490"/>
                <a:gd name="connsiteY3" fmla="*/ 9162 h 24824"/>
                <a:gd name="connsiteX4" fmla="*/ 392 w 42490"/>
                <a:gd name="connsiteY4" fmla="*/ 10994 h 24824"/>
                <a:gd name="connsiteX5" fmla="*/ 87 w 42490"/>
                <a:gd name="connsiteY5" fmla="*/ 11649 h 24824"/>
                <a:gd name="connsiteX6" fmla="*/ 0 w 42490"/>
                <a:gd name="connsiteY6" fmla="*/ 12303 h 24824"/>
                <a:gd name="connsiteX7" fmla="*/ 174 w 42490"/>
                <a:gd name="connsiteY7" fmla="*/ 13045 h 24824"/>
                <a:gd name="connsiteX8" fmla="*/ 1351 w 42490"/>
                <a:gd name="connsiteY8" fmla="*/ 16273 h 24824"/>
                <a:gd name="connsiteX9" fmla="*/ 3399 w 42490"/>
                <a:gd name="connsiteY9" fmla="*/ 17538 h 24824"/>
                <a:gd name="connsiteX10" fmla="*/ 5753 w 42490"/>
                <a:gd name="connsiteY10" fmla="*/ 20200 h 24824"/>
                <a:gd name="connsiteX11" fmla="*/ 7452 w 42490"/>
                <a:gd name="connsiteY11" fmla="*/ 21814 h 24824"/>
                <a:gd name="connsiteX12" fmla="*/ 9893 w 42490"/>
                <a:gd name="connsiteY12" fmla="*/ 22992 h 24824"/>
                <a:gd name="connsiteX13" fmla="*/ 12333 w 42490"/>
                <a:gd name="connsiteY13" fmla="*/ 23733 h 24824"/>
                <a:gd name="connsiteX14" fmla="*/ 15776 w 42490"/>
                <a:gd name="connsiteY14" fmla="*/ 23733 h 24824"/>
                <a:gd name="connsiteX15" fmla="*/ 18042 w 42490"/>
                <a:gd name="connsiteY15" fmla="*/ 24170 h 24824"/>
                <a:gd name="connsiteX16" fmla="*/ 20483 w 42490"/>
                <a:gd name="connsiteY16" fmla="*/ 24388 h 24824"/>
                <a:gd name="connsiteX17" fmla="*/ 23795 w 42490"/>
                <a:gd name="connsiteY17" fmla="*/ 24606 h 24824"/>
                <a:gd name="connsiteX18" fmla="*/ 26976 w 42490"/>
                <a:gd name="connsiteY18" fmla="*/ 24824 h 24824"/>
                <a:gd name="connsiteX19" fmla="*/ 30942 w 42490"/>
                <a:gd name="connsiteY19" fmla="*/ 24519 h 24824"/>
                <a:gd name="connsiteX20" fmla="*/ 33949 w 42490"/>
                <a:gd name="connsiteY20" fmla="*/ 23646 h 24824"/>
                <a:gd name="connsiteX21" fmla="*/ 37566 w 42490"/>
                <a:gd name="connsiteY21" fmla="*/ 22163 h 24824"/>
                <a:gd name="connsiteX22" fmla="*/ 39178 w 42490"/>
                <a:gd name="connsiteY22" fmla="*/ 20331 h 24824"/>
                <a:gd name="connsiteX23" fmla="*/ 41009 w 42490"/>
                <a:gd name="connsiteY23" fmla="*/ 18629 h 24824"/>
                <a:gd name="connsiteX24" fmla="*/ 42490 w 42490"/>
                <a:gd name="connsiteY24" fmla="*/ 16273 h 24824"/>
                <a:gd name="connsiteX25" fmla="*/ 42403 w 42490"/>
                <a:gd name="connsiteY25" fmla="*/ 13830 h 24824"/>
                <a:gd name="connsiteX26" fmla="*/ 41749 w 42490"/>
                <a:gd name="connsiteY26" fmla="*/ 10296 h 24824"/>
                <a:gd name="connsiteX27" fmla="*/ 37914 w 42490"/>
                <a:gd name="connsiteY27" fmla="*/ 4712 h 24824"/>
                <a:gd name="connsiteX28" fmla="*/ 34515 w 42490"/>
                <a:gd name="connsiteY28" fmla="*/ 2138 h 24824"/>
                <a:gd name="connsiteX29" fmla="*/ 32816 w 42490"/>
                <a:gd name="connsiteY29" fmla="*/ 1309 h 24824"/>
                <a:gd name="connsiteX30" fmla="*/ 31552 w 42490"/>
                <a:gd name="connsiteY30" fmla="*/ 829 h 24824"/>
                <a:gd name="connsiteX31" fmla="*/ 30332 w 42490"/>
                <a:gd name="connsiteY31" fmla="*/ 654 h 24824"/>
                <a:gd name="connsiteX32" fmla="*/ 26366 w 42490"/>
                <a:gd name="connsiteY32" fmla="*/ 960 h 24824"/>
                <a:gd name="connsiteX33" fmla="*/ 22400 w 42490"/>
                <a:gd name="connsiteY33" fmla="*/ 305 h 24824"/>
                <a:gd name="connsiteX34" fmla="*/ 20483 w 42490"/>
                <a:gd name="connsiteY34" fmla="*/ 0 h 24824"/>
                <a:gd name="connsiteX35" fmla="*/ 18042 w 42490"/>
                <a:gd name="connsiteY35" fmla="*/ 524 h 24824"/>
                <a:gd name="connsiteX36" fmla="*/ 14817 w 42490"/>
                <a:gd name="connsiteY36" fmla="*/ 960 h 24824"/>
                <a:gd name="connsiteX37" fmla="*/ 12769 w 42490"/>
                <a:gd name="connsiteY37" fmla="*/ 1701 h 24824"/>
                <a:gd name="connsiteX38" fmla="*/ 9239 w 42490"/>
                <a:gd name="connsiteY38" fmla="*/ 2661 h 24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2490" h="24824">
                  <a:moveTo>
                    <a:pt x="9239" y="2661"/>
                  </a:moveTo>
                  <a:lnTo>
                    <a:pt x="5709" y="4668"/>
                  </a:lnTo>
                  <a:lnTo>
                    <a:pt x="2615" y="7024"/>
                  </a:lnTo>
                  <a:lnTo>
                    <a:pt x="1656" y="9162"/>
                  </a:lnTo>
                  <a:lnTo>
                    <a:pt x="392" y="10994"/>
                  </a:lnTo>
                  <a:lnTo>
                    <a:pt x="87" y="11649"/>
                  </a:lnTo>
                  <a:lnTo>
                    <a:pt x="0" y="12303"/>
                  </a:lnTo>
                  <a:lnTo>
                    <a:pt x="174" y="13045"/>
                  </a:lnTo>
                  <a:lnTo>
                    <a:pt x="1351" y="16273"/>
                  </a:lnTo>
                  <a:lnTo>
                    <a:pt x="3399" y="17538"/>
                  </a:lnTo>
                  <a:lnTo>
                    <a:pt x="5753" y="20200"/>
                  </a:lnTo>
                  <a:lnTo>
                    <a:pt x="7452" y="21814"/>
                  </a:lnTo>
                  <a:lnTo>
                    <a:pt x="9893" y="22992"/>
                  </a:lnTo>
                  <a:lnTo>
                    <a:pt x="12333" y="23733"/>
                  </a:lnTo>
                  <a:lnTo>
                    <a:pt x="15776" y="23733"/>
                  </a:lnTo>
                  <a:lnTo>
                    <a:pt x="18042" y="24170"/>
                  </a:lnTo>
                  <a:lnTo>
                    <a:pt x="20483" y="24388"/>
                  </a:lnTo>
                  <a:lnTo>
                    <a:pt x="23795" y="24606"/>
                  </a:lnTo>
                  <a:lnTo>
                    <a:pt x="26976" y="24824"/>
                  </a:lnTo>
                  <a:lnTo>
                    <a:pt x="30942" y="24519"/>
                  </a:lnTo>
                  <a:lnTo>
                    <a:pt x="33949" y="23646"/>
                  </a:lnTo>
                  <a:lnTo>
                    <a:pt x="37566" y="22163"/>
                  </a:lnTo>
                  <a:lnTo>
                    <a:pt x="39178" y="20331"/>
                  </a:lnTo>
                  <a:lnTo>
                    <a:pt x="41009" y="18629"/>
                  </a:lnTo>
                  <a:lnTo>
                    <a:pt x="42490" y="16273"/>
                  </a:lnTo>
                  <a:lnTo>
                    <a:pt x="42403" y="13830"/>
                  </a:lnTo>
                  <a:lnTo>
                    <a:pt x="41749" y="10296"/>
                  </a:lnTo>
                  <a:lnTo>
                    <a:pt x="37914" y="4712"/>
                  </a:lnTo>
                  <a:lnTo>
                    <a:pt x="34515" y="2138"/>
                  </a:lnTo>
                  <a:lnTo>
                    <a:pt x="32816" y="1309"/>
                  </a:lnTo>
                  <a:lnTo>
                    <a:pt x="31552" y="829"/>
                  </a:lnTo>
                  <a:lnTo>
                    <a:pt x="30332" y="654"/>
                  </a:lnTo>
                  <a:lnTo>
                    <a:pt x="26366" y="960"/>
                  </a:lnTo>
                  <a:lnTo>
                    <a:pt x="22400" y="305"/>
                  </a:lnTo>
                  <a:lnTo>
                    <a:pt x="20483" y="0"/>
                  </a:lnTo>
                  <a:lnTo>
                    <a:pt x="18042" y="524"/>
                  </a:lnTo>
                  <a:lnTo>
                    <a:pt x="14817" y="960"/>
                  </a:lnTo>
                  <a:lnTo>
                    <a:pt x="12769" y="1701"/>
                  </a:lnTo>
                  <a:lnTo>
                    <a:pt x="9239" y="2661"/>
                  </a:lnTo>
                </a:path>
              </a:pathLst>
            </a:custGeom>
            <a:solidFill>
              <a:schemeClr val="bg1"/>
            </a:solidFill>
            <a:ln w="4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BD8BCDD1-090A-C6AE-70BB-B9864F5BB458}"/>
                </a:ext>
              </a:extLst>
            </p:cNvPr>
            <p:cNvSpPr/>
            <p:nvPr/>
          </p:nvSpPr>
          <p:spPr>
            <a:xfrm>
              <a:off x="10870467" y="643977"/>
              <a:ext cx="36258" cy="9641"/>
            </a:xfrm>
            <a:custGeom>
              <a:avLst/>
              <a:gdLst>
                <a:gd name="connsiteX0" fmla="*/ 741 w 36258"/>
                <a:gd name="connsiteY0" fmla="*/ 218 h 9641"/>
                <a:gd name="connsiteX1" fmla="*/ 19785 w 36258"/>
                <a:gd name="connsiteY1" fmla="*/ 654 h 9641"/>
                <a:gd name="connsiteX2" fmla="*/ 22618 w 36258"/>
                <a:gd name="connsiteY2" fmla="*/ 87 h 9641"/>
                <a:gd name="connsiteX3" fmla="*/ 26279 w 36258"/>
                <a:gd name="connsiteY3" fmla="*/ 0 h 9641"/>
                <a:gd name="connsiteX4" fmla="*/ 29939 w 36258"/>
                <a:gd name="connsiteY4" fmla="*/ 393 h 9641"/>
                <a:gd name="connsiteX5" fmla="*/ 32728 w 36258"/>
                <a:gd name="connsiteY5" fmla="*/ 1178 h 9641"/>
                <a:gd name="connsiteX6" fmla="*/ 34864 w 36258"/>
                <a:gd name="connsiteY6" fmla="*/ 2618 h 9641"/>
                <a:gd name="connsiteX7" fmla="*/ 35648 w 36258"/>
                <a:gd name="connsiteY7" fmla="*/ 3621 h 9641"/>
                <a:gd name="connsiteX8" fmla="*/ 36128 w 36258"/>
                <a:gd name="connsiteY8" fmla="*/ 4668 h 9641"/>
                <a:gd name="connsiteX9" fmla="*/ 36258 w 36258"/>
                <a:gd name="connsiteY9" fmla="*/ 5802 h 9641"/>
                <a:gd name="connsiteX10" fmla="*/ 35910 w 36258"/>
                <a:gd name="connsiteY10" fmla="*/ 6980 h 9641"/>
                <a:gd name="connsiteX11" fmla="*/ 35082 w 36258"/>
                <a:gd name="connsiteY11" fmla="*/ 8115 h 9641"/>
                <a:gd name="connsiteX12" fmla="*/ 33600 w 36258"/>
                <a:gd name="connsiteY12" fmla="*/ 9205 h 9641"/>
                <a:gd name="connsiteX13" fmla="*/ 31421 w 36258"/>
                <a:gd name="connsiteY13" fmla="*/ 9642 h 9641"/>
                <a:gd name="connsiteX14" fmla="*/ 27542 w 36258"/>
                <a:gd name="connsiteY14" fmla="*/ 9642 h 9641"/>
                <a:gd name="connsiteX15" fmla="*/ 17083 w 36258"/>
                <a:gd name="connsiteY15" fmla="*/ 8856 h 9641"/>
                <a:gd name="connsiteX16" fmla="*/ 1133 w 36258"/>
                <a:gd name="connsiteY16" fmla="*/ 7024 h 9641"/>
                <a:gd name="connsiteX17" fmla="*/ 523 w 36258"/>
                <a:gd name="connsiteY17" fmla="*/ 6762 h 9641"/>
                <a:gd name="connsiteX18" fmla="*/ 174 w 36258"/>
                <a:gd name="connsiteY18" fmla="*/ 6152 h 9641"/>
                <a:gd name="connsiteX19" fmla="*/ 0 w 36258"/>
                <a:gd name="connsiteY19" fmla="*/ 4188 h 9641"/>
                <a:gd name="connsiteX20" fmla="*/ 741 w 36258"/>
                <a:gd name="connsiteY20" fmla="*/ 218 h 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6258" h="9641">
                  <a:moveTo>
                    <a:pt x="741" y="218"/>
                  </a:moveTo>
                  <a:lnTo>
                    <a:pt x="19785" y="654"/>
                  </a:lnTo>
                  <a:lnTo>
                    <a:pt x="22618" y="87"/>
                  </a:lnTo>
                  <a:lnTo>
                    <a:pt x="26279" y="0"/>
                  </a:lnTo>
                  <a:lnTo>
                    <a:pt x="29939" y="393"/>
                  </a:lnTo>
                  <a:lnTo>
                    <a:pt x="32728" y="1178"/>
                  </a:lnTo>
                  <a:lnTo>
                    <a:pt x="34864" y="2618"/>
                  </a:lnTo>
                  <a:lnTo>
                    <a:pt x="35648" y="3621"/>
                  </a:lnTo>
                  <a:lnTo>
                    <a:pt x="36128" y="4668"/>
                  </a:lnTo>
                  <a:lnTo>
                    <a:pt x="36258" y="5802"/>
                  </a:lnTo>
                  <a:lnTo>
                    <a:pt x="35910" y="6980"/>
                  </a:lnTo>
                  <a:lnTo>
                    <a:pt x="35082" y="8115"/>
                  </a:lnTo>
                  <a:lnTo>
                    <a:pt x="33600" y="9205"/>
                  </a:lnTo>
                  <a:lnTo>
                    <a:pt x="31421" y="9642"/>
                  </a:lnTo>
                  <a:lnTo>
                    <a:pt x="27542" y="9642"/>
                  </a:lnTo>
                  <a:lnTo>
                    <a:pt x="17083" y="8856"/>
                  </a:lnTo>
                  <a:lnTo>
                    <a:pt x="1133" y="7024"/>
                  </a:lnTo>
                  <a:lnTo>
                    <a:pt x="523" y="6762"/>
                  </a:lnTo>
                  <a:lnTo>
                    <a:pt x="174" y="6152"/>
                  </a:lnTo>
                  <a:lnTo>
                    <a:pt x="0" y="4188"/>
                  </a:lnTo>
                  <a:lnTo>
                    <a:pt x="741" y="218"/>
                  </a:lnTo>
                </a:path>
              </a:pathLst>
            </a:custGeom>
            <a:solidFill>
              <a:schemeClr val="bg1"/>
            </a:solidFill>
            <a:ln w="4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C951F30A-5557-FC58-FE12-B976AE57996C}"/>
                </a:ext>
              </a:extLst>
            </p:cNvPr>
            <p:cNvSpPr/>
            <p:nvPr/>
          </p:nvSpPr>
          <p:spPr>
            <a:xfrm>
              <a:off x="10872297" y="661777"/>
              <a:ext cx="34950" cy="9467"/>
            </a:xfrm>
            <a:custGeom>
              <a:avLst/>
              <a:gdLst>
                <a:gd name="connsiteX0" fmla="*/ 4271 w 34950"/>
                <a:gd name="connsiteY0" fmla="*/ 0 h 9467"/>
                <a:gd name="connsiteX1" fmla="*/ 5927 w 34950"/>
                <a:gd name="connsiteY1" fmla="*/ 1003 h 9467"/>
                <a:gd name="connsiteX2" fmla="*/ 6973 w 34950"/>
                <a:gd name="connsiteY2" fmla="*/ 1614 h 9467"/>
                <a:gd name="connsiteX3" fmla="*/ 8149 w 34950"/>
                <a:gd name="connsiteY3" fmla="*/ 1920 h 9467"/>
                <a:gd name="connsiteX4" fmla="*/ 8977 w 34950"/>
                <a:gd name="connsiteY4" fmla="*/ 1745 h 9467"/>
                <a:gd name="connsiteX5" fmla="*/ 9936 w 34950"/>
                <a:gd name="connsiteY5" fmla="*/ 1309 h 9467"/>
                <a:gd name="connsiteX6" fmla="*/ 10895 w 34950"/>
                <a:gd name="connsiteY6" fmla="*/ 829 h 9467"/>
                <a:gd name="connsiteX7" fmla="*/ 11854 w 34950"/>
                <a:gd name="connsiteY7" fmla="*/ 611 h 9467"/>
                <a:gd name="connsiteX8" fmla="*/ 13510 w 34950"/>
                <a:gd name="connsiteY8" fmla="*/ 1222 h 9467"/>
                <a:gd name="connsiteX9" fmla="*/ 15297 w 34950"/>
                <a:gd name="connsiteY9" fmla="*/ 1832 h 9467"/>
                <a:gd name="connsiteX10" fmla="*/ 16778 w 34950"/>
                <a:gd name="connsiteY10" fmla="*/ 1352 h 9467"/>
                <a:gd name="connsiteX11" fmla="*/ 18304 w 34950"/>
                <a:gd name="connsiteY11" fmla="*/ 916 h 9467"/>
                <a:gd name="connsiteX12" fmla="*/ 20090 w 34950"/>
                <a:gd name="connsiteY12" fmla="*/ 1571 h 9467"/>
                <a:gd name="connsiteX13" fmla="*/ 20962 w 34950"/>
                <a:gd name="connsiteY13" fmla="*/ 1920 h 9467"/>
                <a:gd name="connsiteX14" fmla="*/ 21833 w 34950"/>
                <a:gd name="connsiteY14" fmla="*/ 1920 h 9467"/>
                <a:gd name="connsiteX15" fmla="*/ 27368 w 34950"/>
                <a:gd name="connsiteY15" fmla="*/ 1178 h 9467"/>
                <a:gd name="connsiteX16" fmla="*/ 31595 w 34950"/>
                <a:gd name="connsiteY16" fmla="*/ 1876 h 9467"/>
                <a:gd name="connsiteX17" fmla="*/ 31857 w 34950"/>
                <a:gd name="connsiteY17" fmla="*/ 2051 h 9467"/>
                <a:gd name="connsiteX18" fmla="*/ 31988 w 34950"/>
                <a:gd name="connsiteY18" fmla="*/ 2269 h 9467"/>
                <a:gd name="connsiteX19" fmla="*/ 31857 w 34950"/>
                <a:gd name="connsiteY19" fmla="*/ 2792 h 9467"/>
                <a:gd name="connsiteX20" fmla="*/ 31683 w 34950"/>
                <a:gd name="connsiteY20" fmla="*/ 3359 h 9467"/>
                <a:gd name="connsiteX21" fmla="*/ 31857 w 34950"/>
                <a:gd name="connsiteY21" fmla="*/ 3883 h 9467"/>
                <a:gd name="connsiteX22" fmla="*/ 32903 w 34950"/>
                <a:gd name="connsiteY22" fmla="*/ 4494 h 9467"/>
                <a:gd name="connsiteX23" fmla="*/ 34079 w 34950"/>
                <a:gd name="connsiteY23" fmla="*/ 4974 h 9467"/>
                <a:gd name="connsiteX24" fmla="*/ 34559 w 34950"/>
                <a:gd name="connsiteY24" fmla="*/ 5323 h 9467"/>
                <a:gd name="connsiteX25" fmla="*/ 34864 w 34950"/>
                <a:gd name="connsiteY25" fmla="*/ 5846 h 9467"/>
                <a:gd name="connsiteX26" fmla="*/ 34951 w 34950"/>
                <a:gd name="connsiteY26" fmla="*/ 6631 h 9467"/>
                <a:gd name="connsiteX27" fmla="*/ 34733 w 34950"/>
                <a:gd name="connsiteY27" fmla="*/ 7722 h 9467"/>
                <a:gd name="connsiteX28" fmla="*/ 34384 w 34950"/>
                <a:gd name="connsiteY28" fmla="*/ 8246 h 9467"/>
                <a:gd name="connsiteX29" fmla="*/ 33600 w 34950"/>
                <a:gd name="connsiteY29" fmla="*/ 8682 h 9467"/>
                <a:gd name="connsiteX30" fmla="*/ 31203 w 34950"/>
                <a:gd name="connsiteY30" fmla="*/ 9205 h 9467"/>
                <a:gd name="connsiteX31" fmla="*/ 23620 w 34950"/>
                <a:gd name="connsiteY31" fmla="*/ 9467 h 9467"/>
                <a:gd name="connsiteX32" fmla="*/ 12769 w 34950"/>
                <a:gd name="connsiteY32" fmla="*/ 8071 h 9467"/>
                <a:gd name="connsiteX33" fmla="*/ 3356 w 34950"/>
                <a:gd name="connsiteY33" fmla="*/ 6326 h 9467"/>
                <a:gd name="connsiteX34" fmla="*/ 1961 w 34950"/>
                <a:gd name="connsiteY34" fmla="*/ 5759 h 9467"/>
                <a:gd name="connsiteX35" fmla="*/ 915 w 34950"/>
                <a:gd name="connsiteY35" fmla="*/ 4494 h 9467"/>
                <a:gd name="connsiteX36" fmla="*/ 218 w 34950"/>
                <a:gd name="connsiteY36" fmla="*/ 3010 h 9467"/>
                <a:gd name="connsiteX37" fmla="*/ 0 w 34950"/>
                <a:gd name="connsiteY37" fmla="*/ 1701 h 9467"/>
                <a:gd name="connsiteX38" fmla="*/ 4271 w 34950"/>
                <a:gd name="connsiteY38" fmla="*/ 0 h 9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4950" h="9467">
                  <a:moveTo>
                    <a:pt x="4271" y="0"/>
                  </a:moveTo>
                  <a:lnTo>
                    <a:pt x="5927" y="1003"/>
                  </a:lnTo>
                  <a:lnTo>
                    <a:pt x="6973" y="1614"/>
                  </a:lnTo>
                  <a:lnTo>
                    <a:pt x="8149" y="1920"/>
                  </a:lnTo>
                  <a:lnTo>
                    <a:pt x="8977" y="1745"/>
                  </a:lnTo>
                  <a:lnTo>
                    <a:pt x="9936" y="1309"/>
                  </a:lnTo>
                  <a:lnTo>
                    <a:pt x="10895" y="829"/>
                  </a:lnTo>
                  <a:lnTo>
                    <a:pt x="11854" y="611"/>
                  </a:lnTo>
                  <a:lnTo>
                    <a:pt x="13510" y="1222"/>
                  </a:lnTo>
                  <a:lnTo>
                    <a:pt x="15297" y="1832"/>
                  </a:lnTo>
                  <a:lnTo>
                    <a:pt x="16778" y="1352"/>
                  </a:lnTo>
                  <a:lnTo>
                    <a:pt x="18304" y="916"/>
                  </a:lnTo>
                  <a:lnTo>
                    <a:pt x="20090" y="1571"/>
                  </a:lnTo>
                  <a:lnTo>
                    <a:pt x="20962" y="1920"/>
                  </a:lnTo>
                  <a:lnTo>
                    <a:pt x="21833" y="1920"/>
                  </a:lnTo>
                  <a:lnTo>
                    <a:pt x="27368" y="1178"/>
                  </a:lnTo>
                  <a:lnTo>
                    <a:pt x="31595" y="1876"/>
                  </a:lnTo>
                  <a:lnTo>
                    <a:pt x="31857" y="2051"/>
                  </a:lnTo>
                  <a:lnTo>
                    <a:pt x="31988" y="2269"/>
                  </a:lnTo>
                  <a:lnTo>
                    <a:pt x="31857" y="2792"/>
                  </a:lnTo>
                  <a:lnTo>
                    <a:pt x="31683" y="3359"/>
                  </a:lnTo>
                  <a:lnTo>
                    <a:pt x="31857" y="3883"/>
                  </a:lnTo>
                  <a:lnTo>
                    <a:pt x="32903" y="4494"/>
                  </a:lnTo>
                  <a:lnTo>
                    <a:pt x="34079" y="4974"/>
                  </a:lnTo>
                  <a:lnTo>
                    <a:pt x="34559" y="5323"/>
                  </a:lnTo>
                  <a:lnTo>
                    <a:pt x="34864" y="5846"/>
                  </a:lnTo>
                  <a:lnTo>
                    <a:pt x="34951" y="6631"/>
                  </a:lnTo>
                  <a:lnTo>
                    <a:pt x="34733" y="7722"/>
                  </a:lnTo>
                  <a:lnTo>
                    <a:pt x="34384" y="8246"/>
                  </a:lnTo>
                  <a:lnTo>
                    <a:pt x="33600" y="8682"/>
                  </a:lnTo>
                  <a:lnTo>
                    <a:pt x="31203" y="9205"/>
                  </a:lnTo>
                  <a:lnTo>
                    <a:pt x="23620" y="9467"/>
                  </a:lnTo>
                  <a:lnTo>
                    <a:pt x="12769" y="8071"/>
                  </a:lnTo>
                  <a:lnTo>
                    <a:pt x="3356" y="6326"/>
                  </a:lnTo>
                  <a:lnTo>
                    <a:pt x="1961" y="5759"/>
                  </a:lnTo>
                  <a:lnTo>
                    <a:pt x="915" y="4494"/>
                  </a:lnTo>
                  <a:lnTo>
                    <a:pt x="218" y="3010"/>
                  </a:lnTo>
                  <a:lnTo>
                    <a:pt x="0" y="1701"/>
                  </a:lnTo>
                  <a:lnTo>
                    <a:pt x="4271" y="0"/>
                  </a:lnTo>
                </a:path>
              </a:pathLst>
            </a:custGeom>
            <a:solidFill>
              <a:schemeClr val="bg1"/>
            </a:solidFill>
            <a:ln w="4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AEE981CA-9900-7995-E732-4A992E3728AC}"/>
                </a:ext>
              </a:extLst>
            </p:cNvPr>
            <p:cNvSpPr/>
            <p:nvPr/>
          </p:nvSpPr>
          <p:spPr>
            <a:xfrm>
              <a:off x="10870597" y="672030"/>
              <a:ext cx="36171" cy="10296"/>
            </a:xfrm>
            <a:custGeom>
              <a:avLst/>
              <a:gdLst>
                <a:gd name="connsiteX0" fmla="*/ 3399 w 36171"/>
                <a:gd name="connsiteY0" fmla="*/ 0 h 10296"/>
                <a:gd name="connsiteX1" fmla="*/ 6319 w 36171"/>
                <a:gd name="connsiteY1" fmla="*/ 1134 h 10296"/>
                <a:gd name="connsiteX2" fmla="*/ 7757 w 36171"/>
                <a:gd name="connsiteY2" fmla="*/ 1658 h 10296"/>
                <a:gd name="connsiteX3" fmla="*/ 9195 w 36171"/>
                <a:gd name="connsiteY3" fmla="*/ 1614 h 10296"/>
                <a:gd name="connsiteX4" fmla="*/ 22139 w 36171"/>
                <a:gd name="connsiteY4" fmla="*/ 1003 h 10296"/>
                <a:gd name="connsiteX5" fmla="*/ 27325 w 36171"/>
                <a:gd name="connsiteY5" fmla="*/ 1483 h 10296"/>
                <a:gd name="connsiteX6" fmla="*/ 31377 w 36171"/>
                <a:gd name="connsiteY6" fmla="*/ 2487 h 10296"/>
                <a:gd name="connsiteX7" fmla="*/ 33208 w 36171"/>
                <a:gd name="connsiteY7" fmla="*/ 2967 h 10296"/>
                <a:gd name="connsiteX8" fmla="*/ 34254 w 36171"/>
                <a:gd name="connsiteY8" fmla="*/ 3403 h 10296"/>
                <a:gd name="connsiteX9" fmla="*/ 35082 w 36171"/>
                <a:gd name="connsiteY9" fmla="*/ 4014 h 10296"/>
                <a:gd name="connsiteX10" fmla="*/ 35997 w 36171"/>
                <a:gd name="connsiteY10" fmla="*/ 5628 h 10296"/>
                <a:gd name="connsiteX11" fmla="*/ 36171 w 36171"/>
                <a:gd name="connsiteY11" fmla="*/ 7199 h 10296"/>
                <a:gd name="connsiteX12" fmla="*/ 35779 w 36171"/>
                <a:gd name="connsiteY12" fmla="*/ 8551 h 10296"/>
                <a:gd name="connsiteX13" fmla="*/ 35082 w 36171"/>
                <a:gd name="connsiteY13" fmla="*/ 9424 h 10296"/>
                <a:gd name="connsiteX14" fmla="*/ 35082 w 36171"/>
                <a:gd name="connsiteY14" fmla="*/ 10296 h 10296"/>
                <a:gd name="connsiteX15" fmla="*/ 22400 w 36171"/>
                <a:gd name="connsiteY15" fmla="*/ 10253 h 10296"/>
                <a:gd name="connsiteX16" fmla="*/ 18173 w 36171"/>
                <a:gd name="connsiteY16" fmla="*/ 10296 h 10296"/>
                <a:gd name="connsiteX17" fmla="*/ 13989 w 36171"/>
                <a:gd name="connsiteY17" fmla="*/ 9947 h 10296"/>
                <a:gd name="connsiteX18" fmla="*/ 9805 w 36171"/>
                <a:gd name="connsiteY18" fmla="*/ 9205 h 10296"/>
                <a:gd name="connsiteX19" fmla="*/ 6058 w 36171"/>
                <a:gd name="connsiteY19" fmla="*/ 8595 h 10296"/>
                <a:gd name="connsiteX20" fmla="*/ 3356 w 36171"/>
                <a:gd name="connsiteY20" fmla="*/ 8158 h 10296"/>
                <a:gd name="connsiteX21" fmla="*/ 2266 w 36171"/>
                <a:gd name="connsiteY21" fmla="*/ 7897 h 10296"/>
                <a:gd name="connsiteX22" fmla="*/ 1525 w 36171"/>
                <a:gd name="connsiteY22" fmla="*/ 7199 h 10296"/>
                <a:gd name="connsiteX23" fmla="*/ 479 w 36171"/>
                <a:gd name="connsiteY23" fmla="*/ 4974 h 10296"/>
                <a:gd name="connsiteX24" fmla="*/ 0 w 36171"/>
                <a:gd name="connsiteY24" fmla="*/ 2574 h 10296"/>
                <a:gd name="connsiteX25" fmla="*/ 3399 w 36171"/>
                <a:gd name="connsiteY25" fmla="*/ 0 h 1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171" h="10296">
                  <a:moveTo>
                    <a:pt x="3399" y="0"/>
                  </a:moveTo>
                  <a:lnTo>
                    <a:pt x="6319" y="1134"/>
                  </a:lnTo>
                  <a:lnTo>
                    <a:pt x="7757" y="1658"/>
                  </a:lnTo>
                  <a:lnTo>
                    <a:pt x="9195" y="1614"/>
                  </a:lnTo>
                  <a:lnTo>
                    <a:pt x="22139" y="1003"/>
                  </a:lnTo>
                  <a:lnTo>
                    <a:pt x="27325" y="1483"/>
                  </a:lnTo>
                  <a:lnTo>
                    <a:pt x="31377" y="2487"/>
                  </a:lnTo>
                  <a:lnTo>
                    <a:pt x="33208" y="2967"/>
                  </a:lnTo>
                  <a:lnTo>
                    <a:pt x="34254" y="3403"/>
                  </a:lnTo>
                  <a:lnTo>
                    <a:pt x="35082" y="4014"/>
                  </a:lnTo>
                  <a:lnTo>
                    <a:pt x="35997" y="5628"/>
                  </a:lnTo>
                  <a:lnTo>
                    <a:pt x="36171" y="7199"/>
                  </a:lnTo>
                  <a:lnTo>
                    <a:pt x="35779" y="8551"/>
                  </a:lnTo>
                  <a:lnTo>
                    <a:pt x="35082" y="9424"/>
                  </a:lnTo>
                  <a:lnTo>
                    <a:pt x="35082" y="10296"/>
                  </a:lnTo>
                  <a:lnTo>
                    <a:pt x="22400" y="10253"/>
                  </a:lnTo>
                  <a:lnTo>
                    <a:pt x="18173" y="10296"/>
                  </a:lnTo>
                  <a:lnTo>
                    <a:pt x="13989" y="9947"/>
                  </a:lnTo>
                  <a:lnTo>
                    <a:pt x="9805" y="9205"/>
                  </a:lnTo>
                  <a:lnTo>
                    <a:pt x="6058" y="8595"/>
                  </a:lnTo>
                  <a:lnTo>
                    <a:pt x="3356" y="8158"/>
                  </a:lnTo>
                  <a:lnTo>
                    <a:pt x="2266" y="7897"/>
                  </a:lnTo>
                  <a:lnTo>
                    <a:pt x="1525" y="7199"/>
                  </a:lnTo>
                  <a:lnTo>
                    <a:pt x="479" y="4974"/>
                  </a:lnTo>
                  <a:lnTo>
                    <a:pt x="0" y="2574"/>
                  </a:lnTo>
                  <a:lnTo>
                    <a:pt x="3399" y="0"/>
                  </a:lnTo>
                </a:path>
              </a:pathLst>
            </a:custGeom>
            <a:solidFill>
              <a:schemeClr val="bg1"/>
            </a:solidFill>
            <a:ln w="4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EE8FDB61-1110-B408-F0FD-2A29E2650D8D}"/>
                </a:ext>
              </a:extLst>
            </p:cNvPr>
            <p:cNvSpPr/>
            <p:nvPr/>
          </p:nvSpPr>
          <p:spPr>
            <a:xfrm>
              <a:off x="10870641" y="687169"/>
              <a:ext cx="36781" cy="16883"/>
            </a:xfrm>
            <a:custGeom>
              <a:avLst/>
              <a:gdLst>
                <a:gd name="connsiteX0" fmla="*/ 4314 w 36781"/>
                <a:gd name="connsiteY0" fmla="*/ 0 h 16883"/>
                <a:gd name="connsiteX1" fmla="*/ 10067 w 36781"/>
                <a:gd name="connsiteY1" fmla="*/ 742 h 16883"/>
                <a:gd name="connsiteX2" fmla="*/ 11984 w 36781"/>
                <a:gd name="connsiteY2" fmla="*/ 960 h 16883"/>
                <a:gd name="connsiteX3" fmla="*/ 13640 w 36781"/>
                <a:gd name="connsiteY3" fmla="*/ 654 h 16883"/>
                <a:gd name="connsiteX4" fmla="*/ 15863 w 36781"/>
                <a:gd name="connsiteY4" fmla="*/ 436 h 16883"/>
                <a:gd name="connsiteX5" fmla="*/ 19349 w 36781"/>
                <a:gd name="connsiteY5" fmla="*/ 698 h 16883"/>
                <a:gd name="connsiteX6" fmla="*/ 24361 w 36781"/>
                <a:gd name="connsiteY6" fmla="*/ 785 h 16883"/>
                <a:gd name="connsiteX7" fmla="*/ 29416 w 36781"/>
                <a:gd name="connsiteY7" fmla="*/ 524 h 16883"/>
                <a:gd name="connsiteX8" fmla="*/ 31160 w 36781"/>
                <a:gd name="connsiteY8" fmla="*/ 480 h 16883"/>
                <a:gd name="connsiteX9" fmla="*/ 32641 w 36781"/>
                <a:gd name="connsiteY9" fmla="*/ 1091 h 16883"/>
                <a:gd name="connsiteX10" fmla="*/ 35256 w 36781"/>
                <a:gd name="connsiteY10" fmla="*/ 3272 h 16883"/>
                <a:gd name="connsiteX11" fmla="*/ 36128 w 36781"/>
                <a:gd name="connsiteY11" fmla="*/ 4363 h 16883"/>
                <a:gd name="connsiteX12" fmla="*/ 36651 w 36781"/>
                <a:gd name="connsiteY12" fmla="*/ 5628 h 16883"/>
                <a:gd name="connsiteX13" fmla="*/ 36781 w 36781"/>
                <a:gd name="connsiteY13" fmla="*/ 7024 h 16883"/>
                <a:gd name="connsiteX14" fmla="*/ 36433 w 36781"/>
                <a:gd name="connsiteY14" fmla="*/ 8420 h 16883"/>
                <a:gd name="connsiteX15" fmla="*/ 34907 w 36781"/>
                <a:gd name="connsiteY15" fmla="*/ 12696 h 16883"/>
                <a:gd name="connsiteX16" fmla="*/ 34036 w 36781"/>
                <a:gd name="connsiteY16" fmla="*/ 14572 h 16883"/>
                <a:gd name="connsiteX17" fmla="*/ 32772 w 36781"/>
                <a:gd name="connsiteY17" fmla="*/ 16099 h 16883"/>
                <a:gd name="connsiteX18" fmla="*/ 32031 w 36781"/>
                <a:gd name="connsiteY18" fmla="*/ 16448 h 16883"/>
                <a:gd name="connsiteX19" fmla="*/ 31160 w 36781"/>
                <a:gd name="connsiteY19" fmla="*/ 16491 h 16883"/>
                <a:gd name="connsiteX20" fmla="*/ 29024 w 36781"/>
                <a:gd name="connsiteY20" fmla="*/ 16099 h 16883"/>
                <a:gd name="connsiteX21" fmla="*/ 26802 w 36781"/>
                <a:gd name="connsiteY21" fmla="*/ 15488 h 16883"/>
                <a:gd name="connsiteX22" fmla="*/ 24884 w 36781"/>
                <a:gd name="connsiteY22" fmla="*/ 15226 h 16883"/>
                <a:gd name="connsiteX23" fmla="*/ 23490 w 36781"/>
                <a:gd name="connsiteY23" fmla="*/ 15575 h 16883"/>
                <a:gd name="connsiteX24" fmla="*/ 22269 w 36781"/>
                <a:gd name="connsiteY24" fmla="*/ 16186 h 16883"/>
                <a:gd name="connsiteX25" fmla="*/ 21005 w 36781"/>
                <a:gd name="connsiteY25" fmla="*/ 16709 h 16883"/>
                <a:gd name="connsiteX26" fmla="*/ 19567 w 36781"/>
                <a:gd name="connsiteY26" fmla="*/ 16884 h 16883"/>
                <a:gd name="connsiteX27" fmla="*/ 15471 w 36781"/>
                <a:gd name="connsiteY27" fmla="*/ 15793 h 16883"/>
                <a:gd name="connsiteX28" fmla="*/ 13161 w 36781"/>
                <a:gd name="connsiteY28" fmla="*/ 15488 h 16883"/>
                <a:gd name="connsiteX29" fmla="*/ 10503 w 36781"/>
                <a:gd name="connsiteY29" fmla="*/ 15924 h 16883"/>
                <a:gd name="connsiteX30" fmla="*/ 9805 w 36781"/>
                <a:gd name="connsiteY30" fmla="*/ 16011 h 16883"/>
                <a:gd name="connsiteX31" fmla="*/ 9152 w 36781"/>
                <a:gd name="connsiteY31" fmla="*/ 15706 h 16883"/>
                <a:gd name="connsiteX32" fmla="*/ 8454 w 36781"/>
                <a:gd name="connsiteY32" fmla="*/ 15357 h 16883"/>
                <a:gd name="connsiteX33" fmla="*/ 7714 w 36781"/>
                <a:gd name="connsiteY33" fmla="*/ 15182 h 16883"/>
                <a:gd name="connsiteX34" fmla="*/ 6101 w 36781"/>
                <a:gd name="connsiteY34" fmla="*/ 15139 h 16883"/>
                <a:gd name="connsiteX35" fmla="*/ 5491 w 36781"/>
                <a:gd name="connsiteY35" fmla="*/ 14921 h 16883"/>
                <a:gd name="connsiteX36" fmla="*/ 5186 w 36781"/>
                <a:gd name="connsiteY36" fmla="*/ 14572 h 16883"/>
                <a:gd name="connsiteX37" fmla="*/ 3225 w 36781"/>
                <a:gd name="connsiteY37" fmla="*/ 11561 h 16883"/>
                <a:gd name="connsiteX38" fmla="*/ 1133 w 36781"/>
                <a:gd name="connsiteY38" fmla="*/ 9075 h 16883"/>
                <a:gd name="connsiteX39" fmla="*/ 261 w 36781"/>
                <a:gd name="connsiteY39" fmla="*/ 7940 h 16883"/>
                <a:gd name="connsiteX40" fmla="*/ 0 w 36781"/>
                <a:gd name="connsiteY40" fmla="*/ 6631 h 16883"/>
                <a:gd name="connsiteX41" fmla="*/ 479 w 36781"/>
                <a:gd name="connsiteY41" fmla="*/ 5061 h 16883"/>
                <a:gd name="connsiteX42" fmla="*/ 1612 w 36781"/>
                <a:gd name="connsiteY42" fmla="*/ 3403 h 16883"/>
                <a:gd name="connsiteX43" fmla="*/ 4314 w 36781"/>
                <a:gd name="connsiteY43" fmla="*/ 0 h 16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6781" h="16883">
                  <a:moveTo>
                    <a:pt x="4314" y="0"/>
                  </a:moveTo>
                  <a:lnTo>
                    <a:pt x="10067" y="742"/>
                  </a:lnTo>
                  <a:lnTo>
                    <a:pt x="11984" y="960"/>
                  </a:lnTo>
                  <a:lnTo>
                    <a:pt x="13640" y="654"/>
                  </a:lnTo>
                  <a:lnTo>
                    <a:pt x="15863" y="436"/>
                  </a:lnTo>
                  <a:lnTo>
                    <a:pt x="19349" y="698"/>
                  </a:lnTo>
                  <a:lnTo>
                    <a:pt x="24361" y="785"/>
                  </a:lnTo>
                  <a:lnTo>
                    <a:pt x="29416" y="524"/>
                  </a:lnTo>
                  <a:lnTo>
                    <a:pt x="31160" y="480"/>
                  </a:lnTo>
                  <a:lnTo>
                    <a:pt x="32641" y="1091"/>
                  </a:lnTo>
                  <a:lnTo>
                    <a:pt x="35256" y="3272"/>
                  </a:lnTo>
                  <a:lnTo>
                    <a:pt x="36128" y="4363"/>
                  </a:lnTo>
                  <a:lnTo>
                    <a:pt x="36651" y="5628"/>
                  </a:lnTo>
                  <a:lnTo>
                    <a:pt x="36781" y="7024"/>
                  </a:lnTo>
                  <a:lnTo>
                    <a:pt x="36433" y="8420"/>
                  </a:lnTo>
                  <a:lnTo>
                    <a:pt x="34907" y="12696"/>
                  </a:lnTo>
                  <a:lnTo>
                    <a:pt x="34036" y="14572"/>
                  </a:lnTo>
                  <a:lnTo>
                    <a:pt x="32772" y="16099"/>
                  </a:lnTo>
                  <a:lnTo>
                    <a:pt x="32031" y="16448"/>
                  </a:lnTo>
                  <a:lnTo>
                    <a:pt x="31160" y="16491"/>
                  </a:lnTo>
                  <a:lnTo>
                    <a:pt x="29024" y="16099"/>
                  </a:lnTo>
                  <a:lnTo>
                    <a:pt x="26802" y="15488"/>
                  </a:lnTo>
                  <a:lnTo>
                    <a:pt x="24884" y="15226"/>
                  </a:lnTo>
                  <a:lnTo>
                    <a:pt x="23490" y="15575"/>
                  </a:lnTo>
                  <a:lnTo>
                    <a:pt x="22269" y="16186"/>
                  </a:lnTo>
                  <a:lnTo>
                    <a:pt x="21005" y="16709"/>
                  </a:lnTo>
                  <a:lnTo>
                    <a:pt x="19567" y="16884"/>
                  </a:lnTo>
                  <a:lnTo>
                    <a:pt x="15471" y="15793"/>
                  </a:lnTo>
                  <a:lnTo>
                    <a:pt x="13161" y="15488"/>
                  </a:lnTo>
                  <a:lnTo>
                    <a:pt x="10503" y="15924"/>
                  </a:lnTo>
                  <a:lnTo>
                    <a:pt x="9805" y="16011"/>
                  </a:lnTo>
                  <a:lnTo>
                    <a:pt x="9152" y="15706"/>
                  </a:lnTo>
                  <a:lnTo>
                    <a:pt x="8454" y="15357"/>
                  </a:lnTo>
                  <a:lnTo>
                    <a:pt x="7714" y="15182"/>
                  </a:lnTo>
                  <a:lnTo>
                    <a:pt x="6101" y="15139"/>
                  </a:lnTo>
                  <a:lnTo>
                    <a:pt x="5491" y="14921"/>
                  </a:lnTo>
                  <a:lnTo>
                    <a:pt x="5186" y="14572"/>
                  </a:lnTo>
                  <a:lnTo>
                    <a:pt x="3225" y="11561"/>
                  </a:lnTo>
                  <a:lnTo>
                    <a:pt x="1133" y="9075"/>
                  </a:lnTo>
                  <a:lnTo>
                    <a:pt x="261" y="7940"/>
                  </a:lnTo>
                  <a:lnTo>
                    <a:pt x="0" y="6631"/>
                  </a:lnTo>
                  <a:lnTo>
                    <a:pt x="479" y="5061"/>
                  </a:lnTo>
                  <a:lnTo>
                    <a:pt x="1612" y="3403"/>
                  </a:lnTo>
                  <a:lnTo>
                    <a:pt x="4314" y="0"/>
                  </a:lnTo>
                </a:path>
              </a:pathLst>
            </a:custGeom>
            <a:solidFill>
              <a:schemeClr val="bg1"/>
            </a:solidFill>
            <a:ln w="4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9730C62D-06E3-CD1C-DA2B-2BD52FB0D87A}"/>
                </a:ext>
              </a:extLst>
            </p:cNvPr>
            <p:cNvSpPr/>
            <p:nvPr/>
          </p:nvSpPr>
          <p:spPr>
            <a:xfrm>
              <a:off x="10868070" y="716443"/>
              <a:ext cx="42098" cy="23907"/>
            </a:xfrm>
            <a:custGeom>
              <a:avLst/>
              <a:gdLst>
                <a:gd name="connsiteX0" fmla="*/ 13423 w 42098"/>
                <a:gd name="connsiteY0" fmla="*/ 131 h 23907"/>
                <a:gd name="connsiteX1" fmla="*/ 15558 w 42098"/>
                <a:gd name="connsiteY1" fmla="*/ 0 h 23907"/>
                <a:gd name="connsiteX2" fmla="*/ 17693 w 42098"/>
                <a:gd name="connsiteY2" fmla="*/ 218 h 23907"/>
                <a:gd name="connsiteX3" fmla="*/ 29983 w 42098"/>
                <a:gd name="connsiteY3" fmla="*/ 1440 h 23907"/>
                <a:gd name="connsiteX4" fmla="*/ 33426 w 42098"/>
                <a:gd name="connsiteY4" fmla="*/ 1963 h 23907"/>
                <a:gd name="connsiteX5" fmla="*/ 36694 w 42098"/>
                <a:gd name="connsiteY5" fmla="*/ 2879 h 23907"/>
                <a:gd name="connsiteX6" fmla="*/ 38176 w 42098"/>
                <a:gd name="connsiteY6" fmla="*/ 3796 h 23907"/>
                <a:gd name="connsiteX7" fmla="*/ 39483 w 42098"/>
                <a:gd name="connsiteY7" fmla="*/ 5104 h 23907"/>
                <a:gd name="connsiteX8" fmla="*/ 40573 w 42098"/>
                <a:gd name="connsiteY8" fmla="*/ 7068 h 23907"/>
                <a:gd name="connsiteX9" fmla="*/ 41444 w 42098"/>
                <a:gd name="connsiteY9" fmla="*/ 9685 h 23907"/>
                <a:gd name="connsiteX10" fmla="*/ 42098 w 42098"/>
                <a:gd name="connsiteY10" fmla="*/ 14135 h 23907"/>
                <a:gd name="connsiteX11" fmla="*/ 41880 w 42098"/>
                <a:gd name="connsiteY11" fmla="*/ 16360 h 23907"/>
                <a:gd name="connsiteX12" fmla="*/ 41052 w 42098"/>
                <a:gd name="connsiteY12" fmla="*/ 18411 h 23907"/>
                <a:gd name="connsiteX13" fmla="*/ 39919 w 42098"/>
                <a:gd name="connsiteY13" fmla="*/ 19720 h 23907"/>
                <a:gd name="connsiteX14" fmla="*/ 38437 w 42098"/>
                <a:gd name="connsiteY14" fmla="*/ 20854 h 23907"/>
                <a:gd name="connsiteX15" fmla="*/ 34472 w 42098"/>
                <a:gd name="connsiteY15" fmla="*/ 22556 h 23907"/>
                <a:gd name="connsiteX16" fmla="*/ 24056 w 42098"/>
                <a:gd name="connsiteY16" fmla="*/ 23908 h 23907"/>
                <a:gd name="connsiteX17" fmla="*/ 20744 w 42098"/>
                <a:gd name="connsiteY17" fmla="*/ 23472 h 23907"/>
                <a:gd name="connsiteX18" fmla="*/ 17563 w 42098"/>
                <a:gd name="connsiteY18" fmla="*/ 22556 h 23907"/>
                <a:gd name="connsiteX19" fmla="*/ 14381 w 42098"/>
                <a:gd name="connsiteY19" fmla="*/ 21683 h 23907"/>
                <a:gd name="connsiteX20" fmla="*/ 11287 w 42098"/>
                <a:gd name="connsiteY20" fmla="*/ 21334 h 23907"/>
                <a:gd name="connsiteX21" fmla="*/ 6929 w 42098"/>
                <a:gd name="connsiteY21" fmla="*/ 20810 h 23907"/>
                <a:gd name="connsiteX22" fmla="*/ 3661 w 42098"/>
                <a:gd name="connsiteY22" fmla="*/ 19196 h 23907"/>
                <a:gd name="connsiteX23" fmla="*/ 1482 w 42098"/>
                <a:gd name="connsiteY23" fmla="*/ 16884 h 23907"/>
                <a:gd name="connsiteX24" fmla="*/ 305 w 42098"/>
                <a:gd name="connsiteY24" fmla="*/ 14266 h 23907"/>
                <a:gd name="connsiteX25" fmla="*/ 0 w 42098"/>
                <a:gd name="connsiteY25" fmla="*/ 11387 h 23907"/>
                <a:gd name="connsiteX26" fmla="*/ 697 w 42098"/>
                <a:gd name="connsiteY26" fmla="*/ 8900 h 23907"/>
                <a:gd name="connsiteX27" fmla="*/ 2135 w 42098"/>
                <a:gd name="connsiteY27" fmla="*/ 6806 h 23907"/>
                <a:gd name="connsiteX28" fmla="*/ 4009 w 42098"/>
                <a:gd name="connsiteY28" fmla="*/ 5148 h 23907"/>
                <a:gd name="connsiteX29" fmla="*/ 8106 w 42098"/>
                <a:gd name="connsiteY29" fmla="*/ 2879 h 23907"/>
                <a:gd name="connsiteX30" fmla="*/ 10895 w 42098"/>
                <a:gd name="connsiteY30" fmla="*/ 1876 h 23907"/>
                <a:gd name="connsiteX31" fmla="*/ 11592 w 42098"/>
                <a:gd name="connsiteY31" fmla="*/ 1527 h 23907"/>
                <a:gd name="connsiteX32" fmla="*/ 12072 w 42098"/>
                <a:gd name="connsiteY32" fmla="*/ 1047 h 23907"/>
                <a:gd name="connsiteX33" fmla="*/ 12595 w 42098"/>
                <a:gd name="connsiteY33" fmla="*/ 524 h 23907"/>
                <a:gd name="connsiteX34" fmla="*/ 13423 w 42098"/>
                <a:gd name="connsiteY34" fmla="*/ 131 h 23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2098" h="23907">
                  <a:moveTo>
                    <a:pt x="13423" y="131"/>
                  </a:moveTo>
                  <a:lnTo>
                    <a:pt x="15558" y="0"/>
                  </a:lnTo>
                  <a:lnTo>
                    <a:pt x="17693" y="218"/>
                  </a:lnTo>
                  <a:lnTo>
                    <a:pt x="29983" y="1440"/>
                  </a:lnTo>
                  <a:lnTo>
                    <a:pt x="33426" y="1963"/>
                  </a:lnTo>
                  <a:lnTo>
                    <a:pt x="36694" y="2879"/>
                  </a:lnTo>
                  <a:lnTo>
                    <a:pt x="38176" y="3796"/>
                  </a:lnTo>
                  <a:lnTo>
                    <a:pt x="39483" y="5104"/>
                  </a:lnTo>
                  <a:lnTo>
                    <a:pt x="40573" y="7068"/>
                  </a:lnTo>
                  <a:lnTo>
                    <a:pt x="41444" y="9685"/>
                  </a:lnTo>
                  <a:lnTo>
                    <a:pt x="42098" y="14135"/>
                  </a:lnTo>
                  <a:lnTo>
                    <a:pt x="41880" y="16360"/>
                  </a:lnTo>
                  <a:lnTo>
                    <a:pt x="41052" y="18411"/>
                  </a:lnTo>
                  <a:lnTo>
                    <a:pt x="39919" y="19720"/>
                  </a:lnTo>
                  <a:lnTo>
                    <a:pt x="38437" y="20854"/>
                  </a:lnTo>
                  <a:lnTo>
                    <a:pt x="34472" y="22556"/>
                  </a:lnTo>
                  <a:lnTo>
                    <a:pt x="24056" y="23908"/>
                  </a:lnTo>
                  <a:lnTo>
                    <a:pt x="20744" y="23472"/>
                  </a:lnTo>
                  <a:lnTo>
                    <a:pt x="17563" y="22556"/>
                  </a:lnTo>
                  <a:lnTo>
                    <a:pt x="14381" y="21683"/>
                  </a:lnTo>
                  <a:lnTo>
                    <a:pt x="11287" y="21334"/>
                  </a:lnTo>
                  <a:lnTo>
                    <a:pt x="6929" y="20810"/>
                  </a:lnTo>
                  <a:lnTo>
                    <a:pt x="3661" y="19196"/>
                  </a:lnTo>
                  <a:lnTo>
                    <a:pt x="1482" y="16884"/>
                  </a:lnTo>
                  <a:lnTo>
                    <a:pt x="305" y="14266"/>
                  </a:lnTo>
                  <a:lnTo>
                    <a:pt x="0" y="11387"/>
                  </a:lnTo>
                  <a:lnTo>
                    <a:pt x="697" y="8900"/>
                  </a:lnTo>
                  <a:lnTo>
                    <a:pt x="2135" y="6806"/>
                  </a:lnTo>
                  <a:lnTo>
                    <a:pt x="4009" y="5148"/>
                  </a:lnTo>
                  <a:lnTo>
                    <a:pt x="8106" y="2879"/>
                  </a:lnTo>
                  <a:lnTo>
                    <a:pt x="10895" y="1876"/>
                  </a:lnTo>
                  <a:lnTo>
                    <a:pt x="11592" y="1527"/>
                  </a:lnTo>
                  <a:lnTo>
                    <a:pt x="12072" y="1047"/>
                  </a:lnTo>
                  <a:lnTo>
                    <a:pt x="12595" y="524"/>
                  </a:lnTo>
                  <a:lnTo>
                    <a:pt x="13423" y="131"/>
                  </a:lnTo>
                </a:path>
              </a:pathLst>
            </a:custGeom>
            <a:solidFill>
              <a:schemeClr val="bg1"/>
            </a:solidFill>
            <a:ln w="4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3717678B-119E-D6DB-9B0E-797D4ABD3176}"/>
                </a:ext>
              </a:extLst>
            </p:cNvPr>
            <p:cNvSpPr/>
            <p:nvPr/>
          </p:nvSpPr>
          <p:spPr>
            <a:xfrm>
              <a:off x="10871033" y="751040"/>
              <a:ext cx="35212" cy="23079"/>
            </a:xfrm>
            <a:custGeom>
              <a:avLst/>
              <a:gdLst>
                <a:gd name="connsiteX0" fmla="*/ 19872 w 35212"/>
                <a:gd name="connsiteY0" fmla="*/ 0 h 23079"/>
                <a:gd name="connsiteX1" fmla="*/ 23882 w 35212"/>
                <a:gd name="connsiteY1" fmla="*/ 349 h 23079"/>
                <a:gd name="connsiteX2" fmla="*/ 28065 w 35212"/>
                <a:gd name="connsiteY2" fmla="*/ 1876 h 23079"/>
                <a:gd name="connsiteX3" fmla="*/ 29286 w 35212"/>
                <a:gd name="connsiteY3" fmla="*/ 3054 h 23079"/>
                <a:gd name="connsiteX4" fmla="*/ 30288 w 35212"/>
                <a:gd name="connsiteY4" fmla="*/ 3970 h 23079"/>
                <a:gd name="connsiteX5" fmla="*/ 32380 w 35212"/>
                <a:gd name="connsiteY5" fmla="*/ 4406 h 23079"/>
                <a:gd name="connsiteX6" fmla="*/ 33382 w 35212"/>
                <a:gd name="connsiteY6" fmla="*/ 4712 h 23079"/>
                <a:gd name="connsiteX7" fmla="*/ 34036 w 35212"/>
                <a:gd name="connsiteY7" fmla="*/ 5279 h 23079"/>
                <a:gd name="connsiteX8" fmla="*/ 35125 w 35212"/>
                <a:gd name="connsiteY8" fmla="*/ 10078 h 23079"/>
                <a:gd name="connsiteX9" fmla="*/ 35212 w 35212"/>
                <a:gd name="connsiteY9" fmla="*/ 13132 h 23079"/>
                <a:gd name="connsiteX10" fmla="*/ 34733 w 35212"/>
                <a:gd name="connsiteY10" fmla="*/ 15662 h 23079"/>
                <a:gd name="connsiteX11" fmla="*/ 33818 w 35212"/>
                <a:gd name="connsiteY11" fmla="*/ 17233 h 23079"/>
                <a:gd name="connsiteX12" fmla="*/ 32511 w 35212"/>
                <a:gd name="connsiteY12" fmla="*/ 18629 h 23079"/>
                <a:gd name="connsiteX13" fmla="*/ 29068 w 35212"/>
                <a:gd name="connsiteY13" fmla="*/ 20810 h 23079"/>
                <a:gd name="connsiteX14" fmla="*/ 24753 w 35212"/>
                <a:gd name="connsiteY14" fmla="*/ 22250 h 23079"/>
                <a:gd name="connsiteX15" fmla="*/ 19916 w 35212"/>
                <a:gd name="connsiteY15" fmla="*/ 22992 h 23079"/>
                <a:gd name="connsiteX16" fmla="*/ 14948 w 35212"/>
                <a:gd name="connsiteY16" fmla="*/ 23079 h 23079"/>
                <a:gd name="connsiteX17" fmla="*/ 10198 w 35212"/>
                <a:gd name="connsiteY17" fmla="*/ 22512 h 23079"/>
                <a:gd name="connsiteX18" fmla="*/ 6014 w 35212"/>
                <a:gd name="connsiteY18" fmla="*/ 21421 h 23079"/>
                <a:gd name="connsiteX19" fmla="*/ 2833 w 35212"/>
                <a:gd name="connsiteY19" fmla="*/ 19807 h 23079"/>
                <a:gd name="connsiteX20" fmla="*/ 1830 w 35212"/>
                <a:gd name="connsiteY20" fmla="*/ 18847 h 23079"/>
                <a:gd name="connsiteX21" fmla="*/ 1133 w 35212"/>
                <a:gd name="connsiteY21" fmla="*/ 17713 h 23079"/>
                <a:gd name="connsiteX22" fmla="*/ 261 w 35212"/>
                <a:gd name="connsiteY22" fmla="*/ 15139 h 23079"/>
                <a:gd name="connsiteX23" fmla="*/ 0 w 35212"/>
                <a:gd name="connsiteY23" fmla="*/ 12303 h 23079"/>
                <a:gd name="connsiteX24" fmla="*/ 567 w 35212"/>
                <a:gd name="connsiteY24" fmla="*/ 9816 h 23079"/>
                <a:gd name="connsiteX25" fmla="*/ 1874 w 35212"/>
                <a:gd name="connsiteY25" fmla="*/ 7678 h 23079"/>
                <a:gd name="connsiteX26" fmla="*/ 3617 w 35212"/>
                <a:gd name="connsiteY26" fmla="*/ 5890 h 23079"/>
                <a:gd name="connsiteX27" fmla="*/ 7932 w 35212"/>
                <a:gd name="connsiteY27" fmla="*/ 3403 h 23079"/>
                <a:gd name="connsiteX28" fmla="*/ 11941 w 35212"/>
                <a:gd name="connsiteY28" fmla="*/ 2312 h 23079"/>
                <a:gd name="connsiteX29" fmla="*/ 15994 w 35212"/>
                <a:gd name="connsiteY29" fmla="*/ 1091 h 23079"/>
                <a:gd name="connsiteX30" fmla="*/ 19872 w 35212"/>
                <a:gd name="connsiteY30" fmla="*/ 0 h 23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5212" h="23079">
                  <a:moveTo>
                    <a:pt x="19872" y="0"/>
                  </a:moveTo>
                  <a:lnTo>
                    <a:pt x="23882" y="349"/>
                  </a:lnTo>
                  <a:lnTo>
                    <a:pt x="28065" y="1876"/>
                  </a:lnTo>
                  <a:lnTo>
                    <a:pt x="29286" y="3054"/>
                  </a:lnTo>
                  <a:lnTo>
                    <a:pt x="30288" y="3970"/>
                  </a:lnTo>
                  <a:lnTo>
                    <a:pt x="32380" y="4406"/>
                  </a:lnTo>
                  <a:lnTo>
                    <a:pt x="33382" y="4712"/>
                  </a:lnTo>
                  <a:lnTo>
                    <a:pt x="34036" y="5279"/>
                  </a:lnTo>
                  <a:lnTo>
                    <a:pt x="35125" y="10078"/>
                  </a:lnTo>
                  <a:lnTo>
                    <a:pt x="35212" y="13132"/>
                  </a:lnTo>
                  <a:lnTo>
                    <a:pt x="34733" y="15662"/>
                  </a:lnTo>
                  <a:lnTo>
                    <a:pt x="33818" y="17233"/>
                  </a:lnTo>
                  <a:lnTo>
                    <a:pt x="32511" y="18629"/>
                  </a:lnTo>
                  <a:lnTo>
                    <a:pt x="29068" y="20810"/>
                  </a:lnTo>
                  <a:lnTo>
                    <a:pt x="24753" y="22250"/>
                  </a:lnTo>
                  <a:lnTo>
                    <a:pt x="19916" y="22992"/>
                  </a:lnTo>
                  <a:lnTo>
                    <a:pt x="14948" y="23079"/>
                  </a:lnTo>
                  <a:lnTo>
                    <a:pt x="10198" y="22512"/>
                  </a:lnTo>
                  <a:lnTo>
                    <a:pt x="6014" y="21421"/>
                  </a:lnTo>
                  <a:lnTo>
                    <a:pt x="2833" y="19807"/>
                  </a:lnTo>
                  <a:lnTo>
                    <a:pt x="1830" y="18847"/>
                  </a:lnTo>
                  <a:lnTo>
                    <a:pt x="1133" y="17713"/>
                  </a:lnTo>
                  <a:lnTo>
                    <a:pt x="261" y="15139"/>
                  </a:lnTo>
                  <a:lnTo>
                    <a:pt x="0" y="12303"/>
                  </a:lnTo>
                  <a:lnTo>
                    <a:pt x="567" y="9816"/>
                  </a:lnTo>
                  <a:lnTo>
                    <a:pt x="1874" y="7678"/>
                  </a:lnTo>
                  <a:lnTo>
                    <a:pt x="3617" y="5890"/>
                  </a:lnTo>
                  <a:lnTo>
                    <a:pt x="7932" y="3403"/>
                  </a:lnTo>
                  <a:lnTo>
                    <a:pt x="11941" y="2312"/>
                  </a:lnTo>
                  <a:lnTo>
                    <a:pt x="15994" y="1091"/>
                  </a:lnTo>
                  <a:lnTo>
                    <a:pt x="19872" y="0"/>
                  </a:lnTo>
                </a:path>
              </a:pathLst>
            </a:custGeom>
            <a:solidFill>
              <a:schemeClr val="bg1"/>
            </a:solidFill>
            <a:ln w="4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" name="Oval 8">
            <a:extLst>
              <a:ext uri="{FF2B5EF4-FFF2-40B4-BE49-F238E27FC236}">
                <a16:creationId xmlns:a16="http://schemas.microsoft.com/office/drawing/2014/main" xmlns="" id="{9E4DBF94-3570-4622-076B-B494165426EB}"/>
              </a:ext>
            </a:extLst>
          </p:cNvPr>
          <p:cNvSpPr>
            <a:spLocks noChangeAspect="1"/>
          </p:cNvSpPr>
          <p:nvPr userDrawn="1"/>
        </p:nvSpPr>
        <p:spPr>
          <a:xfrm>
            <a:off x="10147177" y="880912"/>
            <a:ext cx="164592" cy="16459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547E2614-1CFE-9C38-3277-AB80C9715BE1}"/>
              </a:ext>
            </a:extLst>
          </p:cNvPr>
          <p:cNvSpPr>
            <a:spLocks noChangeAspect="1"/>
          </p:cNvSpPr>
          <p:nvPr userDrawn="1"/>
        </p:nvSpPr>
        <p:spPr>
          <a:xfrm>
            <a:off x="11453606" y="1819125"/>
            <a:ext cx="285296" cy="2852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xmlns="" id="{140F83BD-0830-B644-35E9-A62B9081E1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456" y="2061883"/>
            <a:ext cx="10875818" cy="402007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7800844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AA047BB1-079F-40F3-76B6-8DC20161519B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78181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E1CB956B-EF6F-9C92-99BE-3F75F7751562}"/>
              </a:ext>
            </a:extLst>
          </p:cNvPr>
          <p:cNvSpPr/>
          <p:nvPr userDrawn="1"/>
        </p:nvSpPr>
        <p:spPr>
          <a:xfrm>
            <a:off x="0" y="5788325"/>
            <a:ext cx="12192000" cy="106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66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-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white rectangle with a black border&#10;&#10;Description automatically generated with low confidence">
            <a:extLst>
              <a:ext uri="{FF2B5EF4-FFF2-40B4-BE49-F238E27FC236}">
                <a16:creationId xmlns:a16="http://schemas.microsoft.com/office/drawing/2014/main" xmlns="" id="{6489B832-A84A-AB45-8E66-A4E2EA3E24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Content Placeholder 2">
            <a:extLst>
              <a:ext uri="{FF2B5EF4-FFF2-40B4-BE49-F238E27FC236}">
                <a16:creationId xmlns:a16="http://schemas.microsoft.com/office/drawing/2014/main" xmlns="" id="{5E37E9AF-CEC2-E5D1-F244-F843E3B68841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>
          <a:xfrm>
            <a:off x="1240200" y="4778917"/>
            <a:ext cx="2643640" cy="572746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tx2"/>
                </a:solidFill>
              </a:defRPr>
            </a:lvl1pPr>
            <a:lvl2pPr marL="7938" indent="0" algn="ctr">
              <a:buNone/>
              <a:tabLst/>
              <a:defRPr sz="1400"/>
            </a:lvl2pPr>
            <a:lvl3pPr marL="115888" indent="-107950" algn="ctr">
              <a:buFont typeface="Arial" panose="020B0604020202020204" pitchFamily="34" charset="0"/>
              <a:buChar char="•"/>
              <a:tabLst/>
              <a:defRPr sz="1200"/>
            </a:lvl3pPr>
            <a:lvl4pPr marL="231775" indent="-115888" algn="ctr">
              <a:buFont typeface="System Font Regular"/>
              <a:buChar char="–"/>
              <a:tabLst/>
              <a:defRPr sz="1100"/>
            </a:lvl4pPr>
            <a:lvl5pPr marL="347663" indent="-115888" algn="ctr">
              <a:buFont typeface="Arial" panose="020B0604020202020204" pitchFamily="34" charset="0"/>
              <a:buChar char="•"/>
              <a:tabLst/>
              <a:defRPr sz="1100"/>
            </a:lvl5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8" name="Footer Placeholder 4">
            <a:extLst>
              <a:ext uri="{FF2B5EF4-FFF2-40B4-BE49-F238E27FC236}">
                <a16:creationId xmlns:a16="http://schemas.microsoft.com/office/drawing/2014/main" xmlns="" id="{7E4BCAFF-FF7F-7F23-FD0F-6D7FC65A36DB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28CA799C-2688-607F-E545-C8AEEB1D0976}"/>
              </a:ext>
            </a:extLst>
          </p:cNvPr>
          <p:cNvGrpSpPr/>
          <p:nvPr userDrawn="1"/>
        </p:nvGrpSpPr>
        <p:grpSpPr>
          <a:xfrm>
            <a:off x="847335" y="1345140"/>
            <a:ext cx="3410900" cy="3410900"/>
            <a:chOff x="1193885" y="849275"/>
            <a:chExt cx="2717800" cy="2717800"/>
          </a:xfrm>
        </p:grpSpPr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xmlns="" id="{4EC4FDF3-EBEB-0A48-9909-F130D289DDF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 rot="15929528">
              <a:off x="1193885" y="849275"/>
              <a:ext cx="2717800" cy="2717800"/>
            </a:xfrm>
            <a:prstGeom prst="rect">
              <a:avLst/>
            </a:prstGeom>
          </p:spPr>
        </p:pic>
        <p:sp>
          <p:nvSpPr>
            <p:cNvPr id="2" name="Oval 1">
              <a:extLst>
                <a:ext uri="{FF2B5EF4-FFF2-40B4-BE49-F238E27FC236}">
                  <a16:creationId xmlns:a16="http://schemas.microsoft.com/office/drawing/2014/main" xmlns="" id="{40203BEB-425F-5FE0-1FCD-1D8E51EE71EE}"/>
                </a:ext>
              </a:extLst>
            </p:cNvPr>
            <p:cNvSpPr/>
            <p:nvPr userDrawn="1"/>
          </p:nvSpPr>
          <p:spPr>
            <a:xfrm>
              <a:off x="3079255" y="3248696"/>
              <a:ext cx="180304" cy="18030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xmlns="" id="{D8FFC12D-81B3-A9C3-04E5-4028097899BF}"/>
                </a:ext>
              </a:extLst>
            </p:cNvPr>
            <p:cNvSpPr/>
            <p:nvPr userDrawn="1"/>
          </p:nvSpPr>
          <p:spPr>
            <a:xfrm>
              <a:off x="3613367" y="1496875"/>
              <a:ext cx="122825" cy="12282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60224E1-4893-F79B-A8E7-BB9C29FB4DE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775036" y="459045"/>
            <a:ext cx="6525768" cy="5622916"/>
          </a:xfrm>
        </p:spPr>
        <p:txBody>
          <a:bodyPr anchor="ctr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xmlns="" id="{7292AAE4-5A9C-D927-B82D-D3EA5D97382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305073" y="1796172"/>
            <a:ext cx="2513892" cy="2513890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F05B15B8-6F79-1914-6B20-BCD98A72DD06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7" name="Picture 7">
              <a:extLst>
                <a:ext uri="{FF2B5EF4-FFF2-40B4-BE49-F238E27FC236}">
                  <a16:creationId xmlns:a16="http://schemas.microsoft.com/office/drawing/2014/main" xmlns="" id="{8626545B-B9FE-C65E-397B-AB6E10A00C2B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4F82FCDA-FF00-A06F-CBFD-CABB922857AB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19426E39-1F7F-19C7-79C0-482FD591141B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2AD88D53-1B25-F49F-1C69-1F4E116F835E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CC826B75-2BD2-8936-7E04-BF2D54F38249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xmlns="" id="{2B37190C-4248-2B1E-230D-E7DFA5FCF89F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9D9B82B2-7041-1D72-0E38-55680605E38F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xmlns="" id="{4A8755D4-9498-6826-5EBE-DC9910C61970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xmlns="" id="{C1E90EF2-3CCA-6D55-D9EC-583D58C6D6CF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91477F4A-77B9-49A4-998B-5F56A19CBE88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41FF4F04-B5AE-31B9-4E8F-0D581FD2D1A4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DEADB02C-4BE7-1D96-2B88-4CB3C2D7AF5F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DF46B23B-2C31-4EB2-9A4E-01ED2457840F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4F173F2A-6444-3B85-918F-DCC219702F3C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BD8A625F-7774-D4EC-2881-D5DCAF7C7030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BEA96241-709C-B7E9-40B5-7C8720457C6A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58847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- 3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white rectangle with a black border&#10;&#10;Description automatically generated with low confidence">
            <a:extLst>
              <a:ext uri="{FF2B5EF4-FFF2-40B4-BE49-F238E27FC236}">
                <a16:creationId xmlns:a16="http://schemas.microsoft.com/office/drawing/2014/main" xmlns="" id="{6489B832-A84A-AB45-8E66-A4E2EA3E24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xmlns="" id="{4142F66E-982E-685B-5E1D-252880E2CD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 rot="3495799">
            <a:off x="9232966" y="867212"/>
            <a:ext cx="2717800" cy="27178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xmlns="" id="{C36C4232-EF3B-39A8-FFA9-E3F6E050CB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66767" y="867504"/>
            <a:ext cx="2717800" cy="27178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xmlns="" id="{4EC4FDF3-EBEB-0A48-9909-F130D289DD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 rot="15929528">
            <a:off x="3485119" y="849275"/>
            <a:ext cx="2717800" cy="2717800"/>
          </a:xfrm>
          <a:prstGeom prst="rect">
            <a:avLst/>
          </a:prstGeom>
        </p:spPr>
      </p:pic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xmlns="" id="{7292AAE4-5A9C-D927-B82D-D3EA5D97382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63152" y="1220601"/>
            <a:ext cx="1980202" cy="1980201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2" name="Picture Placeholder 30">
            <a:extLst>
              <a:ext uri="{FF2B5EF4-FFF2-40B4-BE49-F238E27FC236}">
                <a16:creationId xmlns:a16="http://schemas.microsoft.com/office/drawing/2014/main" xmlns="" id="{D7F55144-19C1-C8A2-F4EB-C71952B8C335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>
          <a:xfrm>
            <a:off x="6725105" y="1220601"/>
            <a:ext cx="1980202" cy="1980201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3" name="Picture Placeholder 30">
            <a:extLst>
              <a:ext uri="{FF2B5EF4-FFF2-40B4-BE49-F238E27FC236}">
                <a16:creationId xmlns:a16="http://schemas.microsoft.com/office/drawing/2014/main" xmlns="" id="{E72C79D9-8423-197B-47C4-2EDA3EE3B2DD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>
          <a:xfrm>
            <a:off x="9587058" y="1220601"/>
            <a:ext cx="1980202" cy="1980201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xmlns="" id="{18014C37-C68D-BAC4-CA21-43EB740F7FC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90620" y="1068414"/>
            <a:ext cx="2993848" cy="1048494"/>
          </a:xfrm>
        </p:spPr>
        <p:txBody>
          <a:bodyPr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gradFill flip="none" rotWithShape="1">
                  <a:gsLst>
                    <a:gs pos="100000">
                      <a:schemeClr val="accent5"/>
                    </a:gs>
                    <a:gs pos="0">
                      <a:schemeClr val="accent1"/>
                    </a:gs>
                  </a:gsLst>
                  <a:lin ang="10800000" scaled="1"/>
                  <a:tileRect/>
                </a:gra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xmlns="" id="{5E37E9AF-CEC2-E5D1-F244-F843E3B68841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>
          <a:xfrm>
            <a:off x="3726545" y="3936501"/>
            <a:ext cx="2253417" cy="2058273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7938" indent="0">
              <a:buNone/>
              <a:tabLst/>
              <a:defRPr sz="1400"/>
            </a:lvl2pPr>
            <a:lvl3pPr marL="115888" indent="-107950">
              <a:buFont typeface="Arial" panose="020B0604020202020204" pitchFamily="34" charset="0"/>
              <a:buChar char="•"/>
              <a:tabLst/>
              <a:defRPr sz="1200"/>
            </a:lvl3pPr>
            <a:lvl4pPr marL="231775" indent="-115888">
              <a:buFont typeface="System Font Regular"/>
              <a:buChar char="–"/>
              <a:tabLst/>
              <a:defRPr sz="1100"/>
            </a:lvl4pPr>
            <a:lvl5pPr marL="347663" indent="-115888">
              <a:buFont typeface="Arial" panose="020B0604020202020204" pitchFamily="34" charset="0"/>
              <a:buChar char="•"/>
              <a:tabLst/>
              <a:defRPr sz="1100"/>
            </a:lvl5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xmlns="" id="{A98281A5-E7E9-CBF5-A85C-70A47A0E905D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90620" y="2229941"/>
            <a:ext cx="2993848" cy="769305"/>
          </a:xfr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(Arial Bold 16pt)</a:t>
            </a:r>
          </a:p>
        </p:txBody>
      </p:sp>
      <p:sp>
        <p:nvSpPr>
          <p:cNvPr id="38" name="Footer Placeholder 4">
            <a:extLst>
              <a:ext uri="{FF2B5EF4-FFF2-40B4-BE49-F238E27FC236}">
                <a16:creationId xmlns:a16="http://schemas.microsoft.com/office/drawing/2014/main" xmlns="" id="{7E4BCAFF-FF7F-7F23-FD0F-6D7FC65A36DB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xmlns="" id="{83051F05-B755-AC5D-7346-36A63C60A0A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598837" y="3936501"/>
            <a:ext cx="2253417" cy="2058273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7938" indent="0">
              <a:buNone/>
              <a:tabLst/>
              <a:defRPr sz="1400"/>
            </a:lvl2pPr>
            <a:lvl3pPr marL="115888" indent="-107950">
              <a:buFont typeface="Arial" panose="020B0604020202020204" pitchFamily="34" charset="0"/>
              <a:buChar char="•"/>
              <a:tabLst/>
              <a:defRPr sz="1200"/>
            </a:lvl3pPr>
            <a:lvl4pPr marL="231775" indent="-115888">
              <a:buFont typeface="System Font Regular"/>
              <a:buChar char="–"/>
              <a:tabLst/>
              <a:defRPr sz="1100"/>
            </a:lvl4pPr>
            <a:lvl5pPr marL="347663" indent="-115888">
              <a:buFont typeface="Arial" panose="020B0604020202020204" pitchFamily="34" charset="0"/>
              <a:buChar char="•"/>
              <a:tabLst/>
              <a:defRPr sz="1100"/>
            </a:lvl5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xmlns="" id="{A657938F-50DB-7E54-99B3-076BA0C851E3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9450451" y="3936501"/>
            <a:ext cx="2253417" cy="2058273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7938" indent="0">
              <a:buNone/>
              <a:tabLst/>
              <a:defRPr sz="1400"/>
            </a:lvl2pPr>
            <a:lvl3pPr marL="115888" indent="-107950">
              <a:buFont typeface="Arial" panose="020B0604020202020204" pitchFamily="34" charset="0"/>
              <a:buChar char="•"/>
              <a:tabLst/>
              <a:defRPr sz="1200"/>
            </a:lvl3pPr>
            <a:lvl4pPr marL="231775" indent="-115888">
              <a:buFont typeface="System Font Regular"/>
              <a:buChar char="–"/>
              <a:tabLst/>
              <a:defRPr sz="1100"/>
            </a:lvl4pPr>
            <a:lvl5pPr marL="347663" indent="-115888">
              <a:buFont typeface="Arial" panose="020B0604020202020204" pitchFamily="34" charset="0"/>
              <a:buChar char="•"/>
              <a:tabLst/>
              <a:defRPr sz="1100"/>
            </a:lvl5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xmlns="" id="{40203BEB-425F-5FE0-1FCD-1D8E51EE71EE}"/>
              </a:ext>
            </a:extLst>
          </p:cNvPr>
          <p:cNvSpPr/>
          <p:nvPr userDrawn="1"/>
        </p:nvSpPr>
        <p:spPr>
          <a:xfrm>
            <a:off x="5370489" y="3248696"/>
            <a:ext cx="180304" cy="18030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xmlns="" id="{D8FFC12D-81B3-A9C3-04E5-4028097899BF}"/>
              </a:ext>
            </a:extLst>
          </p:cNvPr>
          <p:cNvSpPr/>
          <p:nvPr userDrawn="1"/>
        </p:nvSpPr>
        <p:spPr>
          <a:xfrm>
            <a:off x="5904601" y="1496875"/>
            <a:ext cx="122825" cy="12282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xmlns="" id="{6D660B1B-D355-897A-5CD1-92FD4950E9DE}"/>
              </a:ext>
            </a:extLst>
          </p:cNvPr>
          <p:cNvSpPr/>
          <p:nvPr userDrawn="1"/>
        </p:nvSpPr>
        <p:spPr>
          <a:xfrm>
            <a:off x="6529594" y="2776436"/>
            <a:ext cx="180304" cy="18030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xmlns="" id="{C8E0834E-F62B-3691-BB0B-23636E8B0405}"/>
              </a:ext>
            </a:extLst>
          </p:cNvPr>
          <p:cNvSpPr/>
          <p:nvPr userDrawn="1"/>
        </p:nvSpPr>
        <p:spPr>
          <a:xfrm>
            <a:off x="8339360" y="3313035"/>
            <a:ext cx="122825" cy="12282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B271C4F9-D553-45EF-21D5-602E9B038002}"/>
              </a:ext>
            </a:extLst>
          </p:cNvPr>
          <p:cNvSpPr/>
          <p:nvPr userDrawn="1"/>
        </p:nvSpPr>
        <p:spPr>
          <a:xfrm>
            <a:off x="9260200" y="2553182"/>
            <a:ext cx="122825" cy="12282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xmlns="" id="{E69562DB-4C73-3E35-21C4-33E2DE1FB808}"/>
              </a:ext>
            </a:extLst>
          </p:cNvPr>
          <p:cNvSpPr/>
          <p:nvPr userDrawn="1"/>
        </p:nvSpPr>
        <p:spPr>
          <a:xfrm>
            <a:off x="10180755" y="915795"/>
            <a:ext cx="180304" cy="18030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7C49B943-3736-347D-D429-7F57F9ABD1F2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5" name="Picture 7">
              <a:extLst>
                <a:ext uri="{FF2B5EF4-FFF2-40B4-BE49-F238E27FC236}">
                  <a16:creationId xmlns:a16="http://schemas.microsoft.com/office/drawing/2014/main" xmlns="" id="{942AE755-2D3F-A118-2A63-BFCA89391533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4F04E8A3-F7C1-FA3D-2BD7-6E5DD0EB7706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862708F5-68D7-105A-314B-0513DC3B992A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613D159C-A724-9300-2374-9064964E661F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8186C584-0F00-CE76-5955-06A88CA2C19A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E4FC0CE1-EF0D-FED1-86A0-314E0634554C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AE5512FE-6A68-5388-0E65-8504270C20B5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xmlns="" id="{238152A3-FD1A-FBD7-F207-CE31CCF81316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8CF428FF-71FC-998A-B132-4394D4A33416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E1304376-5462-E263-C244-ECD5E4E433F8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07CA283C-21A7-36F6-DE94-7801FC218DEF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E44B19A5-1913-2246-1BA1-630A896AFDB1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CCE16151-124A-C691-58FB-6CC4E74FF8DB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F9C7C1FD-9987-633D-701F-66417884E84A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2F6F9F92-A51B-22C9-A6F0-5D9F54FEE86D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026523E4-126B-9813-CCAB-1B1066190A13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18934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- 4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white rectangle with a black border&#10;&#10;Description automatically generated with low confidence">
            <a:extLst>
              <a:ext uri="{FF2B5EF4-FFF2-40B4-BE49-F238E27FC236}">
                <a16:creationId xmlns:a16="http://schemas.microsoft.com/office/drawing/2014/main" xmlns="" id="{6489B832-A84A-AB45-8E66-A4E2EA3E24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xmlns="" id="{255F93C0-980D-DED3-4115-02F082056EFA}"/>
              </a:ext>
            </a:extLst>
          </p:cNvPr>
          <p:cNvGrpSpPr/>
          <p:nvPr userDrawn="1"/>
        </p:nvGrpSpPr>
        <p:grpSpPr>
          <a:xfrm rot="2718117">
            <a:off x="9023648" y="1397893"/>
            <a:ext cx="2717800" cy="2717800"/>
            <a:chOff x="4474557" y="-2888317"/>
            <a:chExt cx="2717800" cy="2717800"/>
          </a:xfrm>
        </p:grpSpPr>
        <p:pic>
          <p:nvPicPr>
            <p:cNvPr id="47" name="Graphic 46">
              <a:extLst>
                <a:ext uri="{FF2B5EF4-FFF2-40B4-BE49-F238E27FC236}">
                  <a16:creationId xmlns:a16="http://schemas.microsoft.com/office/drawing/2014/main" xmlns="" id="{4CDA0360-C376-A529-9B16-6F07477E879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 rot="3495799">
              <a:off x="4474557" y="-2888317"/>
              <a:ext cx="2717800" cy="2717800"/>
            </a:xfrm>
            <a:prstGeom prst="rect">
              <a:avLst/>
            </a:prstGeom>
          </p:spPr>
        </p:pic>
        <p:sp>
          <p:nvSpPr>
            <p:cNvPr id="48" name="Oval 47">
              <a:extLst>
                <a:ext uri="{FF2B5EF4-FFF2-40B4-BE49-F238E27FC236}">
                  <a16:creationId xmlns:a16="http://schemas.microsoft.com/office/drawing/2014/main" xmlns="" id="{BE9B82D0-B319-61E1-6C67-DBE69489F568}"/>
                </a:ext>
              </a:extLst>
            </p:cNvPr>
            <p:cNvSpPr/>
            <p:nvPr userDrawn="1"/>
          </p:nvSpPr>
          <p:spPr>
            <a:xfrm>
              <a:off x="4501791" y="-1202347"/>
              <a:ext cx="122825" cy="12282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xmlns="" id="{B023F12D-798B-6E61-EEC3-1D4C7B341BD7}"/>
                </a:ext>
              </a:extLst>
            </p:cNvPr>
            <p:cNvSpPr/>
            <p:nvPr userDrawn="1"/>
          </p:nvSpPr>
          <p:spPr>
            <a:xfrm>
              <a:off x="5422346" y="-2839734"/>
              <a:ext cx="180304" cy="18030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037FF5E6-EA15-EEA8-9BF5-490547DD610D}"/>
              </a:ext>
            </a:extLst>
          </p:cNvPr>
          <p:cNvGrpSpPr/>
          <p:nvPr userDrawn="1"/>
        </p:nvGrpSpPr>
        <p:grpSpPr>
          <a:xfrm>
            <a:off x="482363" y="1371489"/>
            <a:ext cx="2717800" cy="2717800"/>
            <a:chOff x="-1273290" y="-2906254"/>
            <a:chExt cx="2717800" cy="2717800"/>
          </a:xfrm>
        </p:grpSpPr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xmlns="" id="{80FAD26A-C4EB-EE6D-620C-B653280B4DC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 rot="15929528">
              <a:off x="-1273290" y="-2906254"/>
              <a:ext cx="2717800" cy="2717800"/>
            </a:xfrm>
            <a:prstGeom prst="rect">
              <a:avLst/>
            </a:prstGeom>
          </p:spPr>
        </p:pic>
        <p:sp>
          <p:nvSpPr>
            <p:cNvPr id="29" name="Oval 28">
              <a:extLst>
                <a:ext uri="{FF2B5EF4-FFF2-40B4-BE49-F238E27FC236}">
                  <a16:creationId xmlns:a16="http://schemas.microsoft.com/office/drawing/2014/main" xmlns="" id="{862BE809-00BD-2FB7-F5AA-EA89D1552EAC}"/>
                </a:ext>
              </a:extLst>
            </p:cNvPr>
            <p:cNvSpPr/>
            <p:nvPr userDrawn="1"/>
          </p:nvSpPr>
          <p:spPr>
            <a:xfrm>
              <a:off x="612080" y="-506833"/>
              <a:ext cx="180304" cy="18030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xmlns="" id="{9F78BB74-DF91-2DEC-ABD1-46FDBBF8A6CA}"/>
                </a:ext>
              </a:extLst>
            </p:cNvPr>
            <p:cNvSpPr/>
            <p:nvPr userDrawn="1"/>
          </p:nvSpPr>
          <p:spPr>
            <a:xfrm>
              <a:off x="1146192" y="-2258654"/>
              <a:ext cx="122825" cy="12282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64FE2779-F63D-B065-4E90-AF1160F69C59}"/>
              </a:ext>
            </a:extLst>
          </p:cNvPr>
          <p:cNvGrpSpPr/>
          <p:nvPr userDrawn="1"/>
        </p:nvGrpSpPr>
        <p:grpSpPr>
          <a:xfrm>
            <a:off x="3356228" y="1382904"/>
            <a:ext cx="2717800" cy="2717800"/>
            <a:chOff x="1608358" y="-2888025"/>
            <a:chExt cx="2717800" cy="2717800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xmlns="" id="{0A80303C-155C-7B80-04DE-9F4744C86CE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608358" y="-2888025"/>
              <a:ext cx="2717800" cy="2717800"/>
            </a:xfrm>
            <a:prstGeom prst="rect">
              <a:avLst/>
            </a:prstGeom>
          </p:spPr>
        </p:pic>
        <p:sp>
          <p:nvSpPr>
            <p:cNvPr id="39" name="Oval 38">
              <a:extLst>
                <a:ext uri="{FF2B5EF4-FFF2-40B4-BE49-F238E27FC236}">
                  <a16:creationId xmlns:a16="http://schemas.microsoft.com/office/drawing/2014/main" xmlns="" id="{B7D89B36-641F-57C9-D035-C058D3A0CE9D}"/>
                </a:ext>
              </a:extLst>
            </p:cNvPr>
            <p:cNvSpPr/>
            <p:nvPr userDrawn="1"/>
          </p:nvSpPr>
          <p:spPr>
            <a:xfrm>
              <a:off x="1771185" y="-979093"/>
              <a:ext cx="180304" cy="18030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xmlns="" id="{C93304A4-38E7-A045-9677-F9D4E2F53422}"/>
                </a:ext>
              </a:extLst>
            </p:cNvPr>
            <p:cNvSpPr/>
            <p:nvPr userDrawn="1"/>
          </p:nvSpPr>
          <p:spPr>
            <a:xfrm>
              <a:off x="3580951" y="-442494"/>
              <a:ext cx="122825" cy="12282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9E94007D-57D4-6375-2AAD-A4BBC88F25F8}"/>
              </a:ext>
            </a:extLst>
          </p:cNvPr>
          <p:cNvGrpSpPr/>
          <p:nvPr userDrawn="1"/>
        </p:nvGrpSpPr>
        <p:grpSpPr>
          <a:xfrm>
            <a:off x="6150753" y="1397893"/>
            <a:ext cx="2717800" cy="2717800"/>
            <a:chOff x="4474557" y="-2888317"/>
            <a:chExt cx="2717800" cy="2717800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xmlns="" id="{A88B107E-2DE6-4E3E-4061-BD542D261B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 rot="3495799">
              <a:off x="4474557" y="-2888317"/>
              <a:ext cx="2717800" cy="2717800"/>
            </a:xfrm>
            <a:prstGeom prst="rect">
              <a:avLst/>
            </a:prstGeom>
          </p:spPr>
        </p:pic>
        <p:sp>
          <p:nvSpPr>
            <p:cNvPr id="44" name="Oval 43">
              <a:extLst>
                <a:ext uri="{FF2B5EF4-FFF2-40B4-BE49-F238E27FC236}">
                  <a16:creationId xmlns:a16="http://schemas.microsoft.com/office/drawing/2014/main" xmlns="" id="{5713B26C-BA22-123C-C5B7-B864B32A8613}"/>
                </a:ext>
              </a:extLst>
            </p:cNvPr>
            <p:cNvSpPr/>
            <p:nvPr userDrawn="1"/>
          </p:nvSpPr>
          <p:spPr>
            <a:xfrm>
              <a:off x="4501791" y="-1202347"/>
              <a:ext cx="122825" cy="12282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xmlns="" id="{90696342-64A9-63B5-AB74-E5616368E6BC}"/>
                </a:ext>
              </a:extLst>
            </p:cNvPr>
            <p:cNvSpPr/>
            <p:nvPr userDrawn="1"/>
          </p:nvSpPr>
          <p:spPr>
            <a:xfrm>
              <a:off x="5422346" y="-2839734"/>
              <a:ext cx="180304" cy="18030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xmlns="" id="{7292AAE4-5A9C-D927-B82D-D3EA5D973826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849926" y="1755295"/>
            <a:ext cx="1980202" cy="1980201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2" name="Picture Placeholder 30">
            <a:extLst>
              <a:ext uri="{FF2B5EF4-FFF2-40B4-BE49-F238E27FC236}">
                <a16:creationId xmlns:a16="http://schemas.microsoft.com/office/drawing/2014/main" xmlns="" id="{D7F55144-19C1-C8A2-F4EB-C71952B8C335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>
          <a:xfrm>
            <a:off x="3704483" y="1755295"/>
            <a:ext cx="1980202" cy="1980201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3" name="Picture Placeholder 30">
            <a:extLst>
              <a:ext uri="{FF2B5EF4-FFF2-40B4-BE49-F238E27FC236}">
                <a16:creationId xmlns:a16="http://schemas.microsoft.com/office/drawing/2014/main" xmlns="" id="{E72C79D9-8423-197B-47C4-2EDA3EE3B2DD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>
          <a:xfrm>
            <a:off x="6511085" y="1755295"/>
            <a:ext cx="1980202" cy="1980201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xmlns="" id="{18014C37-C68D-BAC4-CA21-43EB740F7FC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58091" y="261257"/>
            <a:ext cx="10875818" cy="713528"/>
          </a:xfrm>
        </p:spPr>
        <p:txBody>
          <a:bodyPr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gradFill flip="none" rotWithShape="1">
                  <a:gsLst>
                    <a:gs pos="100000">
                      <a:schemeClr val="accent5"/>
                    </a:gs>
                    <a:gs pos="0">
                      <a:schemeClr val="accent1"/>
                    </a:gs>
                  </a:gsLst>
                  <a:lin ang="10800000" scaled="1"/>
                  <a:tileRect/>
                </a:gra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pPr algn="ctr"/>
            <a:r>
              <a:rPr lang="en-US"/>
              <a:t>Click to edit (Arial 32pt)</a:t>
            </a:r>
          </a:p>
        </p:txBody>
      </p:sp>
      <p:sp>
        <p:nvSpPr>
          <p:cNvPr id="30" name="Picture Placeholder 30">
            <a:extLst>
              <a:ext uri="{FF2B5EF4-FFF2-40B4-BE49-F238E27FC236}">
                <a16:creationId xmlns:a16="http://schemas.microsoft.com/office/drawing/2014/main" xmlns="" id="{00953D33-B21B-762A-BF47-96EE7BEA83B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96834" y="1755294"/>
            <a:ext cx="1980202" cy="1980201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xmlns="" id="{00F43BDF-308D-FB5C-4569-1B572B1792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9892" y="1029435"/>
            <a:ext cx="10872216" cy="313932"/>
          </a:xfrm>
        </p:spPr>
        <p:txBody>
          <a:bodyPr lIns="91440" tIns="45720" rIns="91440" bIns="45720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Bold 14pt)</a:t>
            </a:r>
          </a:p>
        </p:txBody>
      </p:sp>
      <p:sp>
        <p:nvSpPr>
          <p:cNvPr id="42" name="Footer Placeholder 4">
            <a:extLst>
              <a:ext uri="{FF2B5EF4-FFF2-40B4-BE49-F238E27FC236}">
                <a16:creationId xmlns:a16="http://schemas.microsoft.com/office/drawing/2014/main" xmlns="" id="{D75C6A4C-B4AA-D247-6A19-78FE9F9EC3C0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xmlns="" id="{37C2DAAD-99E3-A1C8-AB72-2CD0B3410DE2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713319" y="4140663"/>
            <a:ext cx="2253417" cy="1777512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7938" indent="0">
              <a:buNone/>
              <a:tabLst/>
              <a:defRPr sz="1400"/>
            </a:lvl2pPr>
            <a:lvl3pPr marL="115888" indent="-107950">
              <a:buFont typeface="Arial" panose="020B0604020202020204" pitchFamily="34" charset="0"/>
              <a:buChar char="•"/>
              <a:tabLst/>
              <a:defRPr sz="1200"/>
            </a:lvl3pPr>
            <a:lvl4pPr marL="231775" indent="-115888">
              <a:buFont typeface="System Font Regular"/>
              <a:buChar char="–"/>
              <a:tabLst/>
              <a:defRPr sz="1100"/>
            </a:lvl4pPr>
            <a:lvl5pPr marL="347663" indent="-115888">
              <a:buFont typeface="Arial" panose="020B0604020202020204" pitchFamily="34" charset="0"/>
              <a:buChar char="•"/>
              <a:tabLst/>
              <a:defRPr sz="1100"/>
            </a:lvl5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xmlns="" id="{CBB68814-0441-C7DA-6250-82F1251FBE37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67876" y="4140663"/>
            <a:ext cx="2253417" cy="1777512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7938" indent="0">
              <a:buNone/>
              <a:tabLst/>
              <a:defRPr sz="1400"/>
            </a:lvl2pPr>
            <a:lvl3pPr marL="115888" indent="-107950">
              <a:buFont typeface="Arial" panose="020B0604020202020204" pitchFamily="34" charset="0"/>
              <a:buChar char="•"/>
              <a:tabLst/>
              <a:defRPr sz="1200"/>
            </a:lvl3pPr>
            <a:lvl4pPr marL="231775" indent="-115888">
              <a:buFont typeface="System Font Regular"/>
              <a:buChar char="–"/>
              <a:tabLst/>
              <a:defRPr sz="1100"/>
            </a:lvl4pPr>
            <a:lvl5pPr marL="347663" indent="-115888">
              <a:buFont typeface="Arial" panose="020B0604020202020204" pitchFamily="34" charset="0"/>
              <a:buChar char="•"/>
              <a:tabLst/>
              <a:defRPr sz="1100"/>
            </a:lvl5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xmlns="" id="{8B9E795B-9447-A095-9CA9-F2D80F1C282E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404947" y="4140663"/>
            <a:ext cx="2253417" cy="1777512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7938" indent="0">
              <a:buNone/>
              <a:tabLst/>
              <a:defRPr sz="1400"/>
            </a:lvl2pPr>
            <a:lvl3pPr marL="115888" indent="-107950">
              <a:buFont typeface="Arial" panose="020B0604020202020204" pitchFamily="34" charset="0"/>
              <a:buChar char="•"/>
              <a:tabLst/>
              <a:defRPr sz="1200"/>
            </a:lvl3pPr>
            <a:lvl4pPr marL="231775" indent="-115888">
              <a:buFont typeface="System Font Regular"/>
              <a:buChar char="–"/>
              <a:tabLst/>
              <a:defRPr sz="1100"/>
            </a:lvl4pPr>
            <a:lvl5pPr marL="347663" indent="-115888">
              <a:buFont typeface="Arial" panose="020B0604020202020204" pitchFamily="34" charset="0"/>
              <a:buChar char="•"/>
              <a:tabLst/>
              <a:defRPr sz="1100"/>
            </a:lvl5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xmlns="" id="{1AEB473C-95BC-FAF4-440A-CE1D82BC65EA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9260227" y="4140663"/>
            <a:ext cx="2253417" cy="1777512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7938" indent="0">
              <a:buNone/>
              <a:tabLst/>
              <a:defRPr sz="1400"/>
            </a:lvl2pPr>
            <a:lvl3pPr marL="115888" indent="-107950">
              <a:buFont typeface="Arial" panose="020B0604020202020204" pitchFamily="34" charset="0"/>
              <a:buChar char="•"/>
              <a:tabLst/>
              <a:defRPr sz="1200"/>
            </a:lvl3pPr>
            <a:lvl4pPr marL="231775" indent="-115888">
              <a:buFont typeface="System Font Regular"/>
              <a:buChar char="–"/>
              <a:tabLst/>
              <a:defRPr sz="1100"/>
            </a:lvl4pPr>
            <a:lvl5pPr marL="347663" indent="-115888">
              <a:buFont typeface="Arial" panose="020B0604020202020204" pitchFamily="34" charset="0"/>
              <a:buChar char="•"/>
              <a:tabLst/>
              <a:defRPr sz="1100"/>
            </a:lvl5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FBEA84FE-65FA-D5D9-678A-8F7F61FBD522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7" name="Picture 7">
              <a:extLst>
                <a:ext uri="{FF2B5EF4-FFF2-40B4-BE49-F238E27FC236}">
                  <a16:creationId xmlns:a16="http://schemas.microsoft.com/office/drawing/2014/main" xmlns="" id="{01E41B51-BFB2-07E0-2940-5663B2573678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908F6E77-F953-6CAA-46FF-27E4952BAD8B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EB61B41D-4395-BA95-E1EF-36844ED43D56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1BBA8D16-3972-511E-A8C3-5D68D7B58EE8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E963B2CF-FC39-4C25-2A1A-50DE42D5DE09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xmlns="" id="{940097FB-05B6-7A20-ACB1-997E2292D13F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D3CE8346-0DAC-C3F6-D00C-6B97B63C1F64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xmlns="" id="{7E21FD2B-244B-EB51-C738-F33DAEE346AD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xmlns="" id="{29BCA652-EA12-777C-E891-F584B65B4B75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482F4134-79D4-3C84-CDA3-89F82D25896B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B19D9DA4-947E-3D17-7F02-38E5E4F8327E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73A12C88-6616-5FFE-BF35-0B94083B3E2A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7379E9A4-1BC0-B296-3CDA-D520592F3813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191E6D91-D37F-EE48-F299-42C0CF5F49A5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A3798E27-94E0-7A89-7908-C16179BC8597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54359242-F040-ACA4-8B02-FC322058F5D4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48523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72">
          <p15:clr>
            <a:srgbClr val="FBAE40"/>
          </p15:clr>
        </p15:guide>
        <p15:guide id="2" pos="432">
          <p15:clr>
            <a:srgbClr val="FBAE40"/>
          </p15:clr>
        </p15:guide>
        <p15:guide id="3" pos="7272">
          <p15:clr>
            <a:srgbClr val="FBAE40"/>
          </p15:clr>
        </p15:guide>
        <p15:guide id="4" orient="horz" pos="249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Shape, circle&#10;&#10;Description automatically generated">
            <a:extLst>
              <a:ext uri="{FF2B5EF4-FFF2-40B4-BE49-F238E27FC236}">
                <a16:creationId xmlns:a16="http://schemas.microsoft.com/office/drawing/2014/main" xmlns="" id="{F3308DA1-82B3-5605-F059-77C2B43D1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725232" y="0"/>
            <a:ext cx="8720910" cy="231394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xmlns="" id="{8306019C-5539-2A51-4CC8-3A7F9C609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35448" y="255174"/>
            <a:ext cx="7521104" cy="1048494"/>
          </a:xfrm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18E6FA75-AFFB-E2A6-D951-16C14E3C46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457" y="4631695"/>
            <a:ext cx="2584099" cy="1363456"/>
          </a:xfrm>
        </p:spPr>
        <p:txBody>
          <a:bodyPr>
            <a:noAutofit/>
          </a:bodyPr>
          <a:lstStyle>
            <a:lvl1pPr marL="14288" indent="0" algn="ctr">
              <a:buNone/>
              <a:tabLst/>
              <a:defRPr sz="1600" b="1">
                <a:solidFill>
                  <a:schemeClr val="tx2"/>
                </a:solidFill>
              </a:defRPr>
            </a:lvl1pPr>
            <a:lvl2pPr marL="14288" indent="0" algn="ctr">
              <a:buNone/>
              <a:tabLst/>
              <a:defRPr sz="1400"/>
            </a:lvl2pPr>
            <a:lvl3pPr marL="14288" indent="0" algn="ctr">
              <a:buNone/>
              <a:tabLst/>
              <a:defRPr sz="1200"/>
            </a:lvl3pPr>
            <a:lvl4pPr marL="14288" indent="0" algn="ctr">
              <a:buNone/>
              <a:tabLst/>
              <a:defRPr sz="1100"/>
            </a:lvl4pPr>
            <a:lvl5pPr marL="14288" indent="0" algn="ctr">
              <a:buNone/>
              <a:tabLst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7F0BA483-841A-AD1E-89F6-BA7D225B4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9892" y="2503761"/>
            <a:ext cx="10872216" cy="231854"/>
          </a:xfrm>
        </p:spPr>
        <p:txBody>
          <a:bodyPr lIns="91440" tIns="45720" rIns="91440" bIns="45720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16pt)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5449A724-F820-4031-AE54-C7DE0A0E39E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398309" y="4631695"/>
            <a:ext cx="2584098" cy="1363456"/>
          </a:xfrm>
        </p:spPr>
        <p:txBody>
          <a:bodyPr>
            <a:noAutofit/>
          </a:bodyPr>
          <a:lstStyle>
            <a:lvl1pPr marL="14288" indent="0" algn="ctr">
              <a:buNone/>
              <a:tabLst/>
              <a:defRPr sz="1600" b="1">
                <a:solidFill>
                  <a:schemeClr val="accent1"/>
                </a:solidFill>
              </a:defRPr>
            </a:lvl1pPr>
            <a:lvl2pPr marL="14288" indent="0" algn="ctr">
              <a:buNone/>
              <a:tabLst/>
              <a:defRPr sz="1400"/>
            </a:lvl2pPr>
            <a:lvl3pPr marL="14288" indent="0" algn="ctr">
              <a:buNone/>
              <a:tabLst/>
              <a:defRPr sz="1200"/>
            </a:lvl3pPr>
            <a:lvl4pPr marL="14288" indent="0" algn="ctr">
              <a:buNone/>
              <a:tabLst/>
              <a:defRPr sz="1100"/>
            </a:lvl4pPr>
            <a:lvl5pPr marL="14288" indent="0" algn="ctr">
              <a:buNone/>
              <a:tabLst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C462C91B-D41F-ABD9-59B2-A3A4ABB50EB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173160" y="4631695"/>
            <a:ext cx="2584098" cy="1363456"/>
          </a:xfrm>
        </p:spPr>
        <p:txBody>
          <a:bodyPr>
            <a:noAutofit/>
          </a:bodyPr>
          <a:lstStyle>
            <a:lvl1pPr marL="14288" indent="0" algn="ctr">
              <a:buNone/>
              <a:tabLst/>
              <a:defRPr sz="1600" b="1">
                <a:solidFill>
                  <a:schemeClr val="accent2"/>
                </a:solidFill>
              </a:defRPr>
            </a:lvl1pPr>
            <a:lvl2pPr marL="14288" indent="0" algn="ctr">
              <a:buNone/>
              <a:tabLst/>
              <a:defRPr sz="1400"/>
            </a:lvl2pPr>
            <a:lvl3pPr marL="14288" indent="0" algn="ctr">
              <a:buNone/>
              <a:tabLst/>
              <a:defRPr sz="1200"/>
            </a:lvl3pPr>
            <a:lvl4pPr marL="14288" indent="0" algn="ctr">
              <a:buNone/>
              <a:tabLst/>
              <a:defRPr sz="1100"/>
            </a:lvl4pPr>
            <a:lvl5pPr marL="14288" indent="0" algn="ctr">
              <a:buNone/>
              <a:tabLst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xmlns="" id="{A130C222-0307-F2AB-CCA6-2E358E1A69DE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xmlns="" id="{232DB846-8260-60EA-D0E7-6C016AFB7912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948010" y="4631695"/>
            <a:ext cx="2584098" cy="1363456"/>
          </a:xfrm>
        </p:spPr>
        <p:txBody>
          <a:bodyPr>
            <a:noAutofit/>
          </a:bodyPr>
          <a:lstStyle>
            <a:lvl1pPr marL="14288" indent="0" algn="ctr">
              <a:buNone/>
              <a:tabLst/>
              <a:defRPr sz="1600" b="1">
                <a:solidFill>
                  <a:schemeClr val="accent3"/>
                </a:solidFill>
              </a:defRPr>
            </a:lvl1pPr>
            <a:lvl2pPr marL="14288" indent="0" algn="ctr">
              <a:buNone/>
              <a:tabLst/>
              <a:defRPr sz="1400"/>
            </a:lvl2pPr>
            <a:lvl3pPr marL="14288" indent="0" algn="ctr">
              <a:buNone/>
              <a:tabLst/>
              <a:defRPr sz="1200"/>
            </a:lvl3pPr>
            <a:lvl4pPr marL="14288" indent="0" algn="ctr">
              <a:buNone/>
              <a:tabLst/>
              <a:defRPr sz="1100"/>
            </a:lvl4pPr>
            <a:lvl5pPr marL="14288" indent="0" algn="ctr">
              <a:buNone/>
              <a:tabLst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CCD754D8-D8DD-D3F6-F9C8-9F726E659D8F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5" name="Picture 7">
              <a:extLst>
                <a:ext uri="{FF2B5EF4-FFF2-40B4-BE49-F238E27FC236}">
                  <a16:creationId xmlns:a16="http://schemas.microsoft.com/office/drawing/2014/main" xmlns="" id="{4255CC58-2A17-7DE8-A458-5A25F9431AAB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4C1BBC38-E785-817C-DBEB-5BA7A490928E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EDF9236A-0FB8-7203-FCBF-DC22C9D01E40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xmlns="" id="{D36DC956-29A5-D7DB-FEF2-73BF7B77B2CC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xmlns="" id="{C0CC0CAE-ABBF-EF62-5A52-FD73D09881CD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xmlns="" id="{95375D66-E03B-6BD3-B52F-697FD6106194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xmlns="" id="{2C6F5547-AB05-F427-A9ED-3D4A16A2A091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xmlns="" id="{8374CBA2-74C0-B289-7ABD-E7421F8146E5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xmlns="" id="{C835CEEC-E765-A9E9-C521-9A9CC187DD72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A8879159-5B5C-1BD2-A47F-46EEF8389B54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3CCE1A84-6F7C-FB53-956F-BA7EB9270A88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E9FA5681-6C73-E05A-59B9-C5A647B83773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F890A167-D86B-C7BF-D6F0-E1FC85945415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8F7CFDEC-C1AD-267E-8043-BE8DE1DBE667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2DD0FBCA-47C2-4E37-DAEA-9728992A3FCC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4AD1B83C-C22E-4596-2AFA-D994AA984FB8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867665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79E38BC-1315-EA4A-9C05-F745E7958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456" y="365760"/>
            <a:ext cx="10875818" cy="914400"/>
          </a:xfrm>
        </p:spPr>
        <p:txBody>
          <a:bodyPr>
            <a:noAutofit/>
          </a:bodyPr>
          <a:lstStyle>
            <a:lvl1pPr>
              <a:defRPr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7BF870D-4561-6946-AECE-304BE60EA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456" y="1691640"/>
            <a:ext cx="10875818" cy="425196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xmlns="" id="{51AEA81B-F245-C396-660A-D5CACA180CCF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5923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Shape, circle&#10;&#10;Description automatically generated">
            <a:extLst>
              <a:ext uri="{FF2B5EF4-FFF2-40B4-BE49-F238E27FC236}">
                <a16:creationId xmlns:a16="http://schemas.microsoft.com/office/drawing/2014/main" xmlns="" id="{F3308DA1-82B3-5605-F059-77C2B43D1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725232" y="0"/>
            <a:ext cx="8720910" cy="231394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xmlns="" id="{8306019C-5539-2A51-4CC8-3A7F9C609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35448" y="255174"/>
            <a:ext cx="7521104" cy="1048494"/>
          </a:xfrm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18E6FA75-AFFB-E2A6-D951-16C14E3C46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457" y="4631695"/>
            <a:ext cx="2584099" cy="1363456"/>
          </a:xfrm>
        </p:spPr>
        <p:txBody>
          <a:bodyPr>
            <a:noAutofit/>
          </a:bodyPr>
          <a:lstStyle>
            <a:lvl1pPr marL="14288" indent="0" algn="ctr">
              <a:buNone/>
              <a:tabLst/>
              <a:defRPr sz="1600" b="1">
                <a:solidFill>
                  <a:schemeClr val="tx2"/>
                </a:solidFill>
              </a:defRPr>
            </a:lvl1pPr>
            <a:lvl2pPr marL="14288" indent="0" algn="ctr">
              <a:buNone/>
              <a:tabLst/>
              <a:defRPr sz="1400"/>
            </a:lvl2pPr>
            <a:lvl3pPr marL="14288" indent="0" algn="ctr">
              <a:buNone/>
              <a:tabLst/>
              <a:defRPr sz="1200"/>
            </a:lvl3pPr>
            <a:lvl4pPr marL="14288" indent="0" algn="ctr">
              <a:buNone/>
              <a:tabLst/>
              <a:defRPr sz="1100"/>
            </a:lvl4pPr>
            <a:lvl5pPr marL="14288" indent="0" algn="ctr">
              <a:buNone/>
              <a:tabLst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7F0BA483-841A-AD1E-89F6-BA7D225B4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9892" y="2503761"/>
            <a:ext cx="10872216" cy="231854"/>
          </a:xfrm>
        </p:spPr>
        <p:txBody>
          <a:bodyPr lIns="91440" tIns="45720" rIns="91440" bIns="45720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16pt)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5449A724-F820-4031-AE54-C7DE0A0E39E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398309" y="4631695"/>
            <a:ext cx="2584098" cy="1363456"/>
          </a:xfrm>
        </p:spPr>
        <p:txBody>
          <a:bodyPr>
            <a:noAutofit/>
          </a:bodyPr>
          <a:lstStyle>
            <a:lvl1pPr marL="14288" indent="0" algn="ctr">
              <a:buNone/>
              <a:tabLst/>
              <a:defRPr sz="1600" b="1">
                <a:solidFill>
                  <a:schemeClr val="accent1"/>
                </a:solidFill>
              </a:defRPr>
            </a:lvl1pPr>
            <a:lvl2pPr marL="14288" indent="0" algn="ctr">
              <a:buNone/>
              <a:tabLst/>
              <a:defRPr sz="1400"/>
            </a:lvl2pPr>
            <a:lvl3pPr marL="14288" indent="0" algn="ctr">
              <a:buNone/>
              <a:tabLst/>
              <a:defRPr sz="1200"/>
            </a:lvl3pPr>
            <a:lvl4pPr marL="14288" indent="0" algn="ctr">
              <a:buNone/>
              <a:tabLst/>
              <a:defRPr sz="1100"/>
            </a:lvl4pPr>
            <a:lvl5pPr marL="14288" indent="0" algn="ctr">
              <a:buNone/>
              <a:tabLst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C462C91B-D41F-ABD9-59B2-A3A4ABB50EB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173160" y="4631695"/>
            <a:ext cx="2584098" cy="1363456"/>
          </a:xfrm>
        </p:spPr>
        <p:txBody>
          <a:bodyPr>
            <a:noAutofit/>
          </a:bodyPr>
          <a:lstStyle>
            <a:lvl1pPr marL="14288" indent="0" algn="ctr">
              <a:buNone/>
              <a:tabLst/>
              <a:defRPr sz="1600" b="1">
                <a:solidFill>
                  <a:schemeClr val="accent2"/>
                </a:solidFill>
              </a:defRPr>
            </a:lvl1pPr>
            <a:lvl2pPr marL="14288" indent="0" algn="ctr">
              <a:buNone/>
              <a:tabLst/>
              <a:defRPr sz="1400"/>
            </a:lvl2pPr>
            <a:lvl3pPr marL="14288" indent="0" algn="ctr">
              <a:buNone/>
              <a:tabLst/>
              <a:defRPr sz="1200"/>
            </a:lvl3pPr>
            <a:lvl4pPr marL="14288" indent="0" algn="ctr">
              <a:buNone/>
              <a:tabLst/>
              <a:defRPr sz="1100"/>
            </a:lvl4pPr>
            <a:lvl5pPr marL="14288" indent="0" algn="ctr">
              <a:buNone/>
              <a:tabLst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xmlns="" id="{A130C222-0307-F2AB-CCA6-2E358E1A69DE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xmlns="" id="{232DB846-8260-60EA-D0E7-6C016AFB7912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948010" y="4631695"/>
            <a:ext cx="2584098" cy="1363456"/>
          </a:xfrm>
        </p:spPr>
        <p:txBody>
          <a:bodyPr>
            <a:noAutofit/>
          </a:bodyPr>
          <a:lstStyle>
            <a:lvl1pPr marL="14288" indent="0" algn="ctr">
              <a:buNone/>
              <a:tabLst/>
              <a:defRPr sz="1600" b="1">
                <a:solidFill>
                  <a:schemeClr val="accent3"/>
                </a:solidFill>
              </a:defRPr>
            </a:lvl1pPr>
            <a:lvl2pPr marL="14288" indent="0" algn="ctr">
              <a:buNone/>
              <a:tabLst/>
              <a:defRPr sz="1400"/>
            </a:lvl2pPr>
            <a:lvl3pPr marL="14288" indent="0" algn="ctr">
              <a:buNone/>
              <a:tabLst/>
              <a:defRPr sz="1200"/>
            </a:lvl3pPr>
            <a:lvl4pPr marL="14288" indent="0" algn="ctr">
              <a:buNone/>
              <a:tabLst/>
              <a:defRPr sz="1100"/>
            </a:lvl4pPr>
            <a:lvl5pPr marL="14288" indent="0" algn="ctr">
              <a:buNone/>
              <a:tabLst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CCD754D8-D8DD-D3F6-F9C8-9F726E659D8F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5" name="Picture 7">
              <a:extLst>
                <a:ext uri="{FF2B5EF4-FFF2-40B4-BE49-F238E27FC236}">
                  <a16:creationId xmlns:a16="http://schemas.microsoft.com/office/drawing/2014/main" xmlns="" id="{4255CC58-2A17-7DE8-A458-5A25F9431AAB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4C1BBC38-E785-817C-DBEB-5BA7A490928E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EDF9236A-0FB8-7203-FCBF-DC22C9D01E40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xmlns="" id="{D36DC956-29A5-D7DB-FEF2-73BF7B77B2CC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xmlns="" id="{C0CC0CAE-ABBF-EF62-5A52-FD73D09881CD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xmlns="" id="{95375D66-E03B-6BD3-B52F-697FD6106194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xmlns="" id="{2C6F5547-AB05-F427-A9ED-3D4A16A2A091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xmlns="" id="{8374CBA2-74C0-B289-7ABD-E7421F8146E5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xmlns="" id="{C835CEEC-E765-A9E9-C521-9A9CC187DD72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A8879159-5B5C-1BD2-A47F-46EEF8389B54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3CCE1A84-6F7C-FB53-956F-BA7EB9270A88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E9FA5681-6C73-E05A-59B9-C5A647B83773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F890A167-D86B-C7BF-D6F0-E1FC85945415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8F7CFDEC-C1AD-267E-8043-BE8DE1DBE667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2DD0FBCA-47C2-4E37-DAEA-9728992A3FCC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4AD1B83C-C22E-4596-2AFA-D994AA984FB8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61847225-71BF-482E-FF3F-10C6CC90F41C}"/>
              </a:ext>
            </a:extLst>
          </p:cNvPr>
          <p:cNvSpPr/>
          <p:nvPr userDrawn="1"/>
        </p:nvSpPr>
        <p:spPr>
          <a:xfrm>
            <a:off x="10177670" y="6172200"/>
            <a:ext cx="1719469" cy="4075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755642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ngle Content Frame PLAIN" userDrawn="1">
  <p:cSld name="Single Content Frame PLAIN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4;p23">
            <a:extLst>
              <a:ext uri="{FF2B5EF4-FFF2-40B4-BE49-F238E27FC236}">
                <a16:creationId xmlns:a16="http://schemas.microsoft.com/office/drawing/2014/main" xmlns="" id="{A8662D3B-109C-CD7F-1FD4-DFE9D4869050}"/>
              </a:ext>
            </a:extLst>
          </p:cNvPr>
          <p:cNvSpPr txBox="1">
            <a:spLocks/>
          </p:cNvSpPr>
          <p:nvPr userDrawn="1"/>
        </p:nvSpPr>
        <p:spPr>
          <a:xfrm>
            <a:off x="11688425" y="6430526"/>
            <a:ext cx="503700" cy="3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3" name="Google Shape;12;p23">
            <a:extLst>
              <a:ext uri="{FF2B5EF4-FFF2-40B4-BE49-F238E27FC236}">
                <a16:creationId xmlns:a16="http://schemas.microsoft.com/office/drawing/2014/main" xmlns="" id="{854BE8B0-5FB1-FFE2-A785-CADA6893D032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787361" y="6518593"/>
            <a:ext cx="827773" cy="12416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0FD26D6D-CFE8-4F5C-74C0-4D5F9EE0EE8C}"/>
              </a:ext>
            </a:extLst>
          </p:cNvPr>
          <p:cNvCxnSpPr>
            <a:cxnSpLocks/>
          </p:cNvCxnSpPr>
          <p:nvPr userDrawn="1"/>
        </p:nvCxnSpPr>
        <p:spPr>
          <a:xfrm>
            <a:off x="11688425" y="6447516"/>
            <a:ext cx="0" cy="266321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Google Shape;52;p29">
            <a:extLst>
              <a:ext uri="{FF2B5EF4-FFF2-40B4-BE49-F238E27FC236}">
                <a16:creationId xmlns:a16="http://schemas.microsoft.com/office/drawing/2014/main" xmlns="" id="{684DC108-1436-D448-B7EA-3C36907E6F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0" y="457200"/>
            <a:ext cx="10515600" cy="586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Arial"/>
              <a:buNone/>
              <a:defRPr sz="28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" name="Google Shape;13;p23">
            <a:extLst>
              <a:ext uri="{FF2B5EF4-FFF2-40B4-BE49-F238E27FC236}">
                <a16:creationId xmlns:a16="http://schemas.microsoft.com/office/drawing/2014/main" xmlns="" id="{4E4626DA-748B-2D45-8163-DC35A448C80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8199" y="1481558"/>
            <a:ext cx="10515600" cy="4332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marL="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600" b="0" i="0">
                <a:solidFill>
                  <a:srgbClr val="64646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Char char="•"/>
              <a:defRPr sz="16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lvl="5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lvl="6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lvl="7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lvl="8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xmlns="" id="{5DBD4AC3-0CEC-EC4F-A306-C0ABF7F0EC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908518"/>
            <a:ext cx="9058275" cy="438150"/>
          </a:xfrm>
        </p:spPr>
        <p:txBody>
          <a:bodyPr lIns="0">
            <a:noAutofit/>
          </a:bodyPr>
          <a:lstStyle>
            <a:lvl1pPr marL="0" indent="0">
              <a:buNone/>
              <a:defRPr sz="2000" b="1" i="1">
                <a:solidFill>
                  <a:schemeClr val="accent5"/>
                </a:solidFill>
                <a:latin typeface="+mj-lt"/>
              </a:defRPr>
            </a:lvl1pPr>
            <a:lvl2pPr marL="533400" indent="0">
              <a:buNone/>
              <a:defRPr/>
            </a:lvl2pPr>
            <a:lvl3pPr marL="1016000" indent="0">
              <a:buNone/>
              <a:defRPr/>
            </a:lvl3pPr>
            <a:lvl4pPr marL="1485900" indent="0">
              <a:buNone/>
              <a:defRPr/>
            </a:lvl4pPr>
            <a:lvl5pPr marL="19431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665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Resear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hape&#10;&#10;Description automatically generated">
            <a:extLst>
              <a:ext uri="{FF2B5EF4-FFF2-40B4-BE49-F238E27FC236}">
                <a16:creationId xmlns:a16="http://schemas.microsoft.com/office/drawing/2014/main" xmlns="" id="{DC9B6711-B85C-B138-F556-3B6FEFA539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30269DC-591D-B944-A479-80E360E756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4404" y="3834884"/>
            <a:ext cx="5133724" cy="658717"/>
          </a:xfrm>
        </p:spPr>
        <p:txBody>
          <a:bodyPr lIns="91440" tIns="45720" rIns="91440" bIns="45720">
            <a:noAutofit/>
          </a:bodyPr>
          <a:lstStyle>
            <a:lvl1pPr marL="0" indent="0" algn="r">
              <a:buNone/>
              <a:defRPr sz="2400" b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(Arial 24pt)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2F7201-0FDA-CE47-A9F3-7594A2B9A9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4404" y="2574295"/>
            <a:ext cx="5133724" cy="1237410"/>
          </a:xfrm>
        </p:spPr>
        <p:txBody>
          <a:bodyPr lIns="91440" tIns="45720" rIns="91440" bIns="45720" anchor="b">
            <a:noAutofit/>
          </a:bodyPr>
          <a:lstStyle>
            <a:lvl1pPr algn="r">
              <a:defRPr sz="4000" b="0" i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40pt)</a:t>
            </a:r>
            <a:endParaRPr lang="x-none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83688985-54CA-8EFE-1EAA-9D3E5B4B6889}"/>
              </a:ext>
            </a:extLst>
          </p:cNvPr>
          <p:cNvGrpSpPr/>
          <p:nvPr userDrawn="1"/>
        </p:nvGrpSpPr>
        <p:grpSpPr>
          <a:xfrm>
            <a:off x="9387557" y="3323005"/>
            <a:ext cx="2184530" cy="319082"/>
            <a:chOff x="9387557" y="3323005"/>
            <a:chExt cx="2184530" cy="319082"/>
          </a:xfrm>
        </p:grpSpPr>
        <p:grpSp>
          <p:nvGrpSpPr>
            <p:cNvPr id="8" name="Picture 7">
              <a:extLst>
                <a:ext uri="{FF2B5EF4-FFF2-40B4-BE49-F238E27FC236}">
                  <a16:creationId xmlns:a16="http://schemas.microsoft.com/office/drawing/2014/main" xmlns="" id="{5EA67CC4-08B1-8FBE-C341-4AD8945CA5F7}"/>
                </a:ext>
              </a:extLst>
            </p:cNvPr>
            <p:cNvGrpSpPr/>
            <p:nvPr/>
          </p:nvGrpSpPr>
          <p:grpSpPr>
            <a:xfrm>
              <a:off x="9387557" y="3323005"/>
              <a:ext cx="2184530" cy="314756"/>
              <a:chOff x="9387557" y="3323005"/>
              <a:chExt cx="2184530" cy="314756"/>
            </a:xfrm>
            <a:solidFill>
              <a:srgbClr val="28509C"/>
            </a:solidFill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33AEC5C0-F8BC-94CF-0120-99A60268D3C3}"/>
                  </a:ext>
                </a:extLst>
              </p:cNvPr>
              <p:cNvSpPr/>
              <p:nvPr/>
            </p:nvSpPr>
            <p:spPr>
              <a:xfrm>
                <a:off x="10500022" y="3323005"/>
                <a:ext cx="270122" cy="308340"/>
              </a:xfrm>
              <a:custGeom>
                <a:avLst/>
                <a:gdLst>
                  <a:gd name="connsiteX0" fmla="*/ 135025 w 270122"/>
                  <a:gd name="connsiteY0" fmla="*/ 0 h 308340"/>
                  <a:gd name="connsiteX1" fmla="*/ 0 w 270122"/>
                  <a:gd name="connsiteY1" fmla="*/ 308341 h 308340"/>
                  <a:gd name="connsiteX2" fmla="*/ 28949 w 270122"/>
                  <a:gd name="connsiteY2" fmla="*/ 308341 h 308340"/>
                  <a:gd name="connsiteX3" fmla="*/ 76262 w 270122"/>
                  <a:gd name="connsiteY3" fmla="*/ 200274 h 308340"/>
                  <a:gd name="connsiteX4" fmla="*/ 193933 w 270122"/>
                  <a:gd name="connsiteY4" fmla="*/ 200274 h 308340"/>
                  <a:gd name="connsiteX5" fmla="*/ 241533 w 270122"/>
                  <a:gd name="connsiteY5" fmla="*/ 308341 h 308340"/>
                  <a:gd name="connsiteX6" fmla="*/ 270123 w 270122"/>
                  <a:gd name="connsiteY6" fmla="*/ 308341 h 308340"/>
                  <a:gd name="connsiteX7" fmla="*/ 135025 w 270122"/>
                  <a:gd name="connsiteY7" fmla="*/ 0 h 308340"/>
                  <a:gd name="connsiteX8" fmla="*/ 87640 w 270122"/>
                  <a:gd name="connsiteY8" fmla="*/ 174104 h 308340"/>
                  <a:gd name="connsiteX9" fmla="*/ 134809 w 270122"/>
                  <a:gd name="connsiteY9" fmla="*/ 66181 h 308340"/>
                  <a:gd name="connsiteX10" fmla="*/ 182338 w 270122"/>
                  <a:gd name="connsiteY10" fmla="*/ 174104 h 308340"/>
                  <a:gd name="connsiteX11" fmla="*/ 87568 w 270122"/>
                  <a:gd name="connsiteY11" fmla="*/ 174104 h 30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0122" h="308340">
                    <a:moveTo>
                      <a:pt x="135025" y="0"/>
                    </a:moveTo>
                    <a:lnTo>
                      <a:pt x="0" y="308341"/>
                    </a:lnTo>
                    <a:lnTo>
                      <a:pt x="28949" y="308341"/>
                    </a:lnTo>
                    <a:lnTo>
                      <a:pt x="76262" y="200274"/>
                    </a:lnTo>
                    <a:lnTo>
                      <a:pt x="193933" y="200274"/>
                    </a:lnTo>
                    <a:lnTo>
                      <a:pt x="241533" y="308341"/>
                    </a:lnTo>
                    <a:lnTo>
                      <a:pt x="270123" y="308341"/>
                    </a:lnTo>
                    <a:lnTo>
                      <a:pt x="135025" y="0"/>
                    </a:lnTo>
                    <a:close/>
                    <a:moveTo>
                      <a:pt x="87640" y="174104"/>
                    </a:moveTo>
                    <a:lnTo>
                      <a:pt x="134809" y="66181"/>
                    </a:lnTo>
                    <a:lnTo>
                      <a:pt x="182338" y="174104"/>
                    </a:lnTo>
                    <a:lnTo>
                      <a:pt x="87568" y="174104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xmlns="" id="{6F08E3C3-7491-1CED-8493-10AD0143444F}"/>
                  </a:ext>
                </a:extLst>
              </p:cNvPr>
              <p:cNvSpPr/>
              <p:nvPr/>
            </p:nvSpPr>
            <p:spPr>
              <a:xfrm>
                <a:off x="11126107" y="3329421"/>
                <a:ext cx="26140" cy="301852"/>
              </a:xfrm>
              <a:custGeom>
                <a:avLst/>
                <a:gdLst>
                  <a:gd name="connsiteX0" fmla="*/ 0 w 26140"/>
                  <a:gd name="connsiteY0" fmla="*/ 0 h 301852"/>
                  <a:gd name="connsiteX1" fmla="*/ 26141 w 26140"/>
                  <a:gd name="connsiteY1" fmla="*/ 0 h 301852"/>
                  <a:gd name="connsiteX2" fmla="*/ 26141 w 26140"/>
                  <a:gd name="connsiteY2" fmla="*/ 301852 h 301852"/>
                  <a:gd name="connsiteX3" fmla="*/ 0 w 26140"/>
                  <a:gd name="connsiteY3" fmla="*/ 301852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40" h="301852">
                    <a:moveTo>
                      <a:pt x="0" y="0"/>
                    </a:moveTo>
                    <a:lnTo>
                      <a:pt x="26141" y="0"/>
                    </a:lnTo>
                    <a:lnTo>
                      <a:pt x="26141" y="301852"/>
                    </a:lnTo>
                    <a:lnTo>
                      <a:pt x="0" y="30185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59421314-773B-916D-68D4-DD93E2C9794D}"/>
                  </a:ext>
                </a:extLst>
              </p:cNvPr>
              <p:cNvSpPr/>
              <p:nvPr/>
            </p:nvSpPr>
            <p:spPr>
              <a:xfrm>
                <a:off x="10168471" y="3323509"/>
                <a:ext cx="276820" cy="307763"/>
              </a:xfrm>
              <a:custGeom>
                <a:avLst/>
                <a:gdLst>
                  <a:gd name="connsiteX0" fmla="*/ 137762 w 276820"/>
                  <a:gd name="connsiteY0" fmla="*/ 139139 h 307763"/>
                  <a:gd name="connsiteX1" fmla="*/ 0 w 276820"/>
                  <a:gd name="connsiteY1" fmla="*/ 144 h 307763"/>
                  <a:gd name="connsiteX2" fmla="*/ 144 w 276820"/>
                  <a:gd name="connsiteY2" fmla="*/ 307764 h 307763"/>
                  <a:gd name="connsiteX3" fmla="*/ 26285 w 276820"/>
                  <a:gd name="connsiteY3" fmla="*/ 307764 h 307763"/>
                  <a:gd name="connsiteX4" fmla="*/ 26285 w 276820"/>
                  <a:gd name="connsiteY4" fmla="*/ 63946 h 307763"/>
                  <a:gd name="connsiteX5" fmla="*/ 137474 w 276820"/>
                  <a:gd name="connsiteY5" fmla="*/ 176555 h 307763"/>
                  <a:gd name="connsiteX6" fmla="*/ 250679 w 276820"/>
                  <a:gd name="connsiteY6" fmla="*/ 63370 h 307763"/>
                  <a:gd name="connsiteX7" fmla="*/ 250679 w 276820"/>
                  <a:gd name="connsiteY7" fmla="*/ 307764 h 307763"/>
                  <a:gd name="connsiteX8" fmla="*/ 276820 w 276820"/>
                  <a:gd name="connsiteY8" fmla="*/ 307764 h 307763"/>
                  <a:gd name="connsiteX9" fmla="*/ 276820 w 276820"/>
                  <a:gd name="connsiteY9" fmla="*/ 0 h 307763"/>
                  <a:gd name="connsiteX10" fmla="*/ 137762 w 276820"/>
                  <a:gd name="connsiteY10" fmla="*/ 139139 h 30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6820" h="307763">
                    <a:moveTo>
                      <a:pt x="137762" y="139139"/>
                    </a:moveTo>
                    <a:lnTo>
                      <a:pt x="0" y="144"/>
                    </a:lnTo>
                    <a:lnTo>
                      <a:pt x="144" y="307764"/>
                    </a:lnTo>
                    <a:lnTo>
                      <a:pt x="26285" y="307764"/>
                    </a:lnTo>
                    <a:lnTo>
                      <a:pt x="26285" y="63946"/>
                    </a:lnTo>
                    <a:lnTo>
                      <a:pt x="137474" y="176555"/>
                    </a:lnTo>
                    <a:lnTo>
                      <a:pt x="250679" y="63370"/>
                    </a:lnTo>
                    <a:lnTo>
                      <a:pt x="250679" y="307764"/>
                    </a:lnTo>
                    <a:lnTo>
                      <a:pt x="276820" y="307764"/>
                    </a:lnTo>
                    <a:lnTo>
                      <a:pt x="276820" y="0"/>
                    </a:lnTo>
                    <a:lnTo>
                      <a:pt x="137762" y="13913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587D3FA5-10F6-17B5-9563-6DD89A6B4ECC}"/>
                  </a:ext>
                </a:extLst>
              </p:cNvPr>
              <p:cNvSpPr/>
              <p:nvPr/>
            </p:nvSpPr>
            <p:spPr>
              <a:xfrm>
                <a:off x="11259260" y="3324302"/>
                <a:ext cx="228210" cy="313459"/>
              </a:xfrm>
              <a:custGeom>
                <a:avLst/>
                <a:gdLst>
                  <a:gd name="connsiteX0" fmla="*/ 201998 w 228210"/>
                  <a:gd name="connsiteY0" fmla="*/ 5119 h 313459"/>
                  <a:gd name="connsiteX1" fmla="*/ 201998 w 228210"/>
                  <a:gd name="connsiteY1" fmla="*/ 240213 h 313459"/>
                  <a:gd name="connsiteX2" fmla="*/ 0 w 228210"/>
                  <a:gd name="connsiteY2" fmla="*/ 0 h 313459"/>
                  <a:gd name="connsiteX3" fmla="*/ 0 w 228210"/>
                  <a:gd name="connsiteY3" fmla="*/ 41814 h 313459"/>
                  <a:gd name="connsiteX4" fmla="*/ 0 w 228210"/>
                  <a:gd name="connsiteY4" fmla="*/ 306971 h 313459"/>
                  <a:gd name="connsiteX5" fmla="*/ 26141 w 228210"/>
                  <a:gd name="connsiteY5" fmla="*/ 306971 h 313459"/>
                  <a:gd name="connsiteX6" fmla="*/ 26141 w 228210"/>
                  <a:gd name="connsiteY6" fmla="*/ 72958 h 313459"/>
                  <a:gd name="connsiteX7" fmla="*/ 228211 w 228210"/>
                  <a:gd name="connsiteY7" fmla="*/ 313459 h 313459"/>
                  <a:gd name="connsiteX8" fmla="*/ 228211 w 228210"/>
                  <a:gd name="connsiteY8" fmla="*/ 5119 h 313459"/>
                  <a:gd name="connsiteX9" fmla="*/ 201998 w 228210"/>
                  <a:gd name="connsiteY9" fmla="*/ 5119 h 31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210" h="313459">
                    <a:moveTo>
                      <a:pt x="201998" y="5119"/>
                    </a:moveTo>
                    <a:lnTo>
                      <a:pt x="201998" y="240213"/>
                    </a:lnTo>
                    <a:lnTo>
                      <a:pt x="0" y="0"/>
                    </a:lnTo>
                    <a:lnTo>
                      <a:pt x="0" y="41814"/>
                    </a:lnTo>
                    <a:lnTo>
                      <a:pt x="0" y="306971"/>
                    </a:lnTo>
                    <a:lnTo>
                      <a:pt x="26141" y="306971"/>
                    </a:lnTo>
                    <a:lnTo>
                      <a:pt x="26141" y="72958"/>
                    </a:lnTo>
                    <a:lnTo>
                      <a:pt x="228211" y="313459"/>
                    </a:lnTo>
                    <a:lnTo>
                      <a:pt x="228211" y="5119"/>
                    </a:lnTo>
                    <a:lnTo>
                      <a:pt x="201998" y="511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68626036-DFE0-3D74-9E69-225D3BAACE33}"/>
                  </a:ext>
                </a:extLst>
              </p:cNvPr>
              <p:cNvSpPr/>
              <p:nvPr/>
            </p:nvSpPr>
            <p:spPr>
              <a:xfrm>
                <a:off x="10827179" y="3329637"/>
                <a:ext cx="218993" cy="301780"/>
              </a:xfrm>
              <a:custGeom>
                <a:avLst/>
                <a:gdLst>
                  <a:gd name="connsiteX0" fmla="*/ 189468 w 218993"/>
                  <a:gd name="connsiteY0" fmla="*/ 301780 h 301780"/>
                  <a:gd name="connsiteX1" fmla="*/ 218993 w 218993"/>
                  <a:gd name="connsiteY1" fmla="*/ 301780 h 301780"/>
                  <a:gd name="connsiteX2" fmla="*/ 146692 w 218993"/>
                  <a:gd name="connsiteY2" fmla="*/ 160478 h 301780"/>
                  <a:gd name="connsiteX3" fmla="*/ 206319 w 218993"/>
                  <a:gd name="connsiteY3" fmla="*/ 89467 h 301780"/>
                  <a:gd name="connsiteX4" fmla="*/ 206391 w 218993"/>
                  <a:gd name="connsiteY4" fmla="*/ 89467 h 301780"/>
                  <a:gd name="connsiteX5" fmla="*/ 206391 w 218993"/>
                  <a:gd name="connsiteY5" fmla="*/ 87809 h 301780"/>
                  <a:gd name="connsiteX6" fmla="*/ 206679 w 218993"/>
                  <a:gd name="connsiteY6" fmla="*/ 82979 h 301780"/>
                  <a:gd name="connsiteX7" fmla="*/ 206391 w 218993"/>
                  <a:gd name="connsiteY7" fmla="*/ 82979 h 301780"/>
                  <a:gd name="connsiteX8" fmla="*/ 206391 w 218993"/>
                  <a:gd name="connsiteY8" fmla="*/ 80167 h 301780"/>
                  <a:gd name="connsiteX9" fmla="*/ 206679 w 218993"/>
                  <a:gd name="connsiteY9" fmla="*/ 80167 h 301780"/>
                  <a:gd name="connsiteX10" fmla="*/ 206391 w 218993"/>
                  <a:gd name="connsiteY10" fmla="*/ 75265 h 301780"/>
                  <a:gd name="connsiteX11" fmla="*/ 206391 w 218993"/>
                  <a:gd name="connsiteY11" fmla="*/ 75265 h 301780"/>
                  <a:gd name="connsiteX12" fmla="*/ 126600 w 218993"/>
                  <a:gd name="connsiteY12" fmla="*/ 0 h 301780"/>
                  <a:gd name="connsiteX13" fmla="*/ 0 w 218993"/>
                  <a:gd name="connsiteY13" fmla="*/ 0 h 301780"/>
                  <a:gd name="connsiteX14" fmla="*/ 0 w 218993"/>
                  <a:gd name="connsiteY14" fmla="*/ 301708 h 301780"/>
                  <a:gd name="connsiteX15" fmla="*/ 26141 w 218993"/>
                  <a:gd name="connsiteY15" fmla="*/ 301708 h 301780"/>
                  <a:gd name="connsiteX16" fmla="*/ 26141 w 218993"/>
                  <a:gd name="connsiteY16" fmla="*/ 163002 h 301780"/>
                  <a:gd name="connsiteX17" fmla="*/ 118390 w 218993"/>
                  <a:gd name="connsiteY17" fmla="*/ 163002 h 301780"/>
                  <a:gd name="connsiteX18" fmla="*/ 189468 w 218993"/>
                  <a:gd name="connsiteY18" fmla="*/ 301780 h 301780"/>
                  <a:gd name="connsiteX19" fmla="*/ 26141 w 218993"/>
                  <a:gd name="connsiteY19" fmla="*/ 26242 h 301780"/>
                  <a:gd name="connsiteX20" fmla="*/ 126600 w 218993"/>
                  <a:gd name="connsiteY20" fmla="*/ 26242 h 301780"/>
                  <a:gd name="connsiteX21" fmla="*/ 180250 w 218993"/>
                  <a:gd name="connsiteY21" fmla="*/ 79014 h 301780"/>
                  <a:gd name="connsiteX22" fmla="*/ 180250 w 218993"/>
                  <a:gd name="connsiteY22" fmla="*/ 83988 h 301780"/>
                  <a:gd name="connsiteX23" fmla="*/ 126600 w 218993"/>
                  <a:gd name="connsiteY23" fmla="*/ 136688 h 301780"/>
                  <a:gd name="connsiteX24" fmla="*/ 126600 w 218993"/>
                  <a:gd name="connsiteY24" fmla="*/ 136688 h 301780"/>
                  <a:gd name="connsiteX25" fmla="*/ 26141 w 218993"/>
                  <a:gd name="connsiteY25" fmla="*/ 136760 h 301780"/>
                  <a:gd name="connsiteX26" fmla="*/ 26141 w 218993"/>
                  <a:gd name="connsiteY26" fmla="*/ 26242 h 301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8993" h="301780">
                    <a:moveTo>
                      <a:pt x="189468" y="301780"/>
                    </a:moveTo>
                    <a:lnTo>
                      <a:pt x="218993" y="301780"/>
                    </a:lnTo>
                    <a:cubicBezTo>
                      <a:pt x="218993" y="301780"/>
                      <a:pt x="146692" y="160478"/>
                      <a:pt x="146692" y="160478"/>
                    </a:cubicBezTo>
                    <a:cubicBezTo>
                      <a:pt x="179098" y="152044"/>
                      <a:pt x="203582" y="123855"/>
                      <a:pt x="206319" y="89467"/>
                    </a:cubicBezTo>
                    <a:lnTo>
                      <a:pt x="206391" y="89467"/>
                    </a:lnTo>
                    <a:lnTo>
                      <a:pt x="206391" y="87809"/>
                    </a:lnTo>
                    <a:cubicBezTo>
                      <a:pt x="206463" y="86223"/>
                      <a:pt x="206679" y="84565"/>
                      <a:pt x="206679" y="82979"/>
                    </a:cubicBezTo>
                    <a:lnTo>
                      <a:pt x="206391" y="82979"/>
                    </a:lnTo>
                    <a:lnTo>
                      <a:pt x="206391" y="80167"/>
                    </a:lnTo>
                    <a:lnTo>
                      <a:pt x="206679" y="80167"/>
                    </a:lnTo>
                    <a:cubicBezTo>
                      <a:pt x="206679" y="78509"/>
                      <a:pt x="206535" y="76923"/>
                      <a:pt x="206391" y="75265"/>
                    </a:cubicBezTo>
                    <a:lnTo>
                      <a:pt x="206391" y="75265"/>
                    </a:lnTo>
                    <a:cubicBezTo>
                      <a:pt x="203798" y="33235"/>
                      <a:pt x="169160" y="0"/>
                      <a:pt x="126600" y="0"/>
                    </a:cubicBezTo>
                    <a:lnTo>
                      <a:pt x="0" y="0"/>
                    </a:lnTo>
                    <a:lnTo>
                      <a:pt x="0" y="301708"/>
                    </a:lnTo>
                    <a:lnTo>
                      <a:pt x="26141" y="301708"/>
                    </a:lnTo>
                    <a:lnTo>
                      <a:pt x="26141" y="163002"/>
                    </a:lnTo>
                    <a:lnTo>
                      <a:pt x="118390" y="163002"/>
                    </a:lnTo>
                    <a:lnTo>
                      <a:pt x="189468" y="301780"/>
                    </a:lnTo>
                    <a:close/>
                    <a:moveTo>
                      <a:pt x="26141" y="26242"/>
                    </a:moveTo>
                    <a:lnTo>
                      <a:pt x="126600" y="26242"/>
                    </a:lnTo>
                    <a:cubicBezTo>
                      <a:pt x="155909" y="26242"/>
                      <a:pt x="179674" y="49816"/>
                      <a:pt x="180250" y="79014"/>
                    </a:cubicBezTo>
                    <a:lnTo>
                      <a:pt x="180250" y="83988"/>
                    </a:lnTo>
                    <a:cubicBezTo>
                      <a:pt x="179674" y="113186"/>
                      <a:pt x="155909" y="136688"/>
                      <a:pt x="126600" y="136688"/>
                    </a:cubicBezTo>
                    <a:lnTo>
                      <a:pt x="126600" y="136688"/>
                    </a:lnTo>
                    <a:cubicBezTo>
                      <a:pt x="126600" y="136688"/>
                      <a:pt x="26141" y="136760"/>
                      <a:pt x="26141" y="136760"/>
                    </a:cubicBezTo>
                    <a:lnTo>
                      <a:pt x="26141" y="2624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8EED5C28-65FC-76D8-685C-5229D0214FD6}"/>
                  </a:ext>
                </a:extLst>
              </p:cNvPr>
              <p:cNvSpPr/>
              <p:nvPr/>
            </p:nvSpPr>
            <p:spPr>
              <a:xfrm>
                <a:off x="9387557" y="3329493"/>
                <a:ext cx="212944" cy="301852"/>
              </a:xfrm>
              <a:custGeom>
                <a:avLst/>
                <a:gdLst>
                  <a:gd name="connsiteX0" fmla="*/ 212656 w 212944"/>
                  <a:gd name="connsiteY0" fmla="*/ 212818 h 301852"/>
                  <a:gd name="connsiteX1" fmla="*/ 201422 w 212944"/>
                  <a:gd name="connsiteY1" fmla="*/ 173455 h 301852"/>
                  <a:gd name="connsiteX2" fmla="*/ 174273 w 212944"/>
                  <a:gd name="connsiteY2" fmla="*/ 147358 h 301852"/>
                  <a:gd name="connsiteX3" fmla="*/ 206247 w 212944"/>
                  <a:gd name="connsiteY3" fmla="*/ 89539 h 301852"/>
                  <a:gd name="connsiteX4" fmla="*/ 206319 w 212944"/>
                  <a:gd name="connsiteY4" fmla="*/ 89539 h 301852"/>
                  <a:gd name="connsiteX5" fmla="*/ 206319 w 212944"/>
                  <a:gd name="connsiteY5" fmla="*/ 87881 h 301852"/>
                  <a:gd name="connsiteX6" fmla="*/ 206535 w 212944"/>
                  <a:gd name="connsiteY6" fmla="*/ 83051 h 301852"/>
                  <a:gd name="connsiteX7" fmla="*/ 206319 w 212944"/>
                  <a:gd name="connsiteY7" fmla="*/ 83051 h 301852"/>
                  <a:gd name="connsiteX8" fmla="*/ 206319 w 212944"/>
                  <a:gd name="connsiteY8" fmla="*/ 80239 h 301852"/>
                  <a:gd name="connsiteX9" fmla="*/ 206535 w 212944"/>
                  <a:gd name="connsiteY9" fmla="*/ 80239 h 301852"/>
                  <a:gd name="connsiteX10" fmla="*/ 206319 w 212944"/>
                  <a:gd name="connsiteY10" fmla="*/ 75337 h 301852"/>
                  <a:gd name="connsiteX11" fmla="*/ 206319 w 212944"/>
                  <a:gd name="connsiteY11" fmla="*/ 75337 h 301852"/>
                  <a:gd name="connsiteX12" fmla="*/ 206319 w 212944"/>
                  <a:gd name="connsiteY12" fmla="*/ 75265 h 301852"/>
                  <a:gd name="connsiteX13" fmla="*/ 126456 w 212944"/>
                  <a:gd name="connsiteY13" fmla="*/ 72 h 301852"/>
                  <a:gd name="connsiteX14" fmla="*/ 126456 w 212944"/>
                  <a:gd name="connsiteY14" fmla="*/ 216 h 301852"/>
                  <a:gd name="connsiteX15" fmla="*/ 0 w 212944"/>
                  <a:gd name="connsiteY15" fmla="*/ 0 h 301852"/>
                  <a:gd name="connsiteX16" fmla="*/ 0 w 212944"/>
                  <a:gd name="connsiteY16" fmla="*/ 301852 h 301852"/>
                  <a:gd name="connsiteX17" fmla="*/ 131425 w 212944"/>
                  <a:gd name="connsiteY17" fmla="*/ 301852 h 301852"/>
                  <a:gd name="connsiteX18" fmla="*/ 212800 w 212944"/>
                  <a:gd name="connsiteY18" fmla="*/ 221541 h 301852"/>
                  <a:gd name="connsiteX19" fmla="*/ 212944 w 212944"/>
                  <a:gd name="connsiteY19" fmla="*/ 221541 h 301852"/>
                  <a:gd name="connsiteX20" fmla="*/ 212944 w 212944"/>
                  <a:gd name="connsiteY20" fmla="*/ 212818 h 301852"/>
                  <a:gd name="connsiteX21" fmla="*/ 212800 w 212944"/>
                  <a:gd name="connsiteY21" fmla="*/ 212818 h 301852"/>
                  <a:gd name="connsiteX22" fmla="*/ 126528 w 212944"/>
                  <a:gd name="connsiteY22" fmla="*/ 26386 h 301852"/>
                  <a:gd name="connsiteX23" fmla="*/ 126528 w 212944"/>
                  <a:gd name="connsiteY23" fmla="*/ 26386 h 301852"/>
                  <a:gd name="connsiteX24" fmla="*/ 180250 w 212944"/>
                  <a:gd name="connsiteY24" fmla="*/ 79302 h 301852"/>
                  <a:gd name="connsiteX25" fmla="*/ 180250 w 212944"/>
                  <a:gd name="connsiteY25" fmla="*/ 83988 h 301852"/>
                  <a:gd name="connsiteX26" fmla="*/ 126528 w 212944"/>
                  <a:gd name="connsiteY26" fmla="*/ 137048 h 301852"/>
                  <a:gd name="connsiteX27" fmla="*/ 26141 w 212944"/>
                  <a:gd name="connsiteY27" fmla="*/ 137048 h 301852"/>
                  <a:gd name="connsiteX28" fmla="*/ 26141 w 212944"/>
                  <a:gd name="connsiteY28" fmla="*/ 26386 h 301852"/>
                  <a:gd name="connsiteX29" fmla="*/ 126528 w 212944"/>
                  <a:gd name="connsiteY29" fmla="*/ 26386 h 301852"/>
                  <a:gd name="connsiteX30" fmla="*/ 186659 w 212944"/>
                  <a:gd name="connsiteY30" fmla="*/ 220171 h 301852"/>
                  <a:gd name="connsiteX31" fmla="*/ 186443 w 212944"/>
                  <a:gd name="connsiteY31" fmla="*/ 220171 h 301852"/>
                  <a:gd name="connsiteX32" fmla="*/ 130921 w 212944"/>
                  <a:gd name="connsiteY32" fmla="*/ 275755 h 301852"/>
                  <a:gd name="connsiteX33" fmla="*/ 130921 w 212944"/>
                  <a:gd name="connsiteY33" fmla="*/ 275755 h 301852"/>
                  <a:gd name="connsiteX34" fmla="*/ 26141 w 212944"/>
                  <a:gd name="connsiteY34" fmla="*/ 275755 h 301852"/>
                  <a:gd name="connsiteX35" fmla="*/ 26141 w 212944"/>
                  <a:gd name="connsiteY35" fmla="*/ 163362 h 301852"/>
                  <a:gd name="connsiteX36" fmla="*/ 134593 w 212944"/>
                  <a:gd name="connsiteY36" fmla="*/ 163795 h 301852"/>
                  <a:gd name="connsiteX37" fmla="*/ 134593 w 212944"/>
                  <a:gd name="connsiteY37" fmla="*/ 163795 h 301852"/>
                  <a:gd name="connsiteX38" fmla="*/ 179458 w 212944"/>
                  <a:gd name="connsiteY38" fmla="*/ 187946 h 301852"/>
                  <a:gd name="connsiteX39" fmla="*/ 186515 w 212944"/>
                  <a:gd name="connsiteY39" fmla="*/ 214836 h 301852"/>
                  <a:gd name="connsiteX40" fmla="*/ 186731 w 212944"/>
                  <a:gd name="connsiteY40" fmla="*/ 214836 h 301852"/>
                  <a:gd name="connsiteX41" fmla="*/ 186731 w 212944"/>
                  <a:gd name="connsiteY41" fmla="*/ 220171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12944" h="301852">
                    <a:moveTo>
                      <a:pt x="212656" y="212818"/>
                    </a:moveTo>
                    <a:cubicBezTo>
                      <a:pt x="212296" y="198183"/>
                      <a:pt x="208623" y="185134"/>
                      <a:pt x="201422" y="173455"/>
                    </a:cubicBezTo>
                    <a:cubicBezTo>
                      <a:pt x="194509" y="162425"/>
                      <a:pt x="185219" y="153558"/>
                      <a:pt x="174273" y="147358"/>
                    </a:cubicBezTo>
                    <a:cubicBezTo>
                      <a:pt x="192204" y="133948"/>
                      <a:pt x="204374" y="113186"/>
                      <a:pt x="206247" y="89539"/>
                    </a:cubicBezTo>
                    <a:lnTo>
                      <a:pt x="206319" y="89539"/>
                    </a:lnTo>
                    <a:lnTo>
                      <a:pt x="206319" y="87881"/>
                    </a:lnTo>
                    <a:cubicBezTo>
                      <a:pt x="206391" y="86295"/>
                      <a:pt x="206535" y="84637"/>
                      <a:pt x="206535" y="83051"/>
                    </a:cubicBezTo>
                    <a:lnTo>
                      <a:pt x="206319" y="83051"/>
                    </a:lnTo>
                    <a:lnTo>
                      <a:pt x="206319" y="80239"/>
                    </a:lnTo>
                    <a:lnTo>
                      <a:pt x="206535" y="80239"/>
                    </a:lnTo>
                    <a:cubicBezTo>
                      <a:pt x="206535" y="78581"/>
                      <a:pt x="206391" y="76995"/>
                      <a:pt x="206319" y="75337"/>
                    </a:cubicBezTo>
                    <a:lnTo>
                      <a:pt x="206319" y="75337"/>
                    </a:lnTo>
                    <a:cubicBezTo>
                      <a:pt x="206319" y="75337"/>
                      <a:pt x="206319" y="75265"/>
                      <a:pt x="206319" y="75265"/>
                    </a:cubicBezTo>
                    <a:cubicBezTo>
                      <a:pt x="203726" y="33307"/>
                      <a:pt x="169016" y="72"/>
                      <a:pt x="126456" y="72"/>
                    </a:cubicBezTo>
                    <a:lnTo>
                      <a:pt x="126456" y="216"/>
                    </a:lnTo>
                    <a:lnTo>
                      <a:pt x="0" y="0"/>
                    </a:lnTo>
                    <a:lnTo>
                      <a:pt x="0" y="301852"/>
                    </a:lnTo>
                    <a:lnTo>
                      <a:pt x="131425" y="301852"/>
                    </a:lnTo>
                    <a:cubicBezTo>
                      <a:pt x="175857" y="301564"/>
                      <a:pt x="211864" y="265878"/>
                      <a:pt x="212800" y="221541"/>
                    </a:cubicBezTo>
                    <a:lnTo>
                      <a:pt x="212944" y="221541"/>
                    </a:lnTo>
                    <a:lnTo>
                      <a:pt x="212944" y="212818"/>
                    </a:lnTo>
                    <a:lnTo>
                      <a:pt x="212800" y="212818"/>
                    </a:lnTo>
                    <a:close/>
                    <a:moveTo>
                      <a:pt x="126528" y="26386"/>
                    </a:moveTo>
                    <a:lnTo>
                      <a:pt x="126528" y="26386"/>
                    </a:lnTo>
                    <a:cubicBezTo>
                      <a:pt x="155909" y="26386"/>
                      <a:pt x="179746" y="50032"/>
                      <a:pt x="180250" y="79302"/>
                    </a:cubicBezTo>
                    <a:lnTo>
                      <a:pt x="180250" y="83988"/>
                    </a:lnTo>
                    <a:cubicBezTo>
                      <a:pt x="179746" y="113258"/>
                      <a:pt x="155909" y="137048"/>
                      <a:pt x="126528" y="137048"/>
                    </a:cubicBezTo>
                    <a:lnTo>
                      <a:pt x="26141" y="137048"/>
                    </a:lnTo>
                    <a:lnTo>
                      <a:pt x="26141" y="26386"/>
                    </a:lnTo>
                    <a:lnTo>
                      <a:pt x="126528" y="26386"/>
                    </a:lnTo>
                    <a:close/>
                    <a:moveTo>
                      <a:pt x="186659" y="220171"/>
                    </a:moveTo>
                    <a:lnTo>
                      <a:pt x="186443" y="220171"/>
                    </a:lnTo>
                    <a:cubicBezTo>
                      <a:pt x="186443" y="250883"/>
                      <a:pt x="161598" y="275755"/>
                      <a:pt x="130921" y="275755"/>
                    </a:cubicBezTo>
                    <a:lnTo>
                      <a:pt x="130921" y="275755"/>
                    </a:lnTo>
                    <a:cubicBezTo>
                      <a:pt x="130921" y="275755"/>
                      <a:pt x="26141" y="275755"/>
                      <a:pt x="26141" y="275755"/>
                    </a:cubicBezTo>
                    <a:lnTo>
                      <a:pt x="26141" y="163362"/>
                    </a:lnTo>
                    <a:lnTo>
                      <a:pt x="134593" y="163795"/>
                    </a:lnTo>
                    <a:lnTo>
                      <a:pt x="134593" y="163795"/>
                    </a:lnTo>
                    <a:cubicBezTo>
                      <a:pt x="153461" y="163795"/>
                      <a:pt x="169880" y="173095"/>
                      <a:pt x="179458" y="187946"/>
                    </a:cubicBezTo>
                    <a:cubicBezTo>
                      <a:pt x="183490" y="196381"/>
                      <a:pt x="186515" y="204888"/>
                      <a:pt x="186515" y="214836"/>
                    </a:cubicBezTo>
                    <a:lnTo>
                      <a:pt x="186731" y="214836"/>
                    </a:lnTo>
                    <a:lnTo>
                      <a:pt x="186731" y="220171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25A2596A-D6E7-4E28-B965-5D862B56217A}"/>
                  </a:ext>
                </a:extLst>
              </p:cNvPr>
              <p:cNvSpPr/>
              <p:nvPr/>
            </p:nvSpPr>
            <p:spPr>
              <a:xfrm>
                <a:off x="9791480" y="3324302"/>
                <a:ext cx="311818" cy="312017"/>
              </a:xfrm>
              <a:custGeom>
                <a:avLst/>
                <a:gdLst>
                  <a:gd name="connsiteX0" fmla="*/ 1368 w 311818"/>
                  <a:gd name="connsiteY0" fmla="*/ 175618 h 312017"/>
                  <a:gd name="connsiteX1" fmla="*/ 155981 w 311818"/>
                  <a:gd name="connsiteY1" fmla="*/ 312017 h 312017"/>
                  <a:gd name="connsiteX2" fmla="*/ 310594 w 311818"/>
                  <a:gd name="connsiteY2" fmla="*/ 175546 h 312017"/>
                  <a:gd name="connsiteX3" fmla="*/ 311819 w 311818"/>
                  <a:gd name="connsiteY3" fmla="*/ 156513 h 312017"/>
                  <a:gd name="connsiteX4" fmla="*/ 310954 w 311818"/>
                  <a:gd name="connsiteY4" fmla="*/ 139499 h 312017"/>
                  <a:gd name="connsiteX5" fmla="*/ 155981 w 311818"/>
                  <a:gd name="connsiteY5" fmla="*/ 0 h 312017"/>
                  <a:gd name="connsiteX6" fmla="*/ 1008 w 311818"/>
                  <a:gd name="connsiteY6" fmla="*/ 139499 h 312017"/>
                  <a:gd name="connsiteX7" fmla="*/ 864 w 311818"/>
                  <a:gd name="connsiteY7" fmla="*/ 139499 h 312017"/>
                  <a:gd name="connsiteX8" fmla="*/ 0 w 311818"/>
                  <a:gd name="connsiteY8" fmla="*/ 156513 h 312017"/>
                  <a:gd name="connsiteX9" fmla="*/ 1224 w 311818"/>
                  <a:gd name="connsiteY9" fmla="*/ 175546 h 312017"/>
                  <a:gd name="connsiteX10" fmla="*/ 155981 w 311818"/>
                  <a:gd name="connsiteY10" fmla="*/ 285487 h 312017"/>
                  <a:gd name="connsiteX11" fmla="*/ 28085 w 311818"/>
                  <a:gd name="connsiteY11" fmla="*/ 175618 h 312017"/>
                  <a:gd name="connsiteX12" fmla="*/ 27941 w 311818"/>
                  <a:gd name="connsiteY12" fmla="*/ 175618 h 312017"/>
                  <a:gd name="connsiteX13" fmla="*/ 26501 w 311818"/>
                  <a:gd name="connsiteY13" fmla="*/ 156513 h 312017"/>
                  <a:gd name="connsiteX14" fmla="*/ 27509 w 311818"/>
                  <a:gd name="connsiteY14" fmla="*/ 140004 h 312017"/>
                  <a:gd name="connsiteX15" fmla="*/ 27581 w 311818"/>
                  <a:gd name="connsiteY15" fmla="*/ 140004 h 312017"/>
                  <a:gd name="connsiteX16" fmla="*/ 155909 w 311818"/>
                  <a:gd name="connsiteY16" fmla="*/ 26530 h 312017"/>
                  <a:gd name="connsiteX17" fmla="*/ 284165 w 311818"/>
                  <a:gd name="connsiteY17" fmla="*/ 139788 h 312017"/>
                  <a:gd name="connsiteX18" fmla="*/ 285246 w 311818"/>
                  <a:gd name="connsiteY18" fmla="*/ 156585 h 312017"/>
                  <a:gd name="connsiteX19" fmla="*/ 283805 w 311818"/>
                  <a:gd name="connsiteY19" fmla="*/ 175906 h 312017"/>
                  <a:gd name="connsiteX20" fmla="*/ 155909 w 311818"/>
                  <a:gd name="connsiteY20" fmla="*/ 285559 h 312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1818" h="312017">
                    <a:moveTo>
                      <a:pt x="1368" y="175618"/>
                    </a:moveTo>
                    <a:cubicBezTo>
                      <a:pt x="11018" y="252541"/>
                      <a:pt x="76550" y="312017"/>
                      <a:pt x="155981" y="312017"/>
                    </a:cubicBezTo>
                    <a:cubicBezTo>
                      <a:pt x="235412" y="312017"/>
                      <a:pt x="300945" y="252469"/>
                      <a:pt x="310594" y="175546"/>
                    </a:cubicBezTo>
                    <a:cubicBezTo>
                      <a:pt x="311315" y="169346"/>
                      <a:pt x="311819" y="162930"/>
                      <a:pt x="311819" y="156513"/>
                    </a:cubicBezTo>
                    <a:cubicBezTo>
                      <a:pt x="311819" y="150602"/>
                      <a:pt x="311603" y="145267"/>
                      <a:pt x="310954" y="139499"/>
                    </a:cubicBezTo>
                    <a:cubicBezTo>
                      <a:pt x="302889" y="60846"/>
                      <a:pt x="236636" y="0"/>
                      <a:pt x="155981" y="0"/>
                    </a:cubicBezTo>
                    <a:cubicBezTo>
                      <a:pt x="75326" y="0"/>
                      <a:pt x="9218" y="61135"/>
                      <a:pt x="1008" y="139499"/>
                    </a:cubicBezTo>
                    <a:lnTo>
                      <a:pt x="864" y="139499"/>
                    </a:lnTo>
                    <a:cubicBezTo>
                      <a:pt x="216" y="145267"/>
                      <a:pt x="0" y="150602"/>
                      <a:pt x="0" y="156513"/>
                    </a:cubicBezTo>
                    <a:cubicBezTo>
                      <a:pt x="0" y="162930"/>
                      <a:pt x="432" y="169346"/>
                      <a:pt x="1224" y="175546"/>
                    </a:cubicBezTo>
                    <a:moveTo>
                      <a:pt x="155981" y="285487"/>
                    </a:moveTo>
                    <a:cubicBezTo>
                      <a:pt x="91169" y="285487"/>
                      <a:pt x="37519" y="237834"/>
                      <a:pt x="28085" y="175618"/>
                    </a:cubicBezTo>
                    <a:lnTo>
                      <a:pt x="27941" y="175618"/>
                    </a:lnTo>
                    <a:cubicBezTo>
                      <a:pt x="27005" y="169346"/>
                      <a:pt x="26501" y="163074"/>
                      <a:pt x="26501" y="156513"/>
                    </a:cubicBezTo>
                    <a:cubicBezTo>
                      <a:pt x="26501" y="150818"/>
                      <a:pt x="26789" y="145483"/>
                      <a:pt x="27509" y="140004"/>
                    </a:cubicBezTo>
                    <a:lnTo>
                      <a:pt x="27581" y="140004"/>
                    </a:lnTo>
                    <a:cubicBezTo>
                      <a:pt x="35431" y="76058"/>
                      <a:pt x="89873" y="26530"/>
                      <a:pt x="155909" y="26530"/>
                    </a:cubicBezTo>
                    <a:cubicBezTo>
                      <a:pt x="221946" y="26530"/>
                      <a:pt x="276316" y="75769"/>
                      <a:pt x="284165" y="139788"/>
                    </a:cubicBezTo>
                    <a:cubicBezTo>
                      <a:pt x="284886" y="145411"/>
                      <a:pt x="285246" y="150818"/>
                      <a:pt x="285246" y="156585"/>
                    </a:cubicBezTo>
                    <a:cubicBezTo>
                      <a:pt x="285246" y="163218"/>
                      <a:pt x="284741" y="169562"/>
                      <a:pt x="283805" y="175906"/>
                    </a:cubicBezTo>
                    <a:cubicBezTo>
                      <a:pt x="274372" y="238122"/>
                      <a:pt x="220721" y="285559"/>
                      <a:pt x="155909" y="285559"/>
                    </a:cubicBez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0A650689-E032-C22C-156F-D78A8627B965}"/>
                  </a:ext>
                </a:extLst>
              </p:cNvPr>
              <p:cNvSpPr/>
              <p:nvPr/>
            </p:nvSpPr>
            <p:spPr>
              <a:xfrm>
                <a:off x="11529743" y="3323653"/>
                <a:ext cx="42343" cy="42390"/>
              </a:xfrm>
              <a:custGeom>
                <a:avLst/>
                <a:gdLst>
                  <a:gd name="connsiteX0" fmla="*/ 0 w 42343"/>
                  <a:gd name="connsiteY0" fmla="*/ 21123 h 42390"/>
                  <a:gd name="connsiteX1" fmla="*/ 21244 w 42343"/>
                  <a:gd name="connsiteY1" fmla="*/ 0 h 42390"/>
                  <a:gd name="connsiteX2" fmla="*/ 42344 w 42343"/>
                  <a:gd name="connsiteY2" fmla="*/ 21123 h 42390"/>
                  <a:gd name="connsiteX3" fmla="*/ 21244 w 42343"/>
                  <a:gd name="connsiteY3" fmla="*/ 42391 h 42390"/>
                  <a:gd name="connsiteX4" fmla="*/ 0 w 42343"/>
                  <a:gd name="connsiteY4" fmla="*/ 21123 h 42390"/>
                  <a:gd name="connsiteX5" fmla="*/ 38959 w 42343"/>
                  <a:gd name="connsiteY5" fmla="*/ 21123 h 42390"/>
                  <a:gd name="connsiteX6" fmla="*/ 21244 w 42343"/>
                  <a:gd name="connsiteY6" fmla="*/ 2812 h 42390"/>
                  <a:gd name="connsiteX7" fmla="*/ 3385 w 42343"/>
                  <a:gd name="connsiteY7" fmla="*/ 21123 h 42390"/>
                  <a:gd name="connsiteX8" fmla="*/ 21244 w 42343"/>
                  <a:gd name="connsiteY8" fmla="*/ 39579 h 42390"/>
                  <a:gd name="connsiteX9" fmla="*/ 38959 w 42343"/>
                  <a:gd name="connsiteY9" fmla="*/ 21123 h 42390"/>
                  <a:gd name="connsiteX10" fmla="*/ 31758 w 42343"/>
                  <a:gd name="connsiteY10" fmla="*/ 32946 h 42390"/>
                  <a:gd name="connsiteX11" fmla="*/ 28301 w 42343"/>
                  <a:gd name="connsiteY11" fmla="*/ 32946 h 42390"/>
                  <a:gd name="connsiteX12" fmla="*/ 21532 w 42343"/>
                  <a:gd name="connsiteY12" fmla="*/ 22060 h 42390"/>
                  <a:gd name="connsiteX13" fmla="*/ 16203 w 42343"/>
                  <a:gd name="connsiteY13" fmla="*/ 22060 h 42390"/>
                  <a:gd name="connsiteX14" fmla="*/ 16203 w 42343"/>
                  <a:gd name="connsiteY14" fmla="*/ 32946 h 42390"/>
                  <a:gd name="connsiteX15" fmla="*/ 13323 w 42343"/>
                  <a:gd name="connsiteY15" fmla="*/ 32946 h 42390"/>
                  <a:gd name="connsiteX16" fmla="*/ 13323 w 42343"/>
                  <a:gd name="connsiteY16" fmla="*/ 9300 h 42390"/>
                  <a:gd name="connsiteX17" fmla="*/ 23693 w 42343"/>
                  <a:gd name="connsiteY17" fmla="*/ 9300 h 42390"/>
                  <a:gd name="connsiteX18" fmla="*/ 32046 w 42343"/>
                  <a:gd name="connsiteY18" fmla="*/ 15572 h 42390"/>
                  <a:gd name="connsiteX19" fmla="*/ 24629 w 42343"/>
                  <a:gd name="connsiteY19" fmla="*/ 22060 h 42390"/>
                  <a:gd name="connsiteX20" fmla="*/ 31758 w 42343"/>
                  <a:gd name="connsiteY20" fmla="*/ 32946 h 42390"/>
                  <a:gd name="connsiteX21" fmla="*/ 20668 w 42343"/>
                  <a:gd name="connsiteY21" fmla="*/ 19753 h 42390"/>
                  <a:gd name="connsiteX22" fmla="*/ 28949 w 42343"/>
                  <a:gd name="connsiteY22" fmla="*/ 15500 h 42390"/>
                  <a:gd name="connsiteX23" fmla="*/ 23044 w 42343"/>
                  <a:gd name="connsiteY23" fmla="*/ 11391 h 42390"/>
                  <a:gd name="connsiteX24" fmla="*/ 16275 w 42343"/>
                  <a:gd name="connsiteY24" fmla="*/ 11391 h 42390"/>
                  <a:gd name="connsiteX25" fmla="*/ 16275 w 42343"/>
                  <a:gd name="connsiteY25" fmla="*/ 19753 h 42390"/>
                  <a:gd name="connsiteX26" fmla="*/ 20668 w 42343"/>
                  <a:gd name="connsiteY26" fmla="*/ 19753 h 4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2343" h="42390">
                    <a:moveTo>
                      <a:pt x="0" y="21123"/>
                    </a:moveTo>
                    <a:cubicBezTo>
                      <a:pt x="0" y="9516"/>
                      <a:pt x="9506" y="0"/>
                      <a:pt x="21244" y="0"/>
                    </a:cubicBezTo>
                    <a:cubicBezTo>
                      <a:pt x="32982" y="0"/>
                      <a:pt x="42344" y="9516"/>
                      <a:pt x="42344" y="21123"/>
                    </a:cubicBezTo>
                    <a:cubicBezTo>
                      <a:pt x="42344" y="32730"/>
                      <a:pt x="32910" y="42391"/>
                      <a:pt x="21244" y="42391"/>
                    </a:cubicBezTo>
                    <a:cubicBezTo>
                      <a:pt x="9578" y="42391"/>
                      <a:pt x="0" y="32874"/>
                      <a:pt x="0" y="21123"/>
                    </a:cubicBezTo>
                    <a:close/>
                    <a:moveTo>
                      <a:pt x="38959" y="21123"/>
                    </a:moveTo>
                    <a:cubicBezTo>
                      <a:pt x="38959" y="10814"/>
                      <a:pt x="31470" y="2812"/>
                      <a:pt x="21244" y="2812"/>
                    </a:cubicBezTo>
                    <a:cubicBezTo>
                      <a:pt x="11018" y="2812"/>
                      <a:pt x="3385" y="10886"/>
                      <a:pt x="3385" y="21123"/>
                    </a:cubicBezTo>
                    <a:cubicBezTo>
                      <a:pt x="3385" y="31360"/>
                      <a:pt x="10946" y="39579"/>
                      <a:pt x="21244" y="39579"/>
                    </a:cubicBezTo>
                    <a:cubicBezTo>
                      <a:pt x="31542" y="39579"/>
                      <a:pt x="38959" y="31505"/>
                      <a:pt x="38959" y="21123"/>
                    </a:cubicBezTo>
                    <a:close/>
                    <a:moveTo>
                      <a:pt x="31758" y="32946"/>
                    </a:moveTo>
                    <a:lnTo>
                      <a:pt x="28301" y="32946"/>
                    </a:lnTo>
                    <a:lnTo>
                      <a:pt x="21532" y="22060"/>
                    </a:lnTo>
                    <a:lnTo>
                      <a:pt x="16203" y="22060"/>
                    </a:lnTo>
                    <a:lnTo>
                      <a:pt x="16203" y="32946"/>
                    </a:lnTo>
                    <a:lnTo>
                      <a:pt x="13323" y="32946"/>
                    </a:lnTo>
                    <a:lnTo>
                      <a:pt x="13323" y="9300"/>
                    </a:lnTo>
                    <a:lnTo>
                      <a:pt x="23693" y="9300"/>
                    </a:lnTo>
                    <a:cubicBezTo>
                      <a:pt x="29958" y="9300"/>
                      <a:pt x="32046" y="11679"/>
                      <a:pt x="32046" y="15572"/>
                    </a:cubicBezTo>
                    <a:cubicBezTo>
                      <a:pt x="32046" y="20186"/>
                      <a:pt x="28805" y="21916"/>
                      <a:pt x="24629" y="22060"/>
                    </a:cubicBezTo>
                    <a:lnTo>
                      <a:pt x="31758" y="32946"/>
                    </a:lnTo>
                    <a:close/>
                    <a:moveTo>
                      <a:pt x="20668" y="19753"/>
                    </a:moveTo>
                    <a:cubicBezTo>
                      <a:pt x="24052" y="19753"/>
                      <a:pt x="28949" y="20330"/>
                      <a:pt x="28949" y="15500"/>
                    </a:cubicBezTo>
                    <a:cubicBezTo>
                      <a:pt x="28949" y="11823"/>
                      <a:pt x="25925" y="11391"/>
                      <a:pt x="23044" y="11391"/>
                    </a:cubicBezTo>
                    <a:lnTo>
                      <a:pt x="16275" y="11391"/>
                    </a:lnTo>
                    <a:lnTo>
                      <a:pt x="16275" y="19753"/>
                    </a:lnTo>
                    <a:lnTo>
                      <a:pt x="20668" y="19753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35DD7EA4-F240-466D-03E2-2CB84BC8E7AC}"/>
                </a:ext>
              </a:extLst>
            </p:cNvPr>
            <p:cNvSpPr/>
            <p:nvPr/>
          </p:nvSpPr>
          <p:spPr>
            <a:xfrm>
              <a:off x="9662576" y="3326249"/>
              <a:ext cx="70213" cy="41020"/>
            </a:xfrm>
            <a:custGeom>
              <a:avLst/>
              <a:gdLst>
                <a:gd name="connsiteX0" fmla="*/ 15267 w 70213"/>
                <a:gd name="connsiteY0" fmla="*/ 4398 h 41020"/>
                <a:gd name="connsiteX1" fmla="*/ 9434 w 70213"/>
                <a:gd name="connsiteY1" fmla="*/ 7714 h 41020"/>
                <a:gd name="connsiteX2" fmla="*/ 4321 w 70213"/>
                <a:gd name="connsiteY2" fmla="*/ 11607 h 41020"/>
                <a:gd name="connsiteX3" fmla="*/ 2737 w 70213"/>
                <a:gd name="connsiteY3" fmla="*/ 15139 h 41020"/>
                <a:gd name="connsiteX4" fmla="*/ 648 w 70213"/>
                <a:gd name="connsiteY4" fmla="*/ 18167 h 41020"/>
                <a:gd name="connsiteX5" fmla="*/ 144 w 70213"/>
                <a:gd name="connsiteY5" fmla="*/ 19249 h 41020"/>
                <a:gd name="connsiteX6" fmla="*/ 0 w 70213"/>
                <a:gd name="connsiteY6" fmla="*/ 20330 h 41020"/>
                <a:gd name="connsiteX7" fmla="*/ 288 w 70213"/>
                <a:gd name="connsiteY7" fmla="*/ 21556 h 41020"/>
                <a:gd name="connsiteX8" fmla="*/ 2232 w 70213"/>
                <a:gd name="connsiteY8" fmla="*/ 26891 h 41020"/>
                <a:gd name="connsiteX9" fmla="*/ 5617 w 70213"/>
                <a:gd name="connsiteY9" fmla="*/ 28981 h 41020"/>
                <a:gd name="connsiteX10" fmla="*/ 9506 w 70213"/>
                <a:gd name="connsiteY10" fmla="*/ 33379 h 41020"/>
                <a:gd name="connsiteX11" fmla="*/ 12314 w 70213"/>
                <a:gd name="connsiteY11" fmla="*/ 36046 h 41020"/>
                <a:gd name="connsiteX12" fmla="*/ 16347 w 70213"/>
                <a:gd name="connsiteY12" fmla="*/ 37993 h 41020"/>
                <a:gd name="connsiteX13" fmla="*/ 20380 w 70213"/>
                <a:gd name="connsiteY13" fmla="*/ 39218 h 41020"/>
                <a:gd name="connsiteX14" fmla="*/ 26069 w 70213"/>
                <a:gd name="connsiteY14" fmla="*/ 39218 h 41020"/>
                <a:gd name="connsiteX15" fmla="*/ 29814 w 70213"/>
                <a:gd name="connsiteY15" fmla="*/ 39939 h 41020"/>
                <a:gd name="connsiteX16" fmla="*/ 33846 w 70213"/>
                <a:gd name="connsiteY16" fmla="*/ 40300 h 41020"/>
                <a:gd name="connsiteX17" fmla="*/ 39319 w 70213"/>
                <a:gd name="connsiteY17" fmla="*/ 40660 h 41020"/>
                <a:gd name="connsiteX18" fmla="*/ 44576 w 70213"/>
                <a:gd name="connsiteY18" fmla="*/ 41021 h 41020"/>
                <a:gd name="connsiteX19" fmla="*/ 51130 w 70213"/>
                <a:gd name="connsiteY19" fmla="*/ 40516 h 41020"/>
                <a:gd name="connsiteX20" fmla="*/ 56099 w 70213"/>
                <a:gd name="connsiteY20" fmla="*/ 39074 h 41020"/>
                <a:gd name="connsiteX21" fmla="*/ 62076 w 70213"/>
                <a:gd name="connsiteY21" fmla="*/ 36623 h 41020"/>
                <a:gd name="connsiteX22" fmla="*/ 64740 w 70213"/>
                <a:gd name="connsiteY22" fmla="*/ 33595 h 41020"/>
                <a:gd name="connsiteX23" fmla="*/ 67765 w 70213"/>
                <a:gd name="connsiteY23" fmla="*/ 30784 h 41020"/>
                <a:gd name="connsiteX24" fmla="*/ 70213 w 70213"/>
                <a:gd name="connsiteY24" fmla="*/ 26891 h 41020"/>
                <a:gd name="connsiteX25" fmla="*/ 70069 w 70213"/>
                <a:gd name="connsiteY25" fmla="*/ 22853 h 41020"/>
                <a:gd name="connsiteX26" fmla="*/ 68989 w 70213"/>
                <a:gd name="connsiteY26" fmla="*/ 17014 h 41020"/>
                <a:gd name="connsiteX27" fmla="*/ 62652 w 70213"/>
                <a:gd name="connsiteY27" fmla="*/ 7786 h 41020"/>
                <a:gd name="connsiteX28" fmla="*/ 57035 w 70213"/>
                <a:gd name="connsiteY28" fmla="*/ 3533 h 41020"/>
                <a:gd name="connsiteX29" fmla="*/ 54226 w 70213"/>
                <a:gd name="connsiteY29" fmla="*/ 2163 h 41020"/>
                <a:gd name="connsiteX30" fmla="*/ 52138 w 70213"/>
                <a:gd name="connsiteY30" fmla="*/ 1370 h 41020"/>
                <a:gd name="connsiteX31" fmla="*/ 50121 w 70213"/>
                <a:gd name="connsiteY31" fmla="*/ 1081 h 41020"/>
                <a:gd name="connsiteX32" fmla="*/ 43568 w 70213"/>
                <a:gd name="connsiteY32" fmla="*/ 1586 h 41020"/>
                <a:gd name="connsiteX33" fmla="*/ 37015 w 70213"/>
                <a:gd name="connsiteY33" fmla="*/ 505 h 41020"/>
                <a:gd name="connsiteX34" fmla="*/ 33846 w 70213"/>
                <a:gd name="connsiteY34" fmla="*/ 0 h 41020"/>
                <a:gd name="connsiteX35" fmla="*/ 29814 w 70213"/>
                <a:gd name="connsiteY35" fmla="*/ 865 h 41020"/>
                <a:gd name="connsiteX36" fmla="*/ 24485 w 70213"/>
                <a:gd name="connsiteY36" fmla="*/ 1586 h 41020"/>
                <a:gd name="connsiteX37" fmla="*/ 21100 w 70213"/>
                <a:gd name="connsiteY37" fmla="*/ 2812 h 41020"/>
                <a:gd name="connsiteX38" fmla="*/ 15267 w 70213"/>
                <a:gd name="connsiteY38" fmla="*/ 4398 h 4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0213" h="41020">
                  <a:moveTo>
                    <a:pt x="15267" y="4398"/>
                  </a:moveTo>
                  <a:lnTo>
                    <a:pt x="9434" y="7714"/>
                  </a:lnTo>
                  <a:lnTo>
                    <a:pt x="4321" y="11607"/>
                  </a:lnTo>
                  <a:lnTo>
                    <a:pt x="2737" y="15139"/>
                  </a:lnTo>
                  <a:lnTo>
                    <a:pt x="648" y="18167"/>
                  </a:lnTo>
                  <a:lnTo>
                    <a:pt x="144" y="19249"/>
                  </a:lnTo>
                  <a:lnTo>
                    <a:pt x="0" y="20330"/>
                  </a:lnTo>
                  <a:lnTo>
                    <a:pt x="288" y="21556"/>
                  </a:lnTo>
                  <a:lnTo>
                    <a:pt x="2232" y="26891"/>
                  </a:lnTo>
                  <a:lnTo>
                    <a:pt x="5617" y="28981"/>
                  </a:lnTo>
                  <a:lnTo>
                    <a:pt x="9506" y="33379"/>
                  </a:lnTo>
                  <a:lnTo>
                    <a:pt x="12314" y="36046"/>
                  </a:lnTo>
                  <a:lnTo>
                    <a:pt x="16347" y="37993"/>
                  </a:lnTo>
                  <a:lnTo>
                    <a:pt x="20380" y="39218"/>
                  </a:lnTo>
                  <a:lnTo>
                    <a:pt x="26069" y="39218"/>
                  </a:lnTo>
                  <a:lnTo>
                    <a:pt x="29814" y="39939"/>
                  </a:lnTo>
                  <a:lnTo>
                    <a:pt x="33846" y="40300"/>
                  </a:lnTo>
                  <a:lnTo>
                    <a:pt x="39319" y="40660"/>
                  </a:lnTo>
                  <a:lnTo>
                    <a:pt x="44576" y="41021"/>
                  </a:lnTo>
                  <a:lnTo>
                    <a:pt x="51130" y="40516"/>
                  </a:lnTo>
                  <a:lnTo>
                    <a:pt x="56099" y="39074"/>
                  </a:lnTo>
                  <a:lnTo>
                    <a:pt x="62076" y="36623"/>
                  </a:lnTo>
                  <a:lnTo>
                    <a:pt x="64740" y="33595"/>
                  </a:lnTo>
                  <a:lnTo>
                    <a:pt x="67765" y="30784"/>
                  </a:lnTo>
                  <a:lnTo>
                    <a:pt x="70213" y="26891"/>
                  </a:lnTo>
                  <a:lnTo>
                    <a:pt x="70069" y="22853"/>
                  </a:lnTo>
                  <a:lnTo>
                    <a:pt x="68989" y="17014"/>
                  </a:lnTo>
                  <a:lnTo>
                    <a:pt x="62652" y="7786"/>
                  </a:lnTo>
                  <a:lnTo>
                    <a:pt x="57035" y="3533"/>
                  </a:lnTo>
                  <a:lnTo>
                    <a:pt x="54226" y="2163"/>
                  </a:lnTo>
                  <a:lnTo>
                    <a:pt x="52138" y="1370"/>
                  </a:lnTo>
                  <a:lnTo>
                    <a:pt x="50121" y="1081"/>
                  </a:lnTo>
                  <a:lnTo>
                    <a:pt x="43568" y="1586"/>
                  </a:lnTo>
                  <a:lnTo>
                    <a:pt x="37015" y="505"/>
                  </a:lnTo>
                  <a:lnTo>
                    <a:pt x="33846" y="0"/>
                  </a:lnTo>
                  <a:lnTo>
                    <a:pt x="29814" y="865"/>
                  </a:lnTo>
                  <a:lnTo>
                    <a:pt x="24485" y="1586"/>
                  </a:lnTo>
                  <a:lnTo>
                    <a:pt x="21100" y="2812"/>
                  </a:lnTo>
                  <a:lnTo>
                    <a:pt x="15267" y="4398"/>
                  </a:lnTo>
                </a:path>
              </a:pathLst>
            </a:custGeom>
            <a:solidFill>
              <a:srgbClr val="F26531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47FB4CCB-69CF-0528-1292-16ABC1743084}"/>
                </a:ext>
              </a:extLst>
            </p:cNvPr>
            <p:cNvSpPr/>
            <p:nvPr/>
          </p:nvSpPr>
          <p:spPr>
            <a:xfrm>
              <a:off x="9668265" y="3427034"/>
              <a:ext cx="59915" cy="15932"/>
            </a:xfrm>
            <a:custGeom>
              <a:avLst/>
              <a:gdLst>
                <a:gd name="connsiteX0" fmla="*/ 1224 w 59915"/>
                <a:gd name="connsiteY0" fmla="*/ 360 h 15932"/>
                <a:gd name="connsiteX1" fmla="*/ 32694 w 59915"/>
                <a:gd name="connsiteY1" fmla="*/ 1081 h 15932"/>
                <a:gd name="connsiteX2" fmla="*/ 37375 w 59915"/>
                <a:gd name="connsiteY2" fmla="*/ 144 h 15932"/>
                <a:gd name="connsiteX3" fmla="*/ 43424 w 59915"/>
                <a:gd name="connsiteY3" fmla="*/ 0 h 15932"/>
                <a:gd name="connsiteX4" fmla="*/ 49473 w 59915"/>
                <a:gd name="connsiteY4" fmla="*/ 649 h 15932"/>
                <a:gd name="connsiteX5" fmla="*/ 54082 w 59915"/>
                <a:gd name="connsiteY5" fmla="*/ 1947 h 15932"/>
                <a:gd name="connsiteX6" fmla="*/ 57611 w 59915"/>
                <a:gd name="connsiteY6" fmla="*/ 4326 h 15932"/>
                <a:gd name="connsiteX7" fmla="*/ 58907 w 59915"/>
                <a:gd name="connsiteY7" fmla="*/ 5984 h 15932"/>
                <a:gd name="connsiteX8" fmla="*/ 59699 w 59915"/>
                <a:gd name="connsiteY8" fmla="*/ 7714 h 15932"/>
                <a:gd name="connsiteX9" fmla="*/ 59915 w 59915"/>
                <a:gd name="connsiteY9" fmla="*/ 9588 h 15932"/>
                <a:gd name="connsiteX10" fmla="*/ 59339 w 59915"/>
                <a:gd name="connsiteY10" fmla="*/ 11535 h 15932"/>
                <a:gd name="connsiteX11" fmla="*/ 57971 w 59915"/>
                <a:gd name="connsiteY11" fmla="*/ 13409 h 15932"/>
                <a:gd name="connsiteX12" fmla="*/ 55522 w 59915"/>
                <a:gd name="connsiteY12" fmla="*/ 15212 h 15932"/>
                <a:gd name="connsiteX13" fmla="*/ 51922 w 59915"/>
                <a:gd name="connsiteY13" fmla="*/ 15932 h 15932"/>
                <a:gd name="connsiteX14" fmla="*/ 45513 w 59915"/>
                <a:gd name="connsiteY14" fmla="*/ 15932 h 15932"/>
                <a:gd name="connsiteX15" fmla="*/ 28229 w 59915"/>
                <a:gd name="connsiteY15" fmla="*/ 14635 h 15932"/>
                <a:gd name="connsiteX16" fmla="*/ 1872 w 59915"/>
                <a:gd name="connsiteY16" fmla="*/ 11607 h 15932"/>
                <a:gd name="connsiteX17" fmla="*/ 864 w 59915"/>
                <a:gd name="connsiteY17" fmla="*/ 11174 h 15932"/>
                <a:gd name="connsiteX18" fmla="*/ 288 w 59915"/>
                <a:gd name="connsiteY18" fmla="*/ 10165 h 15932"/>
                <a:gd name="connsiteX19" fmla="*/ 0 w 59915"/>
                <a:gd name="connsiteY19" fmla="*/ 6921 h 15932"/>
                <a:gd name="connsiteX20" fmla="*/ 1224 w 59915"/>
                <a:gd name="connsiteY20" fmla="*/ 360 h 1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9915" h="15932">
                  <a:moveTo>
                    <a:pt x="1224" y="360"/>
                  </a:moveTo>
                  <a:lnTo>
                    <a:pt x="32694" y="1081"/>
                  </a:lnTo>
                  <a:lnTo>
                    <a:pt x="37375" y="144"/>
                  </a:lnTo>
                  <a:lnTo>
                    <a:pt x="43424" y="0"/>
                  </a:lnTo>
                  <a:lnTo>
                    <a:pt x="49473" y="649"/>
                  </a:lnTo>
                  <a:lnTo>
                    <a:pt x="54082" y="1947"/>
                  </a:lnTo>
                  <a:lnTo>
                    <a:pt x="57611" y="4326"/>
                  </a:lnTo>
                  <a:lnTo>
                    <a:pt x="58907" y="5984"/>
                  </a:lnTo>
                  <a:lnTo>
                    <a:pt x="59699" y="7714"/>
                  </a:lnTo>
                  <a:lnTo>
                    <a:pt x="59915" y="9588"/>
                  </a:lnTo>
                  <a:lnTo>
                    <a:pt x="59339" y="11535"/>
                  </a:lnTo>
                  <a:lnTo>
                    <a:pt x="57971" y="13409"/>
                  </a:lnTo>
                  <a:lnTo>
                    <a:pt x="55522" y="15212"/>
                  </a:lnTo>
                  <a:lnTo>
                    <a:pt x="51922" y="15932"/>
                  </a:lnTo>
                  <a:lnTo>
                    <a:pt x="45513" y="15932"/>
                  </a:lnTo>
                  <a:lnTo>
                    <a:pt x="28229" y="14635"/>
                  </a:lnTo>
                  <a:lnTo>
                    <a:pt x="1872" y="11607"/>
                  </a:lnTo>
                  <a:lnTo>
                    <a:pt x="864" y="11174"/>
                  </a:lnTo>
                  <a:lnTo>
                    <a:pt x="288" y="10165"/>
                  </a:lnTo>
                  <a:lnTo>
                    <a:pt x="0" y="6921"/>
                  </a:lnTo>
                  <a:lnTo>
                    <a:pt x="1224" y="360"/>
                  </a:lnTo>
                </a:path>
              </a:pathLst>
            </a:custGeom>
            <a:solidFill>
              <a:srgbClr val="ED1849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0FEC3C19-B59E-2F2D-6030-7F0A91BF9062}"/>
                </a:ext>
              </a:extLst>
            </p:cNvPr>
            <p:cNvSpPr/>
            <p:nvPr/>
          </p:nvSpPr>
          <p:spPr>
            <a:xfrm>
              <a:off x="9671290" y="3456448"/>
              <a:ext cx="57754" cy="15644"/>
            </a:xfrm>
            <a:custGeom>
              <a:avLst/>
              <a:gdLst>
                <a:gd name="connsiteX0" fmla="*/ 7057 w 57754"/>
                <a:gd name="connsiteY0" fmla="*/ 0 h 15644"/>
                <a:gd name="connsiteX1" fmla="*/ 9794 w 57754"/>
                <a:gd name="connsiteY1" fmla="*/ 1658 h 15644"/>
                <a:gd name="connsiteX2" fmla="*/ 11522 w 57754"/>
                <a:gd name="connsiteY2" fmla="*/ 2667 h 15644"/>
                <a:gd name="connsiteX3" fmla="*/ 13467 w 57754"/>
                <a:gd name="connsiteY3" fmla="*/ 3172 h 15644"/>
                <a:gd name="connsiteX4" fmla="*/ 14835 w 57754"/>
                <a:gd name="connsiteY4" fmla="*/ 2884 h 15644"/>
                <a:gd name="connsiteX5" fmla="*/ 16419 w 57754"/>
                <a:gd name="connsiteY5" fmla="*/ 2163 h 15644"/>
                <a:gd name="connsiteX6" fmla="*/ 18003 w 57754"/>
                <a:gd name="connsiteY6" fmla="*/ 1370 h 15644"/>
                <a:gd name="connsiteX7" fmla="*/ 19588 w 57754"/>
                <a:gd name="connsiteY7" fmla="*/ 1009 h 15644"/>
                <a:gd name="connsiteX8" fmla="*/ 22324 w 57754"/>
                <a:gd name="connsiteY8" fmla="*/ 2019 h 15644"/>
                <a:gd name="connsiteX9" fmla="*/ 25277 w 57754"/>
                <a:gd name="connsiteY9" fmla="*/ 3028 h 15644"/>
                <a:gd name="connsiteX10" fmla="*/ 27725 w 57754"/>
                <a:gd name="connsiteY10" fmla="*/ 2235 h 15644"/>
                <a:gd name="connsiteX11" fmla="*/ 30246 w 57754"/>
                <a:gd name="connsiteY11" fmla="*/ 1514 h 15644"/>
                <a:gd name="connsiteX12" fmla="*/ 33198 w 57754"/>
                <a:gd name="connsiteY12" fmla="*/ 2595 h 15644"/>
                <a:gd name="connsiteX13" fmla="*/ 34638 w 57754"/>
                <a:gd name="connsiteY13" fmla="*/ 3172 h 15644"/>
                <a:gd name="connsiteX14" fmla="*/ 36079 w 57754"/>
                <a:gd name="connsiteY14" fmla="*/ 3172 h 15644"/>
                <a:gd name="connsiteX15" fmla="*/ 45224 w 57754"/>
                <a:gd name="connsiteY15" fmla="*/ 1947 h 15644"/>
                <a:gd name="connsiteX16" fmla="*/ 52210 w 57754"/>
                <a:gd name="connsiteY16" fmla="*/ 3100 h 15644"/>
                <a:gd name="connsiteX17" fmla="*/ 52642 w 57754"/>
                <a:gd name="connsiteY17" fmla="*/ 3388 h 15644"/>
                <a:gd name="connsiteX18" fmla="*/ 52858 w 57754"/>
                <a:gd name="connsiteY18" fmla="*/ 3749 h 15644"/>
                <a:gd name="connsiteX19" fmla="*/ 52642 w 57754"/>
                <a:gd name="connsiteY19" fmla="*/ 4614 h 15644"/>
                <a:gd name="connsiteX20" fmla="*/ 52354 w 57754"/>
                <a:gd name="connsiteY20" fmla="*/ 5551 h 15644"/>
                <a:gd name="connsiteX21" fmla="*/ 52642 w 57754"/>
                <a:gd name="connsiteY21" fmla="*/ 6416 h 15644"/>
                <a:gd name="connsiteX22" fmla="*/ 54370 w 57754"/>
                <a:gd name="connsiteY22" fmla="*/ 7426 h 15644"/>
                <a:gd name="connsiteX23" fmla="*/ 56315 w 57754"/>
                <a:gd name="connsiteY23" fmla="*/ 8219 h 15644"/>
                <a:gd name="connsiteX24" fmla="*/ 57107 w 57754"/>
                <a:gd name="connsiteY24" fmla="*/ 8795 h 15644"/>
                <a:gd name="connsiteX25" fmla="*/ 57611 w 57754"/>
                <a:gd name="connsiteY25" fmla="*/ 9660 h 15644"/>
                <a:gd name="connsiteX26" fmla="*/ 57755 w 57754"/>
                <a:gd name="connsiteY26" fmla="*/ 10958 h 15644"/>
                <a:gd name="connsiteX27" fmla="*/ 57395 w 57754"/>
                <a:gd name="connsiteY27" fmla="*/ 12760 h 15644"/>
                <a:gd name="connsiteX28" fmla="*/ 56819 w 57754"/>
                <a:gd name="connsiteY28" fmla="*/ 13626 h 15644"/>
                <a:gd name="connsiteX29" fmla="*/ 55522 w 57754"/>
                <a:gd name="connsiteY29" fmla="*/ 14346 h 15644"/>
                <a:gd name="connsiteX30" fmla="*/ 51562 w 57754"/>
                <a:gd name="connsiteY30" fmla="*/ 15212 h 15644"/>
                <a:gd name="connsiteX31" fmla="*/ 39031 w 57754"/>
                <a:gd name="connsiteY31" fmla="*/ 15644 h 15644"/>
                <a:gd name="connsiteX32" fmla="*/ 21100 w 57754"/>
                <a:gd name="connsiteY32" fmla="*/ 13337 h 15644"/>
                <a:gd name="connsiteX33" fmla="*/ 5545 w 57754"/>
                <a:gd name="connsiteY33" fmla="*/ 10453 h 15644"/>
                <a:gd name="connsiteX34" fmla="*/ 3241 w 57754"/>
                <a:gd name="connsiteY34" fmla="*/ 9516 h 15644"/>
                <a:gd name="connsiteX35" fmla="*/ 1512 w 57754"/>
                <a:gd name="connsiteY35" fmla="*/ 7426 h 15644"/>
                <a:gd name="connsiteX36" fmla="*/ 360 w 57754"/>
                <a:gd name="connsiteY36" fmla="*/ 4974 h 15644"/>
                <a:gd name="connsiteX37" fmla="*/ 0 w 57754"/>
                <a:gd name="connsiteY37" fmla="*/ 2812 h 15644"/>
                <a:gd name="connsiteX38" fmla="*/ 7057 w 57754"/>
                <a:gd name="connsiteY38" fmla="*/ 0 h 1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754" h="15644">
                  <a:moveTo>
                    <a:pt x="7057" y="0"/>
                  </a:moveTo>
                  <a:lnTo>
                    <a:pt x="9794" y="1658"/>
                  </a:lnTo>
                  <a:lnTo>
                    <a:pt x="11522" y="2667"/>
                  </a:lnTo>
                  <a:lnTo>
                    <a:pt x="13467" y="3172"/>
                  </a:lnTo>
                  <a:lnTo>
                    <a:pt x="14835" y="2884"/>
                  </a:lnTo>
                  <a:lnTo>
                    <a:pt x="16419" y="2163"/>
                  </a:lnTo>
                  <a:lnTo>
                    <a:pt x="18003" y="1370"/>
                  </a:lnTo>
                  <a:lnTo>
                    <a:pt x="19588" y="1009"/>
                  </a:lnTo>
                  <a:lnTo>
                    <a:pt x="22324" y="2019"/>
                  </a:lnTo>
                  <a:lnTo>
                    <a:pt x="25277" y="3028"/>
                  </a:lnTo>
                  <a:lnTo>
                    <a:pt x="27725" y="2235"/>
                  </a:lnTo>
                  <a:lnTo>
                    <a:pt x="30246" y="1514"/>
                  </a:lnTo>
                  <a:lnTo>
                    <a:pt x="33198" y="2595"/>
                  </a:lnTo>
                  <a:lnTo>
                    <a:pt x="34638" y="3172"/>
                  </a:lnTo>
                  <a:lnTo>
                    <a:pt x="36079" y="3172"/>
                  </a:lnTo>
                  <a:lnTo>
                    <a:pt x="45224" y="1947"/>
                  </a:lnTo>
                  <a:lnTo>
                    <a:pt x="52210" y="3100"/>
                  </a:lnTo>
                  <a:lnTo>
                    <a:pt x="52642" y="3388"/>
                  </a:lnTo>
                  <a:lnTo>
                    <a:pt x="52858" y="3749"/>
                  </a:lnTo>
                  <a:lnTo>
                    <a:pt x="52642" y="4614"/>
                  </a:lnTo>
                  <a:lnTo>
                    <a:pt x="52354" y="5551"/>
                  </a:lnTo>
                  <a:lnTo>
                    <a:pt x="52642" y="6416"/>
                  </a:lnTo>
                  <a:lnTo>
                    <a:pt x="54370" y="7426"/>
                  </a:lnTo>
                  <a:lnTo>
                    <a:pt x="56315" y="8219"/>
                  </a:lnTo>
                  <a:lnTo>
                    <a:pt x="57107" y="8795"/>
                  </a:lnTo>
                  <a:lnTo>
                    <a:pt x="57611" y="9660"/>
                  </a:lnTo>
                  <a:lnTo>
                    <a:pt x="57755" y="10958"/>
                  </a:lnTo>
                  <a:lnTo>
                    <a:pt x="57395" y="12760"/>
                  </a:lnTo>
                  <a:lnTo>
                    <a:pt x="56819" y="13626"/>
                  </a:lnTo>
                  <a:lnTo>
                    <a:pt x="55522" y="14346"/>
                  </a:lnTo>
                  <a:lnTo>
                    <a:pt x="51562" y="15212"/>
                  </a:lnTo>
                  <a:lnTo>
                    <a:pt x="39031" y="15644"/>
                  </a:lnTo>
                  <a:lnTo>
                    <a:pt x="21100" y="13337"/>
                  </a:lnTo>
                  <a:lnTo>
                    <a:pt x="5545" y="10453"/>
                  </a:lnTo>
                  <a:lnTo>
                    <a:pt x="3241" y="9516"/>
                  </a:lnTo>
                  <a:lnTo>
                    <a:pt x="1512" y="7426"/>
                  </a:lnTo>
                  <a:lnTo>
                    <a:pt x="360" y="4974"/>
                  </a:lnTo>
                  <a:lnTo>
                    <a:pt x="0" y="2812"/>
                  </a:lnTo>
                  <a:lnTo>
                    <a:pt x="705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F3729E12-41C0-50C0-6378-8B2FA5330FEB}"/>
                </a:ext>
              </a:extLst>
            </p:cNvPr>
            <p:cNvSpPr/>
            <p:nvPr/>
          </p:nvSpPr>
          <p:spPr>
            <a:xfrm>
              <a:off x="9668481" y="3473390"/>
              <a:ext cx="59771" cy="17013"/>
            </a:xfrm>
            <a:custGeom>
              <a:avLst/>
              <a:gdLst>
                <a:gd name="connsiteX0" fmla="*/ 5617 w 59771"/>
                <a:gd name="connsiteY0" fmla="*/ 0 h 17013"/>
                <a:gd name="connsiteX1" fmla="*/ 10442 w 59771"/>
                <a:gd name="connsiteY1" fmla="*/ 1874 h 17013"/>
                <a:gd name="connsiteX2" fmla="*/ 12818 w 59771"/>
                <a:gd name="connsiteY2" fmla="*/ 2740 h 17013"/>
                <a:gd name="connsiteX3" fmla="*/ 15195 w 59771"/>
                <a:gd name="connsiteY3" fmla="*/ 2667 h 17013"/>
                <a:gd name="connsiteX4" fmla="*/ 36583 w 59771"/>
                <a:gd name="connsiteY4" fmla="*/ 1658 h 17013"/>
                <a:gd name="connsiteX5" fmla="*/ 45152 w 59771"/>
                <a:gd name="connsiteY5" fmla="*/ 2451 h 17013"/>
                <a:gd name="connsiteX6" fmla="*/ 51850 w 59771"/>
                <a:gd name="connsiteY6" fmla="*/ 4109 h 17013"/>
                <a:gd name="connsiteX7" fmla="*/ 54874 w 59771"/>
                <a:gd name="connsiteY7" fmla="*/ 4902 h 17013"/>
                <a:gd name="connsiteX8" fmla="*/ 56603 w 59771"/>
                <a:gd name="connsiteY8" fmla="*/ 5623 h 17013"/>
                <a:gd name="connsiteX9" fmla="*/ 57971 w 59771"/>
                <a:gd name="connsiteY9" fmla="*/ 6633 h 17013"/>
                <a:gd name="connsiteX10" fmla="*/ 59483 w 59771"/>
                <a:gd name="connsiteY10" fmla="*/ 9300 h 17013"/>
                <a:gd name="connsiteX11" fmla="*/ 59771 w 59771"/>
                <a:gd name="connsiteY11" fmla="*/ 11895 h 17013"/>
                <a:gd name="connsiteX12" fmla="*/ 59123 w 59771"/>
                <a:gd name="connsiteY12" fmla="*/ 14130 h 17013"/>
                <a:gd name="connsiteX13" fmla="*/ 57971 w 59771"/>
                <a:gd name="connsiteY13" fmla="*/ 15572 h 17013"/>
                <a:gd name="connsiteX14" fmla="*/ 57971 w 59771"/>
                <a:gd name="connsiteY14" fmla="*/ 17014 h 17013"/>
                <a:gd name="connsiteX15" fmla="*/ 37015 w 59771"/>
                <a:gd name="connsiteY15" fmla="*/ 16942 h 17013"/>
                <a:gd name="connsiteX16" fmla="*/ 30030 w 59771"/>
                <a:gd name="connsiteY16" fmla="*/ 17014 h 17013"/>
                <a:gd name="connsiteX17" fmla="*/ 23116 w 59771"/>
                <a:gd name="connsiteY17" fmla="*/ 16437 h 17013"/>
                <a:gd name="connsiteX18" fmla="*/ 16203 w 59771"/>
                <a:gd name="connsiteY18" fmla="*/ 15212 h 17013"/>
                <a:gd name="connsiteX19" fmla="*/ 10010 w 59771"/>
                <a:gd name="connsiteY19" fmla="*/ 14202 h 17013"/>
                <a:gd name="connsiteX20" fmla="*/ 5545 w 59771"/>
                <a:gd name="connsiteY20" fmla="*/ 13481 h 17013"/>
                <a:gd name="connsiteX21" fmla="*/ 3745 w 59771"/>
                <a:gd name="connsiteY21" fmla="*/ 13049 h 17013"/>
                <a:gd name="connsiteX22" fmla="*/ 2520 w 59771"/>
                <a:gd name="connsiteY22" fmla="*/ 11895 h 17013"/>
                <a:gd name="connsiteX23" fmla="*/ 792 w 59771"/>
                <a:gd name="connsiteY23" fmla="*/ 8219 h 17013"/>
                <a:gd name="connsiteX24" fmla="*/ 0 w 59771"/>
                <a:gd name="connsiteY24" fmla="*/ 4253 h 17013"/>
                <a:gd name="connsiteX25" fmla="*/ 5617 w 59771"/>
                <a:gd name="connsiteY25" fmla="*/ 0 h 17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9771" h="17013">
                  <a:moveTo>
                    <a:pt x="5617" y="0"/>
                  </a:moveTo>
                  <a:lnTo>
                    <a:pt x="10442" y="1874"/>
                  </a:lnTo>
                  <a:lnTo>
                    <a:pt x="12818" y="2740"/>
                  </a:lnTo>
                  <a:lnTo>
                    <a:pt x="15195" y="2667"/>
                  </a:lnTo>
                  <a:lnTo>
                    <a:pt x="36583" y="1658"/>
                  </a:lnTo>
                  <a:lnTo>
                    <a:pt x="45152" y="2451"/>
                  </a:lnTo>
                  <a:lnTo>
                    <a:pt x="51850" y="4109"/>
                  </a:lnTo>
                  <a:lnTo>
                    <a:pt x="54874" y="4902"/>
                  </a:lnTo>
                  <a:lnTo>
                    <a:pt x="56603" y="5623"/>
                  </a:lnTo>
                  <a:lnTo>
                    <a:pt x="57971" y="6633"/>
                  </a:lnTo>
                  <a:lnTo>
                    <a:pt x="59483" y="9300"/>
                  </a:lnTo>
                  <a:lnTo>
                    <a:pt x="59771" y="11895"/>
                  </a:lnTo>
                  <a:lnTo>
                    <a:pt x="59123" y="14130"/>
                  </a:lnTo>
                  <a:lnTo>
                    <a:pt x="57971" y="15572"/>
                  </a:lnTo>
                  <a:lnTo>
                    <a:pt x="57971" y="17014"/>
                  </a:lnTo>
                  <a:lnTo>
                    <a:pt x="37015" y="16942"/>
                  </a:lnTo>
                  <a:lnTo>
                    <a:pt x="30030" y="17014"/>
                  </a:lnTo>
                  <a:lnTo>
                    <a:pt x="23116" y="16437"/>
                  </a:lnTo>
                  <a:lnTo>
                    <a:pt x="16203" y="15212"/>
                  </a:lnTo>
                  <a:lnTo>
                    <a:pt x="10010" y="14202"/>
                  </a:lnTo>
                  <a:lnTo>
                    <a:pt x="5545" y="13481"/>
                  </a:lnTo>
                  <a:lnTo>
                    <a:pt x="3745" y="13049"/>
                  </a:lnTo>
                  <a:lnTo>
                    <a:pt x="2520" y="11895"/>
                  </a:lnTo>
                  <a:lnTo>
                    <a:pt x="792" y="8219"/>
                  </a:lnTo>
                  <a:lnTo>
                    <a:pt x="0" y="4253"/>
                  </a:lnTo>
                  <a:lnTo>
                    <a:pt x="561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2D8BF74B-B250-576D-D19B-1EA9314559D3}"/>
                </a:ext>
              </a:extLst>
            </p:cNvPr>
            <p:cNvSpPr/>
            <p:nvPr/>
          </p:nvSpPr>
          <p:spPr>
            <a:xfrm>
              <a:off x="9668553" y="3498406"/>
              <a:ext cx="60779" cy="27899"/>
            </a:xfrm>
            <a:custGeom>
              <a:avLst/>
              <a:gdLst>
                <a:gd name="connsiteX0" fmla="*/ 7129 w 60779"/>
                <a:gd name="connsiteY0" fmla="*/ 0 h 27899"/>
                <a:gd name="connsiteX1" fmla="*/ 16635 w 60779"/>
                <a:gd name="connsiteY1" fmla="*/ 1226 h 27899"/>
                <a:gd name="connsiteX2" fmla="*/ 19804 w 60779"/>
                <a:gd name="connsiteY2" fmla="*/ 1586 h 27899"/>
                <a:gd name="connsiteX3" fmla="*/ 22540 w 60779"/>
                <a:gd name="connsiteY3" fmla="*/ 1081 h 27899"/>
                <a:gd name="connsiteX4" fmla="*/ 26213 w 60779"/>
                <a:gd name="connsiteY4" fmla="*/ 721 h 27899"/>
                <a:gd name="connsiteX5" fmla="*/ 31974 w 60779"/>
                <a:gd name="connsiteY5" fmla="*/ 1153 h 27899"/>
                <a:gd name="connsiteX6" fmla="*/ 40256 w 60779"/>
                <a:gd name="connsiteY6" fmla="*/ 1298 h 27899"/>
                <a:gd name="connsiteX7" fmla="*/ 48609 w 60779"/>
                <a:gd name="connsiteY7" fmla="*/ 865 h 27899"/>
                <a:gd name="connsiteX8" fmla="*/ 51490 w 60779"/>
                <a:gd name="connsiteY8" fmla="*/ 793 h 27899"/>
                <a:gd name="connsiteX9" fmla="*/ 53938 w 60779"/>
                <a:gd name="connsiteY9" fmla="*/ 1802 h 27899"/>
                <a:gd name="connsiteX10" fmla="*/ 58259 w 60779"/>
                <a:gd name="connsiteY10" fmla="*/ 5407 h 27899"/>
                <a:gd name="connsiteX11" fmla="*/ 59699 w 60779"/>
                <a:gd name="connsiteY11" fmla="*/ 7209 h 27899"/>
                <a:gd name="connsiteX12" fmla="*/ 60563 w 60779"/>
                <a:gd name="connsiteY12" fmla="*/ 9300 h 27899"/>
                <a:gd name="connsiteX13" fmla="*/ 60779 w 60779"/>
                <a:gd name="connsiteY13" fmla="*/ 11607 h 27899"/>
                <a:gd name="connsiteX14" fmla="*/ 60203 w 60779"/>
                <a:gd name="connsiteY14" fmla="*/ 13914 h 27899"/>
                <a:gd name="connsiteX15" fmla="*/ 57683 w 60779"/>
                <a:gd name="connsiteY15" fmla="*/ 20979 h 27899"/>
                <a:gd name="connsiteX16" fmla="*/ 56243 w 60779"/>
                <a:gd name="connsiteY16" fmla="*/ 24079 h 27899"/>
                <a:gd name="connsiteX17" fmla="*/ 54154 w 60779"/>
                <a:gd name="connsiteY17" fmla="*/ 26602 h 27899"/>
                <a:gd name="connsiteX18" fmla="*/ 52930 w 60779"/>
                <a:gd name="connsiteY18" fmla="*/ 27179 h 27899"/>
                <a:gd name="connsiteX19" fmla="*/ 51490 w 60779"/>
                <a:gd name="connsiteY19" fmla="*/ 27251 h 27899"/>
                <a:gd name="connsiteX20" fmla="*/ 47961 w 60779"/>
                <a:gd name="connsiteY20" fmla="*/ 26602 h 27899"/>
                <a:gd name="connsiteX21" fmla="*/ 44288 w 60779"/>
                <a:gd name="connsiteY21" fmla="*/ 25593 h 27899"/>
                <a:gd name="connsiteX22" fmla="*/ 41120 w 60779"/>
                <a:gd name="connsiteY22" fmla="*/ 25160 h 27899"/>
                <a:gd name="connsiteX23" fmla="*/ 38815 w 60779"/>
                <a:gd name="connsiteY23" fmla="*/ 25737 h 27899"/>
                <a:gd name="connsiteX24" fmla="*/ 36799 w 60779"/>
                <a:gd name="connsiteY24" fmla="*/ 26746 h 27899"/>
                <a:gd name="connsiteX25" fmla="*/ 34711 w 60779"/>
                <a:gd name="connsiteY25" fmla="*/ 27612 h 27899"/>
                <a:gd name="connsiteX26" fmla="*/ 32334 w 60779"/>
                <a:gd name="connsiteY26" fmla="*/ 27900 h 27899"/>
                <a:gd name="connsiteX27" fmla="*/ 25565 w 60779"/>
                <a:gd name="connsiteY27" fmla="*/ 26098 h 27899"/>
                <a:gd name="connsiteX28" fmla="*/ 21748 w 60779"/>
                <a:gd name="connsiteY28" fmla="*/ 25593 h 27899"/>
                <a:gd name="connsiteX29" fmla="*/ 17355 w 60779"/>
                <a:gd name="connsiteY29" fmla="*/ 26314 h 27899"/>
                <a:gd name="connsiteX30" fmla="*/ 16203 w 60779"/>
                <a:gd name="connsiteY30" fmla="*/ 26458 h 27899"/>
                <a:gd name="connsiteX31" fmla="*/ 15123 w 60779"/>
                <a:gd name="connsiteY31" fmla="*/ 25953 h 27899"/>
                <a:gd name="connsiteX32" fmla="*/ 13971 w 60779"/>
                <a:gd name="connsiteY32" fmla="*/ 25377 h 27899"/>
                <a:gd name="connsiteX33" fmla="*/ 12746 w 60779"/>
                <a:gd name="connsiteY33" fmla="*/ 25088 h 27899"/>
                <a:gd name="connsiteX34" fmla="*/ 10082 w 60779"/>
                <a:gd name="connsiteY34" fmla="*/ 25016 h 27899"/>
                <a:gd name="connsiteX35" fmla="*/ 9074 w 60779"/>
                <a:gd name="connsiteY35" fmla="*/ 24656 h 27899"/>
                <a:gd name="connsiteX36" fmla="*/ 8570 w 60779"/>
                <a:gd name="connsiteY36" fmla="*/ 24079 h 27899"/>
                <a:gd name="connsiteX37" fmla="*/ 5329 w 60779"/>
                <a:gd name="connsiteY37" fmla="*/ 19105 h 27899"/>
                <a:gd name="connsiteX38" fmla="*/ 1872 w 60779"/>
                <a:gd name="connsiteY38" fmla="*/ 14995 h 27899"/>
                <a:gd name="connsiteX39" fmla="*/ 432 w 60779"/>
                <a:gd name="connsiteY39" fmla="*/ 13121 h 27899"/>
                <a:gd name="connsiteX40" fmla="*/ 0 w 60779"/>
                <a:gd name="connsiteY40" fmla="*/ 10958 h 27899"/>
                <a:gd name="connsiteX41" fmla="*/ 792 w 60779"/>
                <a:gd name="connsiteY41" fmla="*/ 8363 h 27899"/>
                <a:gd name="connsiteX42" fmla="*/ 2664 w 60779"/>
                <a:gd name="connsiteY42" fmla="*/ 5623 h 27899"/>
                <a:gd name="connsiteX43" fmla="*/ 7129 w 60779"/>
                <a:gd name="connsiteY43" fmla="*/ 0 h 27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0779" h="27899">
                  <a:moveTo>
                    <a:pt x="7129" y="0"/>
                  </a:moveTo>
                  <a:lnTo>
                    <a:pt x="16635" y="1226"/>
                  </a:lnTo>
                  <a:lnTo>
                    <a:pt x="19804" y="1586"/>
                  </a:lnTo>
                  <a:lnTo>
                    <a:pt x="22540" y="1081"/>
                  </a:lnTo>
                  <a:lnTo>
                    <a:pt x="26213" y="721"/>
                  </a:lnTo>
                  <a:lnTo>
                    <a:pt x="31974" y="1153"/>
                  </a:lnTo>
                  <a:lnTo>
                    <a:pt x="40256" y="1298"/>
                  </a:lnTo>
                  <a:lnTo>
                    <a:pt x="48609" y="865"/>
                  </a:lnTo>
                  <a:lnTo>
                    <a:pt x="51490" y="793"/>
                  </a:lnTo>
                  <a:lnTo>
                    <a:pt x="53938" y="1802"/>
                  </a:lnTo>
                  <a:lnTo>
                    <a:pt x="58259" y="5407"/>
                  </a:lnTo>
                  <a:lnTo>
                    <a:pt x="59699" y="7209"/>
                  </a:lnTo>
                  <a:lnTo>
                    <a:pt x="60563" y="9300"/>
                  </a:lnTo>
                  <a:lnTo>
                    <a:pt x="60779" y="11607"/>
                  </a:lnTo>
                  <a:lnTo>
                    <a:pt x="60203" y="13914"/>
                  </a:lnTo>
                  <a:lnTo>
                    <a:pt x="57683" y="20979"/>
                  </a:lnTo>
                  <a:lnTo>
                    <a:pt x="56243" y="24079"/>
                  </a:lnTo>
                  <a:lnTo>
                    <a:pt x="54154" y="26602"/>
                  </a:lnTo>
                  <a:lnTo>
                    <a:pt x="52930" y="27179"/>
                  </a:lnTo>
                  <a:lnTo>
                    <a:pt x="51490" y="27251"/>
                  </a:lnTo>
                  <a:lnTo>
                    <a:pt x="47961" y="26602"/>
                  </a:lnTo>
                  <a:lnTo>
                    <a:pt x="44288" y="25593"/>
                  </a:lnTo>
                  <a:lnTo>
                    <a:pt x="41120" y="25160"/>
                  </a:lnTo>
                  <a:lnTo>
                    <a:pt x="38815" y="25737"/>
                  </a:lnTo>
                  <a:lnTo>
                    <a:pt x="36799" y="26746"/>
                  </a:lnTo>
                  <a:lnTo>
                    <a:pt x="34711" y="27612"/>
                  </a:lnTo>
                  <a:lnTo>
                    <a:pt x="32334" y="27900"/>
                  </a:lnTo>
                  <a:lnTo>
                    <a:pt x="25565" y="26098"/>
                  </a:lnTo>
                  <a:lnTo>
                    <a:pt x="21748" y="25593"/>
                  </a:lnTo>
                  <a:lnTo>
                    <a:pt x="17355" y="26314"/>
                  </a:lnTo>
                  <a:lnTo>
                    <a:pt x="16203" y="26458"/>
                  </a:lnTo>
                  <a:lnTo>
                    <a:pt x="15123" y="25953"/>
                  </a:lnTo>
                  <a:lnTo>
                    <a:pt x="13971" y="25377"/>
                  </a:lnTo>
                  <a:lnTo>
                    <a:pt x="12746" y="25088"/>
                  </a:lnTo>
                  <a:lnTo>
                    <a:pt x="10082" y="25016"/>
                  </a:lnTo>
                  <a:lnTo>
                    <a:pt x="9074" y="24656"/>
                  </a:lnTo>
                  <a:lnTo>
                    <a:pt x="8570" y="24079"/>
                  </a:lnTo>
                  <a:lnTo>
                    <a:pt x="5329" y="19105"/>
                  </a:lnTo>
                  <a:lnTo>
                    <a:pt x="1872" y="14995"/>
                  </a:lnTo>
                  <a:lnTo>
                    <a:pt x="432" y="13121"/>
                  </a:lnTo>
                  <a:lnTo>
                    <a:pt x="0" y="10958"/>
                  </a:lnTo>
                  <a:lnTo>
                    <a:pt x="792" y="8363"/>
                  </a:lnTo>
                  <a:lnTo>
                    <a:pt x="2664" y="5623"/>
                  </a:lnTo>
                  <a:lnTo>
                    <a:pt x="7129" y="0"/>
                  </a:lnTo>
                </a:path>
              </a:pathLst>
            </a:custGeom>
            <a:solidFill>
              <a:srgbClr val="A9218E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0DF85A22-7D31-86AC-41F5-14D4FB7A2088}"/>
                </a:ext>
              </a:extLst>
            </p:cNvPr>
            <p:cNvSpPr/>
            <p:nvPr/>
          </p:nvSpPr>
          <p:spPr>
            <a:xfrm>
              <a:off x="9664305" y="3546780"/>
              <a:ext cx="69565" cy="39506"/>
            </a:xfrm>
            <a:custGeom>
              <a:avLst/>
              <a:gdLst>
                <a:gd name="connsiteX0" fmla="*/ 22180 w 69565"/>
                <a:gd name="connsiteY0" fmla="*/ 216 h 39506"/>
                <a:gd name="connsiteX1" fmla="*/ 25709 w 69565"/>
                <a:gd name="connsiteY1" fmla="*/ 0 h 39506"/>
                <a:gd name="connsiteX2" fmla="*/ 29238 w 69565"/>
                <a:gd name="connsiteY2" fmla="*/ 360 h 39506"/>
                <a:gd name="connsiteX3" fmla="*/ 49545 w 69565"/>
                <a:gd name="connsiteY3" fmla="*/ 2379 h 39506"/>
                <a:gd name="connsiteX4" fmla="*/ 55234 w 69565"/>
                <a:gd name="connsiteY4" fmla="*/ 3244 h 39506"/>
                <a:gd name="connsiteX5" fmla="*/ 60635 w 69565"/>
                <a:gd name="connsiteY5" fmla="*/ 4758 h 39506"/>
                <a:gd name="connsiteX6" fmla="*/ 63084 w 69565"/>
                <a:gd name="connsiteY6" fmla="*/ 6272 h 39506"/>
                <a:gd name="connsiteX7" fmla="*/ 65244 w 69565"/>
                <a:gd name="connsiteY7" fmla="*/ 8435 h 39506"/>
                <a:gd name="connsiteX8" fmla="*/ 67045 w 69565"/>
                <a:gd name="connsiteY8" fmla="*/ 11679 h 39506"/>
                <a:gd name="connsiteX9" fmla="*/ 68485 w 69565"/>
                <a:gd name="connsiteY9" fmla="*/ 16005 h 39506"/>
                <a:gd name="connsiteX10" fmla="*/ 69565 w 69565"/>
                <a:gd name="connsiteY10" fmla="*/ 23358 h 39506"/>
                <a:gd name="connsiteX11" fmla="*/ 69205 w 69565"/>
                <a:gd name="connsiteY11" fmla="*/ 27035 h 39506"/>
                <a:gd name="connsiteX12" fmla="*/ 67837 w 69565"/>
                <a:gd name="connsiteY12" fmla="*/ 30423 h 39506"/>
                <a:gd name="connsiteX13" fmla="*/ 65964 w 69565"/>
                <a:gd name="connsiteY13" fmla="*/ 32586 h 39506"/>
                <a:gd name="connsiteX14" fmla="*/ 63516 w 69565"/>
                <a:gd name="connsiteY14" fmla="*/ 34460 h 39506"/>
                <a:gd name="connsiteX15" fmla="*/ 56963 w 69565"/>
                <a:gd name="connsiteY15" fmla="*/ 37272 h 39506"/>
                <a:gd name="connsiteX16" fmla="*/ 39751 w 69565"/>
                <a:gd name="connsiteY16" fmla="*/ 39507 h 39506"/>
                <a:gd name="connsiteX17" fmla="*/ 34278 w 69565"/>
                <a:gd name="connsiteY17" fmla="*/ 38786 h 39506"/>
                <a:gd name="connsiteX18" fmla="*/ 29021 w 69565"/>
                <a:gd name="connsiteY18" fmla="*/ 37272 h 39506"/>
                <a:gd name="connsiteX19" fmla="*/ 23764 w 69565"/>
                <a:gd name="connsiteY19" fmla="*/ 35830 h 39506"/>
                <a:gd name="connsiteX20" fmla="*/ 18652 w 69565"/>
                <a:gd name="connsiteY20" fmla="*/ 35253 h 39506"/>
                <a:gd name="connsiteX21" fmla="*/ 11450 w 69565"/>
                <a:gd name="connsiteY21" fmla="*/ 34388 h 39506"/>
                <a:gd name="connsiteX22" fmla="*/ 6049 w 69565"/>
                <a:gd name="connsiteY22" fmla="*/ 31721 h 39506"/>
                <a:gd name="connsiteX23" fmla="*/ 2448 w 69565"/>
                <a:gd name="connsiteY23" fmla="*/ 27900 h 39506"/>
                <a:gd name="connsiteX24" fmla="*/ 504 w 69565"/>
                <a:gd name="connsiteY24" fmla="*/ 23574 h 39506"/>
                <a:gd name="connsiteX25" fmla="*/ 0 w 69565"/>
                <a:gd name="connsiteY25" fmla="*/ 18816 h 39506"/>
                <a:gd name="connsiteX26" fmla="*/ 1152 w 69565"/>
                <a:gd name="connsiteY26" fmla="*/ 14707 h 39506"/>
                <a:gd name="connsiteX27" fmla="*/ 3529 w 69565"/>
                <a:gd name="connsiteY27" fmla="*/ 11246 h 39506"/>
                <a:gd name="connsiteX28" fmla="*/ 6625 w 69565"/>
                <a:gd name="connsiteY28" fmla="*/ 8507 h 39506"/>
                <a:gd name="connsiteX29" fmla="*/ 13395 w 69565"/>
                <a:gd name="connsiteY29" fmla="*/ 4758 h 39506"/>
                <a:gd name="connsiteX30" fmla="*/ 18003 w 69565"/>
                <a:gd name="connsiteY30" fmla="*/ 3100 h 39506"/>
                <a:gd name="connsiteX31" fmla="*/ 19156 w 69565"/>
                <a:gd name="connsiteY31" fmla="*/ 2523 h 39506"/>
                <a:gd name="connsiteX32" fmla="*/ 19948 w 69565"/>
                <a:gd name="connsiteY32" fmla="*/ 1730 h 39506"/>
                <a:gd name="connsiteX33" fmla="*/ 20812 w 69565"/>
                <a:gd name="connsiteY33" fmla="*/ 865 h 39506"/>
                <a:gd name="connsiteX34" fmla="*/ 22180 w 69565"/>
                <a:gd name="connsiteY34" fmla="*/ 216 h 3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9565" h="39506">
                  <a:moveTo>
                    <a:pt x="22180" y="216"/>
                  </a:moveTo>
                  <a:lnTo>
                    <a:pt x="25709" y="0"/>
                  </a:lnTo>
                  <a:lnTo>
                    <a:pt x="29238" y="360"/>
                  </a:lnTo>
                  <a:lnTo>
                    <a:pt x="49545" y="2379"/>
                  </a:lnTo>
                  <a:lnTo>
                    <a:pt x="55234" y="3244"/>
                  </a:lnTo>
                  <a:lnTo>
                    <a:pt x="60635" y="4758"/>
                  </a:lnTo>
                  <a:lnTo>
                    <a:pt x="63084" y="6272"/>
                  </a:lnTo>
                  <a:lnTo>
                    <a:pt x="65244" y="8435"/>
                  </a:lnTo>
                  <a:lnTo>
                    <a:pt x="67045" y="11679"/>
                  </a:lnTo>
                  <a:lnTo>
                    <a:pt x="68485" y="16005"/>
                  </a:lnTo>
                  <a:lnTo>
                    <a:pt x="69565" y="23358"/>
                  </a:lnTo>
                  <a:lnTo>
                    <a:pt x="69205" y="27035"/>
                  </a:lnTo>
                  <a:lnTo>
                    <a:pt x="67837" y="30423"/>
                  </a:lnTo>
                  <a:lnTo>
                    <a:pt x="65964" y="32586"/>
                  </a:lnTo>
                  <a:lnTo>
                    <a:pt x="63516" y="34460"/>
                  </a:lnTo>
                  <a:lnTo>
                    <a:pt x="56963" y="37272"/>
                  </a:lnTo>
                  <a:lnTo>
                    <a:pt x="39751" y="39507"/>
                  </a:lnTo>
                  <a:lnTo>
                    <a:pt x="34278" y="38786"/>
                  </a:lnTo>
                  <a:lnTo>
                    <a:pt x="29021" y="37272"/>
                  </a:lnTo>
                  <a:lnTo>
                    <a:pt x="23764" y="35830"/>
                  </a:lnTo>
                  <a:lnTo>
                    <a:pt x="18652" y="35253"/>
                  </a:lnTo>
                  <a:lnTo>
                    <a:pt x="11450" y="34388"/>
                  </a:lnTo>
                  <a:lnTo>
                    <a:pt x="6049" y="31721"/>
                  </a:lnTo>
                  <a:lnTo>
                    <a:pt x="2448" y="27900"/>
                  </a:lnTo>
                  <a:lnTo>
                    <a:pt x="504" y="23574"/>
                  </a:lnTo>
                  <a:lnTo>
                    <a:pt x="0" y="18816"/>
                  </a:lnTo>
                  <a:lnTo>
                    <a:pt x="1152" y="14707"/>
                  </a:lnTo>
                  <a:lnTo>
                    <a:pt x="3529" y="11246"/>
                  </a:lnTo>
                  <a:lnTo>
                    <a:pt x="6625" y="8507"/>
                  </a:lnTo>
                  <a:lnTo>
                    <a:pt x="13395" y="4758"/>
                  </a:lnTo>
                  <a:lnTo>
                    <a:pt x="18003" y="3100"/>
                  </a:lnTo>
                  <a:lnTo>
                    <a:pt x="19156" y="2523"/>
                  </a:lnTo>
                  <a:lnTo>
                    <a:pt x="19948" y="1730"/>
                  </a:lnTo>
                  <a:lnTo>
                    <a:pt x="20812" y="865"/>
                  </a:lnTo>
                  <a:lnTo>
                    <a:pt x="22180" y="216"/>
                  </a:lnTo>
                </a:path>
              </a:pathLst>
            </a:custGeom>
            <a:solidFill>
              <a:srgbClr val="353D98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43B0DB2E-9A5A-7B41-1E0C-EEFD150F5246}"/>
                </a:ext>
              </a:extLst>
            </p:cNvPr>
            <p:cNvSpPr/>
            <p:nvPr/>
          </p:nvSpPr>
          <p:spPr>
            <a:xfrm>
              <a:off x="9669201" y="3603950"/>
              <a:ext cx="58186" cy="38137"/>
            </a:xfrm>
            <a:custGeom>
              <a:avLst/>
              <a:gdLst>
                <a:gd name="connsiteX0" fmla="*/ 32838 w 58186"/>
                <a:gd name="connsiteY0" fmla="*/ 0 h 38137"/>
                <a:gd name="connsiteX1" fmla="*/ 39463 w 58186"/>
                <a:gd name="connsiteY1" fmla="*/ 577 h 38137"/>
                <a:gd name="connsiteX2" fmla="*/ 46377 w 58186"/>
                <a:gd name="connsiteY2" fmla="*/ 3100 h 38137"/>
                <a:gd name="connsiteX3" fmla="*/ 48393 w 58186"/>
                <a:gd name="connsiteY3" fmla="*/ 5046 h 38137"/>
                <a:gd name="connsiteX4" fmla="*/ 50049 w 58186"/>
                <a:gd name="connsiteY4" fmla="*/ 6560 h 38137"/>
                <a:gd name="connsiteX5" fmla="*/ 53506 w 58186"/>
                <a:gd name="connsiteY5" fmla="*/ 7281 h 38137"/>
                <a:gd name="connsiteX6" fmla="*/ 55162 w 58186"/>
                <a:gd name="connsiteY6" fmla="*/ 7786 h 38137"/>
                <a:gd name="connsiteX7" fmla="*/ 56243 w 58186"/>
                <a:gd name="connsiteY7" fmla="*/ 8723 h 38137"/>
                <a:gd name="connsiteX8" fmla="*/ 58043 w 58186"/>
                <a:gd name="connsiteY8" fmla="*/ 16653 h 38137"/>
                <a:gd name="connsiteX9" fmla="*/ 58187 w 58186"/>
                <a:gd name="connsiteY9" fmla="*/ 21700 h 38137"/>
                <a:gd name="connsiteX10" fmla="*/ 57395 w 58186"/>
                <a:gd name="connsiteY10" fmla="*/ 25881 h 38137"/>
                <a:gd name="connsiteX11" fmla="*/ 55882 w 58186"/>
                <a:gd name="connsiteY11" fmla="*/ 28477 h 38137"/>
                <a:gd name="connsiteX12" fmla="*/ 53722 w 58186"/>
                <a:gd name="connsiteY12" fmla="*/ 30784 h 38137"/>
                <a:gd name="connsiteX13" fmla="*/ 48033 w 58186"/>
                <a:gd name="connsiteY13" fmla="*/ 34388 h 38137"/>
                <a:gd name="connsiteX14" fmla="*/ 40904 w 58186"/>
                <a:gd name="connsiteY14" fmla="*/ 36767 h 38137"/>
                <a:gd name="connsiteX15" fmla="*/ 32910 w 58186"/>
                <a:gd name="connsiteY15" fmla="*/ 37993 h 38137"/>
                <a:gd name="connsiteX16" fmla="*/ 24701 w 58186"/>
                <a:gd name="connsiteY16" fmla="*/ 38137 h 38137"/>
                <a:gd name="connsiteX17" fmla="*/ 16851 w 58186"/>
                <a:gd name="connsiteY17" fmla="*/ 37200 h 38137"/>
                <a:gd name="connsiteX18" fmla="*/ 9938 w 58186"/>
                <a:gd name="connsiteY18" fmla="*/ 35398 h 38137"/>
                <a:gd name="connsiteX19" fmla="*/ 4681 w 58186"/>
                <a:gd name="connsiteY19" fmla="*/ 32730 h 38137"/>
                <a:gd name="connsiteX20" fmla="*/ 3025 w 58186"/>
                <a:gd name="connsiteY20" fmla="*/ 31144 h 38137"/>
                <a:gd name="connsiteX21" fmla="*/ 1872 w 58186"/>
                <a:gd name="connsiteY21" fmla="*/ 29270 h 38137"/>
                <a:gd name="connsiteX22" fmla="*/ 432 w 58186"/>
                <a:gd name="connsiteY22" fmla="*/ 25016 h 38137"/>
                <a:gd name="connsiteX23" fmla="*/ 0 w 58186"/>
                <a:gd name="connsiteY23" fmla="*/ 20330 h 38137"/>
                <a:gd name="connsiteX24" fmla="*/ 936 w 58186"/>
                <a:gd name="connsiteY24" fmla="*/ 16221 h 38137"/>
                <a:gd name="connsiteX25" fmla="*/ 3097 w 58186"/>
                <a:gd name="connsiteY25" fmla="*/ 12688 h 38137"/>
                <a:gd name="connsiteX26" fmla="*/ 5977 w 58186"/>
                <a:gd name="connsiteY26" fmla="*/ 9733 h 38137"/>
                <a:gd name="connsiteX27" fmla="*/ 13106 w 58186"/>
                <a:gd name="connsiteY27" fmla="*/ 5623 h 38137"/>
                <a:gd name="connsiteX28" fmla="*/ 19732 w 58186"/>
                <a:gd name="connsiteY28" fmla="*/ 3821 h 38137"/>
                <a:gd name="connsiteX29" fmla="*/ 26429 w 58186"/>
                <a:gd name="connsiteY29" fmla="*/ 1802 h 38137"/>
                <a:gd name="connsiteX30" fmla="*/ 32838 w 58186"/>
                <a:gd name="connsiteY30" fmla="*/ 0 h 3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8186" h="38137">
                  <a:moveTo>
                    <a:pt x="32838" y="0"/>
                  </a:moveTo>
                  <a:lnTo>
                    <a:pt x="39463" y="577"/>
                  </a:lnTo>
                  <a:lnTo>
                    <a:pt x="46377" y="3100"/>
                  </a:lnTo>
                  <a:lnTo>
                    <a:pt x="48393" y="5046"/>
                  </a:lnTo>
                  <a:lnTo>
                    <a:pt x="50049" y="6560"/>
                  </a:lnTo>
                  <a:lnTo>
                    <a:pt x="53506" y="7281"/>
                  </a:lnTo>
                  <a:lnTo>
                    <a:pt x="55162" y="7786"/>
                  </a:lnTo>
                  <a:lnTo>
                    <a:pt x="56243" y="8723"/>
                  </a:lnTo>
                  <a:lnTo>
                    <a:pt x="58043" y="16653"/>
                  </a:lnTo>
                  <a:lnTo>
                    <a:pt x="58187" y="21700"/>
                  </a:lnTo>
                  <a:lnTo>
                    <a:pt x="57395" y="25881"/>
                  </a:lnTo>
                  <a:lnTo>
                    <a:pt x="55882" y="28477"/>
                  </a:lnTo>
                  <a:lnTo>
                    <a:pt x="53722" y="30784"/>
                  </a:lnTo>
                  <a:lnTo>
                    <a:pt x="48033" y="34388"/>
                  </a:lnTo>
                  <a:lnTo>
                    <a:pt x="40904" y="36767"/>
                  </a:lnTo>
                  <a:lnTo>
                    <a:pt x="32910" y="37993"/>
                  </a:lnTo>
                  <a:lnTo>
                    <a:pt x="24701" y="38137"/>
                  </a:lnTo>
                  <a:lnTo>
                    <a:pt x="16851" y="37200"/>
                  </a:lnTo>
                  <a:lnTo>
                    <a:pt x="9938" y="35398"/>
                  </a:lnTo>
                  <a:lnTo>
                    <a:pt x="4681" y="32730"/>
                  </a:lnTo>
                  <a:lnTo>
                    <a:pt x="3025" y="31144"/>
                  </a:lnTo>
                  <a:lnTo>
                    <a:pt x="1872" y="29270"/>
                  </a:lnTo>
                  <a:lnTo>
                    <a:pt x="432" y="25016"/>
                  </a:lnTo>
                  <a:lnTo>
                    <a:pt x="0" y="20330"/>
                  </a:lnTo>
                  <a:lnTo>
                    <a:pt x="936" y="16221"/>
                  </a:lnTo>
                  <a:lnTo>
                    <a:pt x="3097" y="12688"/>
                  </a:lnTo>
                  <a:lnTo>
                    <a:pt x="5977" y="9733"/>
                  </a:lnTo>
                  <a:lnTo>
                    <a:pt x="13106" y="5623"/>
                  </a:lnTo>
                  <a:lnTo>
                    <a:pt x="19732" y="3821"/>
                  </a:lnTo>
                  <a:lnTo>
                    <a:pt x="26429" y="1802"/>
                  </a:lnTo>
                  <a:lnTo>
                    <a:pt x="32838" y="0"/>
                  </a:lnTo>
                </a:path>
              </a:pathLst>
            </a:custGeom>
            <a:solidFill>
              <a:srgbClr val="002E56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513924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9E10451-2623-2F9C-3A88-91BC1601D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0DAE90BF-72E4-E455-7F0B-224B209911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0D63C-3300-4C2D-B480-963E9AE53FC9}" type="datetimeFigureOut">
              <a:rPr lang="en-GB" smtClean="0"/>
              <a:t>03/04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2F9BEB2D-D752-D788-3FC9-1DF999565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E26097D-060E-9396-9B35-38FD38532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CAD07-A04B-4670-A9DA-1A143A92E1ED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77759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 bwMode="gray">
          <a:xfrm>
            <a:off x="654273" y="3240532"/>
            <a:ext cx="5575077" cy="1828800"/>
          </a:xfrm>
          <a:prstGeom prst="rect">
            <a:avLst/>
          </a:prstGeom>
        </p:spPr>
        <p:txBody>
          <a:bodyPr vert="horz" anchor="b"/>
          <a:lstStyle>
            <a:lvl1pPr algn="l">
              <a:lnSpc>
                <a:spcPct val="88000"/>
              </a:lnSpc>
              <a:defRPr sz="4000" b="1" cap="all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xmlns="" id="{735F3686-4967-B249-A839-3A8CCA2312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6974" y="5117846"/>
            <a:ext cx="5575076" cy="585216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xmlns="" id="{5E974753-F3AB-3748-A16E-C7BD3CDBF4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66974" y="5858510"/>
            <a:ext cx="5575076" cy="585216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buNone/>
              <a:defRPr sz="1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xmlns="" id="{DBCCC9B8-F511-434B-AE5B-A433D9F0F36C}"/>
              </a:ext>
            </a:extLst>
          </p:cNvPr>
          <p:cNvSpPr/>
          <p:nvPr userDrawn="1"/>
        </p:nvSpPr>
        <p:spPr>
          <a:xfrm>
            <a:off x="9186022" y="1433734"/>
            <a:ext cx="983020" cy="847430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xmlns="" id="{E677B86B-8298-41AD-A9E4-F1BAB61293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699728" cy="3148807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21FD457C-5EFA-4CFD-9047-9DCCFD997BA1}"/>
              </a:ext>
            </a:extLst>
          </p:cNvPr>
          <p:cNvGrpSpPr/>
          <p:nvPr userDrawn="1"/>
        </p:nvGrpSpPr>
        <p:grpSpPr>
          <a:xfrm>
            <a:off x="7531528" y="1763891"/>
            <a:ext cx="3654288" cy="1653589"/>
            <a:chOff x="8375921" y="2050604"/>
            <a:chExt cx="3054079" cy="1381991"/>
          </a:xfrm>
        </p:grpSpPr>
        <p:sp>
          <p:nvSpPr>
            <p:cNvPr id="13" name="Hexagon 12">
              <a:extLst>
                <a:ext uri="{FF2B5EF4-FFF2-40B4-BE49-F238E27FC236}">
                  <a16:creationId xmlns:a16="http://schemas.microsoft.com/office/drawing/2014/main" xmlns="" id="{777A2105-4EC9-4861-B2F9-618C75F9E929}"/>
                </a:ext>
              </a:extLst>
            </p:cNvPr>
            <p:cNvSpPr/>
            <p:nvPr/>
          </p:nvSpPr>
          <p:spPr>
            <a:xfrm>
              <a:off x="9334427" y="2050604"/>
              <a:ext cx="1307237" cy="112693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xmlns="" id="{8293D741-07CD-402B-A51C-9FD086C73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375921" y="2168839"/>
              <a:ext cx="3054079" cy="1263756"/>
            </a:xfrm>
            <a:prstGeom prst="rect">
              <a:avLst/>
            </a:prstGeom>
          </p:spPr>
        </p:pic>
      </p:grpSp>
      <p:sp>
        <p:nvSpPr>
          <p:cNvPr id="17" name="Hexagon 16">
            <a:extLst>
              <a:ext uri="{FF2B5EF4-FFF2-40B4-BE49-F238E27FC236}">
                <a16:creationId xmlns:a16="http://schemas.microsoft.com/office/drawing/2014/main" xmlns="" id="{FA2121F1-027A-4770-A4D5-CDC0B4150A68}"/>
              </a:ext>
            </a:extLst>
          </p:cNvPr>
          <p:cNvSpPr/>
          <p:nvPr userDrawn="1"/>
        </p:nvSpPr>
        <p:spPr>
          <a:xfrm>
            <a:off x="9619016" y="188750"/>
            <a:ext cx="775460" cy="668500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1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Hexagon 17">
            <a:extLst>
              <a:ext uri="{FF2B5EF4-FFF2-40B4-BE49-F238E27FC236}">
                <a16:creationId xmlns:a16="http://schemas.microsoft.com/office/drawing/2014/main" xmlns="" id="{87EDACE6-C31C-4494-B76B-33B66FA0F9BD}"/>
              </a:ext>
            </a:extLst>
          </p:cNvPr>
          <p:cNvSpPr/>
          <p:nvPr userDrawn="1"/>
        </p:nvSpPr>
        <p:spPr>
          <a:xfrm>
            <a:off x="10066391" y="715134"/>
            <a:ext cx="376752" cy="324786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xmlns="" id="{D9A456FA-5D7E-442E-8182-407AF5E26CC5}"/>
              </a:ext>
            </a:extLst>
          </p:cNvPr>
          <p:cNvSpPr/>
          <p:nvPr userDrawn="1"/>
        </p:nvSpPr>
        <p:spPr>
          <a:xfrm>
            <a:off x="8397240" y="126421"/>
            <a:ext cx="1136051" cy="979354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1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Hexagon 19">
            <a:extLst>
              <a:ext uri="{FF2B5EF4-FFF2-40B4-BE49-F238E27FC236}">
                <a16:creationId xmlns:a16="http://schemas.microsoft.com/office/drawing/2014/main" xmlns="" id="{53D67A4E-E9CC-459B-B566-DEB4346F9D38}"/>
              </a:ext>
            </a:extLst>
          </p:cNvPr>
          <p:cNvSpPr/>
          <p:nvPr userDrawn="1"/>
        </p:nvSpPr>
        <p:spPr>
          <a:xfrm>
            <a:off x="10779639" y="69773"/>
            <a:ext cx="586266" cy="505401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Hexagon 20">
            <a:extLst>
              <a:ext uri="{FF2B5EF4-FFF2-40B4-BE49-F238E27FC236}">
                <a16:creationId xmlns:a16="http://schemas.microsoft.com/office/drawing/2014/main" xmlns="" id="{7EA7D74A-39D8-43D4-88AE-CE0D0258256D}"/>
              </a:ext>
            </a:extLst>
          </p:cNvPr>
          <p:cNvSpPr/>
          <p:nvPr userDrawn="1"/>
        </p:nvSpPr>
        <p:spPr>
          <a:xfrm>
            <a:off x="10558451" y="297582"/>
            <a:ext cx="384920" cy="331827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1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F18FBBB9-0204-4AAA-9730-E22D26B3F49B}"/>
              </a:ext>
            </a:extLst>
          </p:cNvPr>
          <p:cNvSpPr/>
          <p:nvPr userDrawn="1"/>
        </p:nvSpPr>
        <p:spPr>
          <a:xfrm>
            <a:off x="9107753" y="0"/>
            <a:ext cx="440130" cy="297418"/>
          </a:xfrm>
          <a:custGeom>
            <a:avLst/>
            <a:gdLst>
              <a:gd name="connsiteX0" fmla="*/ 64112 w 440130"/>
              <a:gd name="connsiteY0" fmla="*/ 0 h 297418"/>
              <a:gd name="connsiteX1" fmla="*/ 376018 w 440130"/>
              <a:gd name="connsiteY1" fmla="*/ 0 h 297418"/>
              <a:gd name="connsiteX2" fmla="*/ 440130 w 440130"/>
              <a:gd name="connsiteY2" fmla="*/ 107707 h 297418"/>
              <a:gd name="connsiteX3" fmla="*/ 327206 w 440130"/>
              <a:gd name="connsiteY3" fmla="*/ 297418 h 297418"/>
              <a:gd name="connsiteX4" fmla="*/ 112924 w 440130"/>
              <a:gd name="connsiteY4" fmla="*/ 297418 h 297418"/>
              <a:gd name="connsiteX5" fmla="*/ 0 w 440130"/>
              <a:gd name="connsiteY5" fmla="*/ 107707 h 297418"/>
              <a:gd name="connsiteX6" fmla="*/ 64112 w 440130"/>
              <a:gd name="connsiteY6" fmla="*/ 0 h 29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130" h="297418">
                <a:moveTo>
                  <a:pt x="64112" y="0"/>
                </a:moveTo>
                <a:lnTo>
                  <a:pt x="376018" y="0"/>
                </a:lnTo>
                <a:lnTo>
                  <a:pt x="440130" y="107707"/>
                </a:lnTo>
                <a:lnTo>
                  <a:pt x="327206" y="297418"/>
                </a:lnTo>
                <a:lnTo>
                  <a:pt x="112924" y="297418"/>
                </a:lnTo>
                <a:lnTo>
                  <a:pt x="0" y="107707"/>
                </a:lnTo>
                <a:lnTo>
                  <a:pt x="64112" y="0"/>
                </a:lnTo>
                <a:close/>
              </a:path>
            </a:pathLst>
          </a:custGeom>
          <a:solidFill>
            <a:schemeClr val="accent6">
              <a:alpha val="1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xmlns="" id="{D8B35DAE-0755-4548-B4C0-07B6D8B2B955}"/>
              </a:ext>
            </a:extLst>
          </p:cNvPr>
          <p:cNvSpPr/>
          <p:nvPr userDrawn="1"/>
        </p:nvSpPr>
        <p:spPr>
          <a:xfrm>
            <a:off x="10324130" y="0"/>
            <a:ext cx="440130" cy="189711"/>
          </a:xfrm>
          <a:custGeom>
            <a:avLst/>
            <a:gdLst>
              <a:gd name="connsiteX0" fmla="*/ 0 w 440130"/>
              <a:gd name="connsiteY0" fmla="*/ 0 h 189711"/>
              <a:gd name="connsiteX1" fmla="*/ 440130 w 440130"/>
              <a:gd name="connsiteY1" fmla="*/ 0 h 189711"/>
              <a:gd name="connsiteX2" fmla="*/ 327206 w 440130"/>
              <a:gd name="connsiteY2" fmla="*/ 189711 h 189711"/>
              <a:gd name="connsiteX3" fmla="*/ 112924 w 440130"/>
              <a:gd name="connsiteY3" fmla="*/ 189711 h 189711"/>
              <a:gd name="connsiteX4" fmla="*/ 0 w 440130"/>
              <a:gd name="connsiteY4" fmla="*/ 0 h 189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130" h="189711">
                <a:moveTo>
                  <a:pt x="0" y="0"/>
                </a:moveTo>
                <a:lnTo>
                  <a:pt x="440130" y="0"/>
                </a:lnTo>
                <a:lnTo>
                  <a:pt x="327206" y="189711"/>
                </a:lnTo>
                <a:lnTo>
                  <a:pt x="112924" y="18971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4462AD05-046A-4219-9140-788BE5690B89}"/>
              </a:ext>
            </a:extLst>
          </p:cNvPr>
          <p:cNvSpPr/>
          <p:nvPr userDrawn="1"/>
        </p:nvSpPr>
        <p:spPr>
          <a:xfrm>
            <a:off x="11483380" y="0"/>
            <a:ext cx="376752" cy="265418"/>
          </a:xfrm>
          <a:custGeom>
            <a:avLst/>
            <a:gdLst>
              <a:gd name="connsiteX0" fmla="*/ 61325 w 376752"/>
              <a:gd name="connsiteY0" fmla="*/ 0 h 265418"/>
              <a:gd name="connsiteX1" fmla="*/ 315427 w 376752"/>
              <a:gd name="connsiteY1" fmla="*/ 0 h 265418"/>
              <a:gd name="connsiteX2" fmla="*/ 376752 w 376752"/>
              <a:gd name="connsiteY2" fmla="*/ 103025 h 265418"/>
              <a:gd name="connsiteX3" fmla="*/ 280089 w 376752"/>
              <a:gd name="connsiteY3" fmla="*/ 265418 h 265418"/>
              <a:gd name="connsiteX4" fmla="*/ 96663 w 376752"/>
              <a:gd name="connsiteY4" fmla="*/ 265418 h 265418"/>
              <a:gd name="connsiteX5" fmla="*/ 0 w 376752"/>
              <a:gd name="connsiteY5" fmla="*/ 103025 h 265418"/>
              <a:gd name="connsiteX6" fmla="*/ 61325 w 376752"/>
              <a:gd name="connsiteY6" fmla="*/ 0 h 265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6752" h="265418">
                <a:moveTo>
                  <a:pt x="61325" y="0"/>
                </a:moveTo>
                <a:lnTo>
                  <a:pt x="315427" y="0"/>
                </a:lnTo>
                <a:lnTo>
                  <a:pt x="376752" y="103025"/>
                </a:lnTo>
                <a:lnTo>
                  <a:pt x="280089" y="265418"/>
                </a:lnTo>
                <a:lnTo>
                  <a:pt x="96663" y="265418"/>
                </a:lnTo>
                <a:lnTo>
                  <a:pt x="0" y="103025"/>
                </a:lnTo>
                <a:lnTo>
                  <a:pt x="61325" y="0"/>
                </a:lnTo>
                <a:close/>
              </a:path>
            </a:pathLst>
          </a:cu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B423F218-47D7-47C6-8178-5BA303CB7A3E}"/>
              </a:ext>
            </a:extLst>
          </p:cNvPr>
          <p:cNvSpPr/>
          <p:nvPr userDrawn="1"/>
        </p:nvSpPr>
        <p:spPr>
          <a:xfrm>
            <a:off x="0" y="6781877"/>
            <a:ext cx="12192000" cy="7612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95694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 bwMode="gray">
          <a:xfrm>
            <a:off x="654273" y="3240532"/>
            <a:ext cx="10756677" cy="1828800"/>
          </a:xfrm>
          <a:prstGeom prst="rect">
            <a:avLst/>
          </a:prstGeom>
        </p:spPr>
        <p:txBody>
          <a:bodyPr vert="horz" anchor="b"/>
          <a:lstStyle>
            <a:lvl1pPr algn="l">
              <a:lnSpc>
                <a:spcPct val="88000"/>
              </a:lnSpc>
              <a:defRPr sz="4000" b="1" cap="all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xmlns="" id="{735F3686-4967-B249-A839-3A8CCA2312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6974" y="5117846"/>
            <a:ext cx="5575076" cy="585216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xmlns="" id="{5E974753-F3AB-3748-A16E-C7BD3CDBF4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66974" y="5858510"/>
            <a:ext cx="5575076" cy="585216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buNone/>
              <a:defRPr sz="1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xmlns="" id="{DBCCC9B8-F511-434B-AE5B-A433D9F0F36C}"/>
              </a:ext>
            </a:extLst>
          </p:cNvPr>
          <p:cNvSpPr/>
          <p:nvPr userDrawn="1"/>
        </p:nvSpPr>
        <p:spPr>
          <a:xfrm>
            <a:off x="9186022" y="1433734"/>
            <a:ext cx="983020" cy="847430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xmlns="" id="{E677B86B-8298-41AD-A9E4-F1BAB61293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699728" cy="3148807"/>
          </a:xfrm>
          <a:prstGeom prst="rect">
            <a:avLst/>
          </a:prstGeom>
        </p:spPr>
      </p:pic>
      <p:sp>
        <p:nvSpPr>
          <p:cNvPr id="17" name="Hexagon 16">
            <a:extLst>
              <a:ext uri="{FF2B5EF4-FFF2-40B4-BE49-F238E27FC236}">
                <a16:creationId xmlns:a16="http://schemas.microsoft.com/office/drawing/2014/main" xmlns="" id="{FA2121F1-027A-4770-A4D5-CDC0B4150A68}"/>
              </a:ext>
            </a:extLst>
          </p:cNvPr>
          <p:cNvSpPr/>
          <p:nvPr userDrawn="1"/>
        </p:nvSpPr>
        <p:spPr>
          <a:xfrm>
            <a:off x="9619016" y="188750"/>
            <a:ext cx="775460" cy="668500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1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Hexagon 17">
            <a:extLst>
              <a:ext uri="{FF2B5EF4-FFF2-40B4-BE49-F238E27FC236}">
                <a16:creationId xmlns:a16="http://schemas.microsoft.com/office/drawing/2014/main" xmlns="" id="{87EDACE6-C31C-4494-B76B-33B66FA0F9BD}"/>
              </a:ext>
            </a:extLst>
          </p:cNvPr>
          <p:cNvSpPr/>
          <p:nvPr userDrawn="1"/>
        </p:nvSpPr>
        <p:spPr>
          <a:xfrm>
            <a:off x="10066391" y="715134"/>
            <a:ext cx="376752" cy="324786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xmlns="" id="{D9A456FA-5D7E-442E-8182-407AF5E26CC5}"/>
              </a:ext>
            </a:extLst>
          </p:cNvPr>
          <p:cNvSpPr/>
          <p:nvPr userDrawn="1"/>
        </p:nvSpPr>
        <p:spPr>
          <a:xfrm>
            <a:off x="8397240" y="126421"/>
            <a:ext cx="1136051" cy="979354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1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Hexagon 19">
            <a:extLst>
              <a:ext uri="{FF2B5EF4-FFF2-40B4-BE49-F238E27FC236}">
                <a16:creationId xmlns:a16="http://schemas.microsoft.com/office/drawing/2014/main" xmlns="" id="{53D67A4E-E9CC-459B-B566-DEB4346F9D38}"/>
              </a:ext>
            </a:extLst>
          </p:cNvPr>
          <p:cNvSpPr/>
          <p:nvPr userDrawn="1"/>
        </p:nvSpPr>
        <p:spPr>
          <a:xfrm>
            <a:off x="10779639" y="69773"/>
            <a:ext cx="586266" cy="505401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Hexagon 20">
            <a:extLst>
              <a:ext uri="{FF2B5EF4-FFF2-40B4-BE49-F238E27FC236}">
                <a16:creationId xmlns:a16="http://schemas.microsoft.com/office/drawing/2014/main" xmlns="" id="{7EA7D74A-39D8-43D4-88AE-CE0D0258256D}"/>
              </a:ext>
            </a:extLst>
          </p:cNvPr>
          <p:cNvSpPr/>
          <p:nvPr userDrawn="1"/>
        </p:nvSpPr>
        <p:spPr>
          <a:xfrm>
            <a:off x="10558451" y="297582"/>
            <a:ext cx="384920" cy="331827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1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F18FBBB9-0204-4AAA-9730-E22D26B3F49B}"/>
              </a:ext>
            </a:extLst>
          </p:cNvPr>
          <p:cNvSpPr/>
          <p:nvPr userDrawn="1"/>
        </p:nvSpPr>
        <p:spPr>
          <a:xfrm>
            <a:off x="9107753" y="0"/>
            <a:ext cx="440130" cy="297418"/>
          </a:xfrm>
          <a:custGeom>
            <a:avLst/>
            <a:gdLst>
              <a:gd name="connsiteX0" fmla="*/ 64112 w 440130"/>
              <a:gd name="connsiteY0" fmla="*/ 0 h 297418"/>
              <a:gd name="connsiteX1" fmla="*/ 376018 w 440130"/>
              <a:gd name="connsiteY1" fmla="*/ 0 h 297418"/>
              <a:gd name="connsiteX2" fmla="*/ 440130 w 440130"/>
              <a:gd name="connsiteY2" fmla="*/ 107707 h 297418"/>
              <a:gd name="connsiteX3" fmla="*/ 327206 w 440130"/>
              <a:gd name="connsiteY3" fmla="*/ 297418 h 297418"/>
              <a:gd name="connsiteX4" fmla="*/ 112924 w 440130"/>
              <a:gd name="connsiteY4" fmla="*/ 297418 h 297418"/>
              <a:gd name="connsiteX5" fmla="*/ 0 w 440130"/>
              <a:gd name="connsiteY5" fmla="*/ 107707 h 297418"/>
              <a:gd name="connsiteX6" fmla="*/ 64112 w 440130"/>
              <a:gd name="connsiteY6" fmla="*/ 0 h 29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130" h="297418">
                <a:moveTo>
                  <a:pt x="64112" y="0"/>
                </a:moveTo>
                <a:lnTo>
                  <a:pt x="376018" y="0"/>
                </a:lnTo>
                <a:lnTo>
                  <a:pt x="440130" y="107707"/>
                </a:lnTo>
                <a:lnTo>
                  <a:pt x="327206" y="297418"/>
                </a:lnTo>
                <a:lnTo>
                  <a:pt x="112924" y="297418"/>
                </a:lnTo>
                <a:lnTo>
                  <a:pt x="0" y="107707"/>
                </a:lnTo>
                <a:lnTo>
                  <a:pt x="64112" y="0"/>
                </a:lnTo>
                <a:close/>
              </a:path>
            </a:pathLst>
          </a:custGeom>
          <a:solidFill>
            <a:schemeClr val="accent6">
              <a:alpha val="1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xmlns="" id="{D8B35DAE-0755-4548-B4C0-07B6D8B2B955}"/>
              </a:ext>
            </a:extLst>
          </p:cNvPr>
          <p:cNvSpPr/>
          <p:nvPr userDrawn="1"/>
        </p:nvSpPr>
        <p:spPr>
          <a:xfrm>
            <a:off x="10324130" y="0"/>
            <a:ext cx="440130" cy="189711"/>
          </a:xfrm>
          <a:custGeom>
            <a:avLst/>
            <a:gdLst>
              <a:gd name="connsiteX0" fmla="*/ 0 w 440130"/>
              <a:gd name="connsiteY0" fmla="*/ 0 h 189711"/>
              <a:gd name="connsiteX1" fmla="*/ 440130 w 440130"/>
              <a:gd name="connsiteY1" fmla="*/ 0 h 189711"/>
              <a:gd name="connsiteX2" fmla="*/ 327206 w 440130"/>
              <a:gd name="connsiteY2" fmla="*/ 189711 h 189711"/>
              <a:gd name="connsiteX3" fmla="*/ 112924 w 440130"/>
              <a:gd name="connsiteY3" fmla="*/ 189711 h 189711"/>
              <a:gd name="connsiteX4" fmla="*/ 0 w 440130"/>
              <a:gd name="connsiteY4" fmla="*/ 0 h 189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130" h="189711">
                <a:moveTo>
                  <a:pt x="0" y="0"/>
                </a:moveTo>
                <a:lnTo>
                  <a:pt x="440130" y="0"/>
                </a:lnTo>
                <a:lnTo>
                  <a:pt x="327206" y="189711"/>
                </a:lnTo>
                <a:lnTo>
                  <a:pt x="112924" y="18971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4462AD05-046A-4219-9140-788BE5690B89}"/>
              </a:ext>
            </a:extLst>
          </p:cNvPr>
          <p:cNvSpPr/>
          <p:nvPr userDrawn="1"/>
        </p:nvSpPr>
        <p:spPr>
          <a:xfrm>
            <a:off x="11483380" y="0"/>
            <a:ext cx="376752" cy="265418"/>
          </a:xfrm>
          <a:custGeom>
            <a:avLst/>
            <a:gdLst>
              <a:gd name="connsiteX0" fmla="*/ 61325 w 376752"/>
              <a:gd name="connsiteY0" fmla="*/ 0 h 265418"/>
              <a:gd name="connsiteX1" fmla="*/ 315427 w 376752"/>
              <a:gd name="connsiteY1" fmla="*/ 0 h 265418"/>
              <a:gd name="connsiteX2" fmla="*/ 376752 w 376752"/>
              <a:gd name="connsiteY2" fmla="*/ 103025 h 265418"/>
              <a:gd name="connsiteX3" fmla="*/ 280089 w 376752"/>
              <a:gd name="connsiteY3" fmla="*/ 265418 h 265418"/>
              <a:gd name="connsiteX4" fmla="*/ 96663 w 376752"/>
              <a:gd name="connsiteY4" fmla="*/ 265418 h 265418"/>
              <a:gd name="connsiteX5" fmla="*/ 0 w 376752"/>
              <a:gd name="connsiteY5" fmla="*/ 103025 h 265418"/>
              <a:gd name="connsiteX6" fmla="*/ 61325 w 376752"/>
              <a:gd name="connsiteY6" fmla="*/ 0 h 265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6752" h="265418">
                <a:moveTo>
                  <a:pt x="61325" y="0"/>
                </a:moveTo>
                <a:lnTo>
                  <a:pt x="315427" y="0"/>
                </a:lnTo>
                <a:lnTo>
                  <a:pt x="376752" y="103025"/>
                </a:lnTo>
                <a:lnTo>
                  <a:pt x="280089" y="265418"/>
                </a:lnTo>
                <a:lnTo>
                  <a:pt x="96663" y="265418"/>
                </a:lnTo>
                <a:lnTo>
                  <a:pt x="0" y="103025"/>
                </a:lnTo>
                <a:lnTo>
                  <a:pt x="61325" y="0"/>
                </a:lnTo>
                <a:close/>
              </a:path>
            </a:pathLst>
          </a:cu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E1D93826-9992-40E2-BE2A-00CCA0C83095}"/>
              </a:ext>
            </a:extLst>
          </p:cNvPr>
          <p:cNvGrpSpPr/>
          <p:nvPr userDrawn="1"/>
        </p:nvGrpSpPr>
        <p:grpSpPr>
          <a:xfrm>
            <a:off x="7531528" y="1763891"/>
            <a:ext cx="3654288" cy="1653589"/>
            <a:chOff x="8375921" y="2050604"/>
            <a:chExt cx="3054079" cy="1381991"/>
          </a:xfrm>
        </p:grpSpPr>
        <p:sp>
          <p:nvSpPr>
            <p:cNvPr id="26" name="Hexagon 25">
              <a:extLst>
                <a:ext uri="{FF2B5EF4-FFF2-40B4-BE49-F238E27FC236}">
                  <a16:creationId xmlns:a16="http://schemas.microsoft.com/office/drawing/2014/main" xmlns="" id="{0DC09304-DF80-4217-BB06-5A061C8C872F}"/>
                </a:ext>
              </a:extLst>
            </p:cNvPr>
            <p:cNvSpPr/>
            <p:nvPr/>
          </p:nvSpPr>
          <p:spPr>
            <a:xfrm>
              <a:off x="9334427" y="2050604"/>
              <a:ext cx="1307237" cy="112693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xmlns="" id="{506CFCE0-4314-45D8-9BFA-B795F8E521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375921" y="2168839"/>
              <a:ext cx="3054079" cy="1263756"/>
            </a:xfrm>
            <a:prstGeom prst="rect">
              <a:avLst/>
            </a:prstGeom>
          </p:spPr>
        </p:pic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10BF33F8-4750-4573-A637-A713EDFB49BE}"/>
              </a:ext>
            </a:extLst>
          </p:cNvPr>
          <p:cNvSpPr/>
          <p:nvPr userDrawn="1"/>
        </p:nvSpPr>
        <p:spPr>
          <a:xfrm>
            <a:off x="0" y="6781877"/>
            <a:ext cx="12192000" cy="7612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47690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9DB550-713C-024B-AFE8-36C3DA3DE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67" y="159119"/>
            <a:ext cx="10011090" cy="102651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1B00CFC-62AE-8749-B76A-0FDE7D46303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60467" y="1663188"/>
            <a:ext cx="10011089" cy="437454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9401845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9DB550-713C-024B-AFE8-36C3DA3DE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67" y="159119"/>
            <a:ext cx="10011089" cy="102651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6537736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9DB550-713C-024B-AFE8-36C3DA3DE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67" y="159119"/>
            <a:ext cx="10011089" cy="102651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xmlns="" id="{364C26A6-5325-4EAE-A5E9-088C31C12BA0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60400" y="1423988"/>
            <a:ext cx="10010775" cy="491331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890376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9DB550-713C-024B-AFE8-36C3DA3DE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67" y="159119"/>
            <a:ext cx="10011090" cy="102651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1B00CFC-62AE-8749-B76A-0FDE7D46303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96001" y="1663188"/>
            <a:ext cx="4575555" cy="437454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xmlns="" id="{6F4CABC6-D1FB-4DEB-8D2D-32C9029AC2D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2000" y="1663700"/>
            <a:ext cx="5127832" cy="3231029"/>
          </a:xfrm>
          <a:prstGeom prst="roundRect">
            <a:avLst>
              <a:gd name="adj" fmla="val 4181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7983657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9DB550-713C-024B-AFE8-36C3DA3DE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66" y="159119"/>
            <a:ext cx="10011091" cy="102651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1B00CFC-62AE-8749-B76A-0FDE7D46303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60467" y="1722789"/>
            <a:ext cx="10011090" cy="431122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xmlns="" id="{43B12624-0F0C-3944-93AD-1794E0CA2D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466" y="1090628"/>
            <a:ext cx="10011091" cy="632162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>
              <a:buNone/>
              <a:defRPr sz="220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7304901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9DB550-713C-024B-AFE8-36C3DA3DE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67" y="159119"/>
            <a:ext cx="10011090" cy="102651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xmlns="" id="{43B12624-0F0C-3944-93AD-1794E0CA2D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467" y="1090628"/>
            <a:ext cx="10011090" cy="632162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>
              <a:buNone/>
              <a:defRPr sz="220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927484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Tex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9DB550-713C-024B-AFE8-36C3DA3DE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67" y="159119"/>
            <a:ext cx="10011090" cy="102651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1B00CFC-62AE-8749-B76A-0FDE7D46303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96001" y="1753128"/>
            <a:ext cx="4575555" cy="437454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xmlns="" id="{6F4CABC6-D1FB-4DEB-8D2D-32C9029AC2D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2000" y="1753640"/>
            <a:ext cx="5129784" cy="3231029"/>
          </a:xfrm>
          <a:prstGeom prst="roundRect">
            <a:avLst>
              <a:gd name="adj" fmla="val 4181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9E713849-6EB8-43E3-9F16-640B2C16B7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467" y="1090628"/>
            <a:ext cx="10011090" cy="632162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>
              <a:buNone/>
              <a:defRPr sz="220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5691561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usiness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white goods&#10;&#10;Description automatically generated">
            <a:extLst>
              <a:ext uri="{FF2B5EF4-FFF2-40B4-BE49-F238E27FC236}">
                <a16:creationId xmlns:a16="http://schemas.microsoft.com/office/drawing/2014/main" xmlns="" id="{30728FBD-F441-8B1F-B4ED-6450C59FE5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30269DC-591D-B944-A479-80E360E756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4404" y="3834884"/>
            <a:ext cx="5133724" cy="658717"/>
          </a:xfrm>
        </p:spPr>
        <p:txBody>
          <a:bodyPr lIns="91440" tIns="45720" rIns="91440" bIns="45720">
            <a:noAutofit/>
          </a:bodyPr>
          <a:lstStyle>
            <a:lvl1pPr marL="0" indent="0" algn="r">
              <a:buNone/>
              <a:defRPr sz="2400" b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(Arial 24pt)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2F7201-0FDA-CE47-A9F3-7594A2B9A9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4404" y="2574295"/>
            <a:ext cx="5133724" cy="1237410"/>
          </a:xfrm>
        </p:spPr>
        <p:txBody>
          <a:bodyPr lIns="91440" tIns="45720" rIns="91440" bIns="45720" anchor="b">
            <a:noAutofit/>
          </a:bodyPr>
          <a:lstStyle>
            <a:lvl1pPr algn="r">
              <a:defRPr sz="4000" b="0" i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40pt)</a:t>
            </a:r>
            <a:endParaRPr lang="x-none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34CD8CA3-5701-B8D0-EC2D-7AD8E6D8158A}"/>
              </a:ext>
            </a:extLst>
          </p:cNvPr>
          <p:cNvGrpSpPr/>
          <p:nvPr userDrawn="1"/>
        </p:nvGrpSpPr>
        <p:grpSpPr>
          <a:xfrm>
            <a:off x="9387557" y="3323005"/>
            <a:ext cx="2184530" cy="319082"/>
            <a:chOff x="9387557" y="3323005"/>
            <a:chExt cx="2184530" cy="319082"/>
          </a:xfrm>
        </p:grpSpPr>
        <p:grpSp>
          <p:nvGrpSpPr>
            <p:cNvPr id="6" name="Picture 7">
              <a:extLst>
                <a:ext uri="{FF2B5EF4-FFF2-40B4-BE49-F238E27FC236}">
                  <a16:creationId xmlns:a16="http://schemas.microsoft.com/office/drawing/2014/main" xmlns="" id="{694D08D0-C616-F4AA-F6FD-3ECEA6F4E22E}"/>
                </a:ext>
              </a:extLst>
            </p:cNvPr>
            <p:cNvGrpSpPr/>
            <p:nvPr/>
          </p:nvGrpSpPr>
          <p:grpSpPr>
            <a:xfrm>
              <a:off x="9387557" y="3323005"/>
              <a:ext cx="2184530" cy="314756"/>
              <a:chOff x="9387557" y="3323005"/>
              <a:chExt cx="2184530" cy="314756"/>
            </a:xfrm>
            <a:solidFill>
              <a:srgbClr val="28509C"/>
            </a:solidFill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56B07982-9E47-3520-D16F-081E7998D5E4}"/>
                  </a:ext>
                </a:extLst>
              </p:cNvPr>
              <p:cNvSpPr/>
              <p:nvPr/>
            </p:nvSpPr>
            <p:spPr>
              <a:xfrm>
                <a:off x="10500022" y="3323005"/>
                <a:ext cx="270122" cy="308340"/>
              </a:xfrm>
              <a:custGeom>
                <a:avLst/>
                <a:gdLst>
                  <a:gd name="connsiteX0" fmla="*/ 135025 w 270122"/>
                  <a:gd name="connsiteY0" fmla="*/ 0 h 308340"/>
                  <a:gd name="connsiteX1" fmla="*/ 0 w 270122"/>
                  <a:gd name="connsiteY1" fmla="*/ 308341 h 308340"/>
                  <a:gd name="connsiteX2" fmla="*/ 28949 w 270122"/>
                  <a:gd name="connsiteY2" fmla="*/ 308341 h 308340"/>
                  <a:gd name="connsiteX3" fmla="*/ 76262 w 270122"/>
                  <a:gd name="connsiteY3" fmla="*/ 200274 h 308340"/>
                  <a:gd name="connsiteX4" fmla="*/ 193933 w 270122"/>
                  <a:gd name="connsiteY4" fmla="*/ 200274 h 308340"/>
                  <a:gd name="connsiteX5" fmla="*/ 241533 w 270122"/>
                  <a:gd name="connsiteY5" fmla="*/ 308341 h 308340"/>
                  <a:gd name="connsiteX6" fmla="*/ 270123 w 270122"/>
                  <a:gd name="connsiteY6" fmla="*/ 308341 h 308340"/>
                  <a:gd name="connsiteX7" fmla="*/ 135025 w 270122"/>
                  <a:gd name="connsiteY7" fmla="*/ 0 h 308340"/>
                  <a:gd name="connsiteX8" fmla="*/ 87640 w 270122"/>
                  <a:gd name="connsiteY8" fmla="*/ 174104 h 308340"/>
                  <a:gd name="connsiteX9" fmla="*/ 134809 w 270122"/>
                  <a:gd name="connsiteY9" fmla="*/ 66181 h 308340"/>
                  <a:gd name="connsiteX10" fmla="*/ 182338 w 270122"/>
                  <a:gd name="connsiteY10" fmla="*/ 174104 h 308340"/>
                  <a:gd name="connsiteX11" fmla="*/ 87568 w 270122"/>
                  <a:gd name="connsiteY11" fmla="*/ 174104 h 30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0122" h="308340">
                    <a:moveTo>
                      <a:pt x="135025" y="0"/>
                    </a:moveTo>
                    <a:lnTo>
                      <a:pt x="0" y="308341"/>
                    </a:lnTo>
                    <a:lnTo>
                      <a:pt x="28949" y="308341"/>
                    </a:lnTo>
                    <a:lnTo>
                      <a:pt x="76262" y="200274"/>
                    </a:lnTo>
                    <a:lnTo>
                      <a:pt x="193933" y="200274"/>
                    </a:lnTo>
                    <a:lnTo>
                      <a:pt x="241533" y="308341"/>
                    </a:lnTo>
                    <a:lnTo>
                      <a:pt x="270123" y="308341"/>
                    </a:lnTo>
                    <a:lnTo>
                      <a:pt x="135025" y="0"/>
                    </a:lnTo>
                    <a:close/>
                    <a:moveTo>
                      <a:pt x="87640" y="174104"/>
                    </a:moveTo>
                    <a:lnTo>
                      <a:pt x="134809" y="66181"/>
                    </a:lnTo>
                    <a:lnTo>
                      <a:pt x="182338" y="174104"/>
                    </a:lnTo>
                    <a:lnTo>
                      <a:pt x="87568" y="174104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xmlns="" id="{AAE2622E-A004-4CE1-ACDB-4174CB87E6CD}"/>
                  </a:ext>
                </a:extLst>
              </p:cNvPr>
              <p:cNvSpPr/>
              <p:nvPr/>
            </p:nvSpPr>
            <p:spPr>
              <a:xfrm>
                <a:off x="11126107" y="3329421"/>
                <a:ext cx="26140" cy="301852"/>
              </a:xfrm>
              <a:custGeom>
                <a:avLst/>
                <a:gdLst>
                  <a:gd name="connsiteX0" fmla="*/ 0 w 26140"/>
                  <a:gd name="connsiteY0" fmla="*/ 0 h 301852"/>
                  <a:gd name="connsiteX1" fmla="*/ 26141 w 26140"/>
                  <a:gd name="connsiteY1" fmla="*/ 0 h 301852"/>
                  <a:gd name="connsiteX2" fmla="*/ 26141 w 26140"/>
                  <a:gd name="connsiteY2" fmla="*/ 301852 h 301852"/>
                  <a:gd name="connsiteX3" fmla="*/ 0 w 26140"/>
                  <a:gd name="connsiteY3" fmla="*/ 301852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40" h="301852">
                    <a:moveTo>
                      <a:pt x="0" y="0"/>
                    </a:moveTo>
                    <a:lnTo>
                      <a:pt x="26141" y="0"/>
                    </a:lnTo>
                    <a:lnTo>
                      <a:pt x="26141" y="301852"/>
                    </a:lnTo>
                    <a:lnTo>
                      <a:pt x="0" y="30185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096F5F9B-6993-F225-A518-5BC19EC4A6AE}"/>
                  </a:ext>
                </a:extLst>
              </p:cNvPr>
              <p:cNvSpPr/>
              <p:nvPr/>
            </p:nvSpPr>
            <p:spPr>
              <a:xfrm>
                <a:off x="10168471" y="3323509"/>
                <a:ext cx="276820" cy="307763"/>
              </a:xfrm>
              <a:custGeom>
                <a:avLst/>
                <a:gdLst>
                  <a:gd name="connsiteX0" fmla="*/ 137762 w 276820"/>
                  <a:gd name="connsiteY0" fmla="*/ 139139 h 307763"/>
                  <a:gd name="connsiteX1" fmla="*/ 0 w 276820"/>
                  <a:gd name="connsiteY1" fmla="*/ 144 h 307763"/>
                  <a:gd name="connsiteX2" fmla="*/ 144 w 276820"/>
                  <a:gd name="connsiteY2" fmla="*/ 307764 h 307763"/>
                  <a:gd name="connsiteX3" fmla="*/ 26285 w 276820"/>
                  <a:gd name="connsiteY3" fmla="*/ 307764 h 307763"/>
                  <a:gd name="connsiteX4" fmla="*/ 26285 w 276820"/>
                  <a:gd name="connsiteY4" fmla="*/ 63946 h 307763"/>
                  <a:gd name="connsiteX5" fmla="*/ 137474 w 276820"/>
                  <a:gd name="connsiteY5" fmla="*/ 176555 h 307763"/>
                  <a:gd name="connsiteX6" fmla="*/ 250679 w 276820"/>
                  <a:gd name="connsiteY6" fmla="*/ 63370 h 307763"/>
                  <a:gd name="connsiteX7" fmla="*/ 250679 w 276820"/>
                  <a:gd name="connsiteY7" fmla="*/ 307764 h 307763"/>
                  <a:gd name="connsiteX8" fmla="*/ 276820 w 276820"/>
                  <a:gd name="connsiteY8" fmla="*/ 307764 h 307763"/>
                  <a:gd name="connsiteX9" fmla="*/ 276820 w 276820"/>
                  <a:gd name="connsiteY9" fmla="*/ 0 h 307763"/>
                  <a:gd name="connsiteX10" fmla="*/ 137762 w 276820"/>
                  <a:gd name="connsiteY10" fmla="*/ 139139 h 30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6820" h="307763">
                    <a:moveTo>
                      <a:pt x="137762" y="139139"/>
                    </a:moveTo>
                    <a:lnTo>
                      <a:pt x="0" y="144"/>
                    </a:lnTo>
                    <a:lnTo>
                      <a:pt x="144" y="307764"/>
                    </a:lnTo>
                    <a:lnTo>
                      <a:pt x="26285" y="307764"/>
                    </a:lnTo>
                    <a:lnTo>
                      <a:pt x="26285" y="63946"/>
                    </a:lnTo>
                    <a:lnTo>
                      <a:pt x="137474" y="176555"/>
                    </a:lnTo>
                    <a:lnTo>
                      <a:pt x="250679" y="63370"/>
                    </a:lnTo>
                    <a:lnTo>
                      <a:pt x="250679" y="307764"/>
                    </a:lnTo>
                    <a:lnTo>
                      <a:pt x="276820" y="307764"/>
                    </a:lnTo>
                    <a:lnTo>
                      <a:pt x="276820" y="0"/>
                    </a:lnTo>
                    <a:lnTo>
                      <a:pt x="137762" y="13913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ACD5CFEB-8CB8-B0AB-C429-38CD24EEA3C2}"/>
                  </a:ext>
                </a:extLst>
              </p:cNvPr>
              <p:cNvSpPr/>
              <p:nvPr/>
            </p:nvSpPr>
            <p:spPr>
              <a:xfrm>
                <a:off x="11259260" y="3324302"/>
                <a:ext cx="228210" cy="313459"/>
              </a:xfrm>
              <a:custGeom>
                <a:avLst/>
                <a:gdLst>
                  <a:gd name="connsiteX0" fmla="*/ 201998 w 228210"/>
                  <a:gd name="connsiteY0" fmla="*/ 5119 h 313459"/>
                  <a:gd name="connsiteX1" fmla="*/ 201998 w 228210"/>
                  <a:gd name="connsiteY1" fmla="*/ 240213 h 313459"/>
                  <a:gd name="connsiteX2" fmla="*/ 0 w 228210"/>
                  <a:gd name="connsiteY2" fmla="*/ 0 h 313459"/>
                  <a:gd name="connsiteX3" fmla="*/ 0 w 228210"/>
                  <a:gd name="connsiteY3" fmla="*/ 41814 h 313459"/>
                  <a:gd name="connsiteX4" fmla="*/ 0 w 228210"/>
                  <a:gd name="connsiteY4" fmla="*/ 306971 h 313459"/>
                  <a:gd name="connsiteX5" fmla="*/ 26141 w 228210"/>
                  <a:gd name="connsiteY5" fmla="*/ 306971 h 313459"/>
                  <a:gd name="connsiteX6" fmla="*/ 26141 w 228210"/>
                  <a:gd name="connsiteY6" fmla="*/ 72958 h 313459"/>
                  <a:gd name="connsiteX7" fmla="*/ 228211 w 228210"/>
                  <a:gd name="connsiteY7" fmla="*/ 313459 h 313459"/>
                  <a:gd name="connsiteX8" fmla="*/ 228211 w 228210"/>
                  <a:gd name="connsiteY8" fmla="*/ 5119 h 313459"/>
                  <a:gd name="connsiteX9" fmla="*/ 201998 w 228210"/>
                  <a:gd name="connsiteY9" fmla="*/ 5119 h 31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210" h="313459">
                    <a:moveTo>
                      <a:pt x="201998" y="5119"/>
                    </a:moveTo>
                    <a:lnTo>
                      <a:pt x="201998" y="240213"/>
                    </a:lnTo>
                    <a:lnTo>
                      <a:pt x="0" y="0"/>
                    </a:lnTo>
                    <a:lnTo>
                      <a:pt x="0" y="41814"/>
                    </a:lnTo>
                    <a:lnTo>
                      <a:pt x="0" y="306971"/>
                    </a:lnTo>
                    <a:lnTo>
                      <a:pt x="26141" y="306971"/>
                    </a:lnTo>
                    <a:lnTo>
                      <a:pt x="26141" y="72958"/>
                    </a:lnTo>
                    <a:lnTo>
                      <a:pt x="228211" y="313459"/>
                    </a:lnTo>
                    <a:lnTo>
                      <a:pt x="228211" y="5119"/>
                    </a:lnTo>
                    <a:lnTo>
                      <a:pt x="201998" y="511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75A41AB4-05CE-513F-7FE1-11970F94D1F6}"/>
                  </a:ext>
                </a:extLst>
              </p:cNvPr>
              <p:cNvSpPr/>
              <p:nvPr/>
            </p:nvSpPr>
            <p:spPr>
              <a:xfrm>
                <a:off x="10827179" y="3329637"/>
                <a:ext cx="218993" cy="301780"/>
              </a:xfrm>
              <a:custGeom>
                <a:avLst/>
                <a:gdLst>
                  <a:gd name="connsiteX0" fmla="*/ 189468 w 218993"/>
                  <a:gd name="connsiteY0" fmla="*/ 301780 h 301780"/>
                  <a:gd name="connsiteX1" fmla="*/ 218993 w 218993"/>
                  <a:gd name="connsiteY1" fmla="*/ 301780 h 301780"/>
                  <a:gd name="connsiteX2" fmla="*/ 146692 w 218993"/>
                  <a:gd name="connsiteY2" fmla="*/ 160478 h 301780"/>
                  <a:gd name="connsiteX3" fmla="*/ 206319 w 218993"/>
                  <a:gd name="connsiteY3" fmla="*/ 89467 h 301780"/>
                  <a:gd name="connsiteX4" fmla="*/ 206391 w 218993"/>
                  <a:gd name="connsiteY4" fmla="*/ 89467 h 301780"/>
                  <a:gd name="connsiteX5" fmla="*/ 206391 w 218993"/>
                  <a:gd name="connsiteY5" fmla="*/ 87809 h 301780"/>
                  <a:gd name="connsiteX6" fmla="*/ 206679 w 218993"/>
                  <a:gd name="connsiteY6" fmla="*/ 82979 h 301780"/>
                  <a:gd name="connsiteX7" fmla="*/ 206391 w 218993"/>
                  <a:gd name="connsiteY7" fmla="*/ 82979 h 301780"/>
                  <a:gd name="connsiteX8" fmla="*/ 206391 w 218993"/>
                  <a:gd name="connsiteY8" fmla="*/ 80167 h 301780"/>
                  <a:gd name="connsiteX9" fmla="*/ 206679 w 218993"/>
                  <a:gd name="connsiteY9" fmla="*/ 80167 h 301780"/>
                  <a:gd name="connsiteX10" fmla="*/ 206391 w 218993"/>
                  <a:gd name="connsiteY10" fmla="*/ 75265 h 301780"/>
                  <a:gd name="connsiteX11" fmla="*/ 206391 w 218993"/>
                  <a:gd name="connsiteY11" fmla="*/ 75265 h 301780"/>
                  <a:gd name="connsiteX12" fmla="*/ 126600 w 218993"/>
                  <a:gd name="connsiteY12" fmla="*/ 0 h 301780"/>
                  <a:gd name="connsiteX13" fmla="*/ 0 w 218993"/>
                  <a:gd name="connsiteY13" fmla="*/ 0 h 301780"/>
                  <a:gd name="connsiteX14" fmla="*/ 0 w 218993"/>
                  <a:gd name="connsiteY14" fmla="*/ 301708 h 301780"/>
                  <a:gd name="connsiteX15" fmla="*/ 26141 w 218993"/>
                  <a:gd name="connsiteY15" fmla="*/ 301708 h 301780"/>
                  <a:gd name="connsiteX16" fmla="*/ 26141 w 218993"/>
                  <a:gd name="connsiteY16" fmla="*/ 163002 h 301780"/>
                  <a:gd name="connsiteX17" fmla="*/ 118390 w 218993"/>
                  <a:gd name="connsiteY17" fmla="*/ 163002 h 301780"/>
                  <a:gd name="connsiteX18" fmla="*/ 189468 w 218993"/>
                  <a:gd name="connsiteY18" fmla="*/ 301780 h 301780"/>
                  <a:gd name="connsiteX19" fmla="*/ 26141 w 218993"/>
                  <a:gd name="connsiteY19" fmla="*/ 26242 h 301780"/>
                  <a:gd name="connsiteX20" fmla="*/ 126600 w 218993"/>
                  <a:gd name="connsiteY20" fmla="*/ 26242 h 301780"/>
                  <a:gd name="connsiteX21" fmla="*/ 180250 w 218993"/>
                  <a:gd name="connsiteY21" fmla="*/ 79014 h 301780"/>
                  <a:gd name="connsiteX22" fmla="*/ 180250 w 218993"/>
                  <a:gd name="connsiteY22" fmla="*/ 83988 h 301780"/>
                  <a:gd name="connsiteX23" fmla="*/ 126600 w 218993"/>
                  <a:gd name="connsiteY23" fmla="*/ 136688 h 301780"/>
                  <a:gd name="connsiteX24" fmla="*/ 126600 w 218993"/>
                  <a:gd name="connsiteY24" fmla="*/ 136688 h 301780"/>
                  <a:gd name="connsiteX25" fmla="*/ 26141 w 218993"/>
                  <a:gd name="connsiteY25" fmla="*/ 136760 h 301780"/>
                  <a:gd name="connsiteX26" fmla="*/ 26141 w 218993"/>
                  <a:gd name="connsiteY26" fmla="*/ 26242 h 301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8993" h="301780">
                    <a:moveTo>
                      <a:pt x="189468" y="301780"/>
                    </a:moveTo>
                    <a:lnTo>
                      <a:pt x="218993" y="301780"/>
                    </a:lnTo>
                    <a:cubicBezTo>
                      <a:pt x="218993" y="301780"/>
                      <a:pt x="146692" y="160478"/>
                      <a:pt x="146692" y="160478"/>
                    </a:cubicBezTo>
                    <a:cubicBezTo>
                      <a:pt x="179098" y="152044"/>
                      <a:pt x="203582" y="123855"/>
                      <a:pt x="206319" y="89467"/>
                    </a:cubicBezTo>
                    <a:lnTo>
                      <a:pt x="206391" y="89467"/>
                    </a:lnTo>
                    <a:lnTo>
                      <a:pt x="206391" y="87809"/>
                    </a:lnTo>
                    <a:cubicBezTo>
                      <a:pt x="206463" y="86223"/>
                      <a:pt x="206679" y="84565"/>
                      <a:pt x="206679" y="82979"/>
                    </a:cubicBezTo>
                    <a:lnTo>
                      <a:pt x="206391" y="82979"/>
                    </a:lnTo>
                    <a:lnTo>
                      <a:pt x="206391" y="80167"/>
                    </a:lnTo>
                    <a:lnTo>
                      <a:pt x="206679" y="80167"/>
                    </a:lnTo>
                    <a:cubicBezTo>
                      <a:pt x="206679" y="78509"/>
                      <a:pt x="206535" y="76923"/>
                      <a:pt x="206391" y="75265"/>
                    </a:cubicBezTo>
                    <a:lnTo>
                      <a:pt x="206391" y="75265"/>
                    </a:lnTo>
                    <a:cubicBezTo>
                      <a:pt x="203798" y="33235"/>
                      <a:pt x="169160" y="0"/>
                      <a:pt x="126600" y="0"/>
                    </a:cubicBezTo>
                    <a:lnTo>
                      <a:pt x="0" y="0"/>
                    </a:lnTo>
                    <a:lnTo>
                      <a:pt x="0" y="301708"/>
                    </a:lnTo>
                    <a:lnTo>
                      <a:pt x="26141" y="301708"/>
                    </a:lnTo>
                    <a:lnTo>
                      <a:pt x="26141" y="163002"/>
                    </a:lnTo>
                    <a:lnTo>
                      <a:pt x="118390" y="163002"/>
                    </a:lnTo>
                    <a:lnTo>
                      <a:pt x="189468" y="301780"/>
                    </a:lnTo>
                    <a:close/>
                    <a:moveTo>
                      <a:pt x="26141" y="26242"/>
                    </a:moveTo>
                    <a:lnTo>
                      <a:pt x="126600" y="26242"/>
                    </a:lnTo>
                    <a:cubicBezTo>
                      <a:pt x="155909" y="26242"/>
                      <a:pt x="179674" y="49816"/>
                      <a:pt x="180250" y="79014"/>
                    </a:cubicBezTo>
                    <a:lnTo>
                      <a:pt x="180250" y="83988"/>
                    </a:lnTo>
                    <a:cubicBezTo>
                      <a:pt x="179674" y="113186"/>
                      <a:pt x="155909" y="136688"/>
                      <a:pt x="126600" y="136688"/>
                    </a:cubicBezTo>
                    <a:lnTo>
                      <a:pt x="126600" y="136688"/>
                    </a:lnTo>
                    <a:cubicBezTo>
                      <a:pt x="126600" y="136688"/>
                      <a:pt x="26141" y="136760"/>
                      <a:pt x="26141" y="136760"/>
                    </a:cubicBezTo>
                    <a:lnTo>
                      <a:pt x="26141" y="2624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4914365E-FCBF-0C97-0BB1-017E11B152CB}"/>
                  </a:ext>
                </a:extLst>
              </p:cNvPr>
              <p:cNvSpPr/>
              <p:nvPr/>
            </p:nvSpPr>
            <p:spPr>
              <a:xfrm>
                <a:off x="9387557" y="3329493"/>
                <a:ext cx="212944" cy="301852"/>
              </a:xfrm>
              <a:custGeom>
                <a:avLst/>
                <a:gdLst>
                  <a:gd name="connsiteX0" fmla="*/ 212656 w 212944"/>
                  <a:gd name="connsiteY0" fmla="*/ 212818 h 301852"/>
                  <a:gd name="connsiteX1" fmla="*/ 201422 w 212944"/>
                  <a:gd name="connsiteY1" fmla="*/ 173455 h 301852"/>
                  <a:gd name="connsiteX2" fmla="*/ 174273 w 212944"/>
                  <a:gd name="connsiteY2" fmla="*/ 147358 h 301852"/>
                  <a:gd name="connsiteX3" fmla="*/ 206247 w 212944"/>
                  <a:gd name="connsiteY3" fmla="*/ 89539 h 301852"/>
                  <a:gd name="connsiteX4" fmla="*/ 206319 w 212944"/>
                  <a:gd name="connsiteY4" fmla="*/ 89539 h 301852"/>
                  <a:gd name="connsiteX5" fmla="*/ 206319 w 212944"/>
                  <a:gd name="connsiteY5" fmla="*/ 87881 h 301852"/>
                  <a:gd name="connsiteX6" fmla="*/ 206535 w 212944"/>
                  <a:gd name="connsiteY6" fmla="*/ 83051 h 301852"/>
                  <a:gd name="connsiteX7" fmla="*/ 206319 w 212944"/>
                  <a:gd name="connsiteY7" fmla="*/ 83051 h 301852"/>
                  <a:gd name="connsiteX8" fmla="*/ 206319 w 212944"/>
                  <a:gd name="connsiteY8" fmla="*/ 80239 h 301852"/>
                  <a:gd name="connsiteX9" fmla="*/ 206535 w 212944"/>
                  <a:gd name="connsiteY9" fmla="*/ 80239 h 301852"/>
                  <a:gd name="connsiteX10" fmla="*/ 206319 w 212944"/>
                  <a:gd name="connsiteY10" fmla="*/ 75337 h 301852"/>
                  <a:gd name="connsiteX11" fmla="*/ 206319 w 212944"/>
                  <a:gd name="connsiteY11" fmla="*/ 75337 h 301852"/>
                  <a:gd name="connsiteX12" fmla="*/ 206319 w 212944"/>
                  <a:gd name="connsiteY12" fmla="*/ 75265 h 301852"/>
                  <a:gd name="connsiteX13" fmla="*/ 126456 w 212944"/>
                  <a:gd name="connsiteY13" fmla="*/ 72 h 301852"/>
                  <a:gd name="connsiteX14" fmla="*/ 126456 w 212944"/>
                  <a:gd name="connsiteY14" fmla="*/ 216 h 301852"/>
                  <a:gd name="connsiteX15" fmla="*/ 0 w 212944"/>
                  <a:gd name="connsiteY15" fmla="*/ 0 h 301852"/>
                  <a:gd name="connsiteX16" fmla="*/ 0 w 212944"/>
                  <a:gd name="connsiteY16" fmla="*/ 301852 h 301852"/>
                  <a:gd name="connsiteX17" fmla="*/ 131425 w 212944"/>
                  <a:gd name="connsiteY17" fmla="*/ 301852 h 301852"/>
                  <a:gd name="connsiteX18" fmla="*/ 212800 w 212944"/>
                  <a:gd name="connsiteY18" fmla="*/ 221541 h 301852"/>
                  <a:gd name="connsiteX19" fmla="*/ 212944 w 212944"/>
                  <a:gd name="connsiteY19" fmla="*/ 221541 h 301852"/>
                  <a:gd name="connsiteX20" fmla="*/ 212944 w 212944"/>
                  <a:gd name="connsiteY20" fmla="*/ 212818 h 301852"/>
                  <a:gd name="connsiteX21" fmla="*/ 212800 w 212944"/>
                  <a:gd name="connsiteY21" fmla="*/ 212818 h 301852"/>
                  <a:gd name="connsiteX22" fmla="*/ 126528 w 212944"/>
                  <a:gd name="connsiteY22" fmla="*/ 26386 h 301852"/>
                  <a:gd name="connsiteX23" fmla="*/ 126528 w 212944"/>
                  <a:gd name="connsiteY23" fmla="*/ 26386 h 301852"/>
                  <a:gd name="connsiteX24" fmla="*/ 180250 w 212944"/>
                  <a:gd name="connsiteY24" fmla="*/ 79302 h 301852"/>
                  <a:gd name="connsiteX25" fmla="*/ 180250 w 212944"/>
                  <a:gd name="connsiteY25" fmla="*/ 83988 h 301852"/>
                  <a:gd name="connsiteX26" fmla="*/ 126528 w 212944"/>
                  <a:gd name="connsiteY26" fmla="*/ 137048 h 301852"/>
                  <a:gd name="connsiteX27" fmla="*/ 26141 w 212944"/>
                  <a:gd name="connsiteY27" fmla="*/ 137048 h 301852"/>
                  <a:gd name="connsiteX28" fmla="*/ 26141 w 212944"/>
                  <a:gd name="connsiteY28" fmla="*/ 26386 h 301852"/>
                  <a:gd name="connsiteX29" fmla="*/ 126528 w 212944"/>
                  <a:gd name="connsiteY29" fmla="*/ 26386 h 301852"/>
                  <a:gd name="connsiteX30" fmla="*/ 186659 w 212944"/>
                  <a:gd name="connsiteY30" fmla="*/ 220171 h 301852"/>
                  <a:gd name="connsiteX31" fmla="*/ 186443 w 212944"/>
                  <a:gd name="connsiteY31" fmla="*/ 220171 h 301852"/>
                  <a:gd name="connsiteX32" fmla="*/ 130921 w 212944"/>
                  <a:gd name="connsiteY32" fmla="*/ 275755 h 301852"/>
                  <a:gd name="connsiteX33" fmla="*/ 130921 w 212944"/>
                  <a:gd name="connsiteY33" fmla="*/ 275755 h 301852"/>
                  <a:gd name="connsiteX34" fmla="*/ 26141 w 212944"/>
                  <a:gd name="connsiteY34" fmla="*/ 275755 h 301852"/>
                  <a:gd name="connsiteX35" fmla="*/ 26141 w 212944"/>
                  <a:gd name="connsiteY35" fmla="*/ 163362 h 301852"/>
                  <a:gd name="connsiteX36" fmla="*/ 134593 w 212944"/>
                  <a:gd name="connsiteY36" fmla="*/ 163795 h 301852"/>
                  <a:gd name="connsiteX37" fmla="*/ 134593 w 212944"/>
                  <a:gd name="connsiteY37" fmla="*/ 163795 h 301852"/>
                  <a:gd name="connsiteX38" fmla="*/ 179458 w 212944"/>
                  <a:gd name="connsiteY38" fmla="*/ 187946 h 301852"/>
                  <a:gd name="connsiteX39" fmla="*/ 186515 w 212944"/>
                  <a:gd name="connsiteY39" fmla="*/ 214836 h 301852"/>
                  <a:gd name="connsiteX40" fmla="*/ 186731 w 212944"/>
                  <a:gd name="connsiteY40" fmla="*/ 214836 h 301852"/>
                  <a:gd name="connsiteX41" fmla="*/ 186731 w 212944"/>
                  <a:gd name="connsiteY41" fmla="*/ 220171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12944" h="301852">
                    <a:moveTo>
                      <a:pt x="212656" y="212818"/>
                    </a:moveTo>
                    <a:cubicBezTo>
                      <a:pt x="212296" y="198183"/>
                      <a:pt x="208623" y="185134"/>
                      <a:pt x="201422" y="173455"/>
                    </a:cubicBezTo>
                    <a:cubicBezTo>
                      <a:pt x="194509" y="162425"/>
                      <a:pt x="185219" y="153558"/>
                      <a:pt x="174273" y="147358"/>
                    </a:cubicBezTo>
                    <a:cubicBezTo>
                      <a:pt x="192204" y="133948"/>
                      <a:pt x="204374" y="113186"/>
                      <a:pt x="206247" y="89539"/>
                    </a:cubicBezTo>
                    <a:lnTo>
                      <a:pt x="206319" y="89539"/>
                    </a:lnTo>
                    <a:lnTo>
                      <a:pt x="206319" y="87881"/>
                    </a:lnTo>
                    <a:cubicBezTo>
                      <a:pt x="206391" y="86295"/>
                      <a:pt x="206535" y="84637"/>
                      <a:pt x="206535" y="83051"/>
                    </a:cubicBezTo>
                    <a:lnTo>
                      <a:pt x="206319" y="83051"/>
                    </a:lnTo>
                    <a:lnTo>
                      <a:pt x="206319" y="80239"/>
                    </a:lnTo>
                    <a:lnTo>
                      <a:pt x="206535" y="80239"/>
                    </a:lnTo>
                    <a:cubicBezTo>
                      <a:pt x="206535" y="78581"/>
                      <a:pt x="206391" y="76995"/>
                      <a:pt x="206319" y="75337"/>
                    </a:cubicBezTo>
                    <a:lnTo>
                      <a:pt x="206319" y="75337"/>
                    </a:lnTo>
                    <a:cubicBezTo>
                      <a:pt x="206319" y="75337"/>
                      <a:pt x="206319" y="75265"/>
                      <a:pt x="206319" y="75265"/>
                    </a:cubicBezTo>
                    <a:cubicBezTo>
                      <a:pt x="203726" y="33307"/>
                      <a:pt x="169016" y="72"/>
                      <a:pt x="126456" y="72"/>
                    </a:cubicBezTo>
                    <a:lnTo>
                      <a:pt x="126456" y="216"/>
                    </a:lnTo>
                    <a:lnTo>
                      <a:pt x="0" y="0"/>
                    </a:lnTo>
                    <a:lnTo>
                      <a:pt x="0" y="301852"/>
                    </a:lnTo>
                    <a:lnTo>
                      <a:pt x="131425" y="301852"/>
                    </a:lnTo>
                    <a:cubicBezTo>
                      <a:pt x="175857" y="301564"/>
                      <a:pt x="211864" y="265878"/>
                      <a:pt x="212800" y="221541"/>
                    </a:cubicBezTo>
                    <a:lnTo>
                      <a:pt x="212944" y="221541"/>
                    </a:lnTo>
                    <a:lnTo>
                      <a:pt x="212944" y="212818"/>
                    </a:lnTo>
                    <a:lnTo>
                      <a:pt x="212800" y="212818"/>
                    </a:lnTo>
                    <a:close/>
                    <a:moveTo>
                      <a:pt x="126528" y="26386"/>
                    </a:moveTo>
                    <a:lnTo>
                      <a:pt x="126528" y="26386"/>
                    </a:lnTo>
                    <a:cubicBezTo>
                      <a:pt x="155909" y="26386"/>
                      <a:pt x="179746" y="50032"/>
                      <a:pt x="180250" y="79302"/>
                    </a:cubicBezTo>
                    <a:lnTo>
                      <a:pt x="180250" y="83988"/>
                    </a:lnTo>
                    <a:cubicBezTo>
                      <a:pt x="179746" y="113258"/>
                      <a:pt x="155909" y="137048"/>
                      <a:pt x="126528" y="137048"/>
                    </a:cubicBezTo>
                    <a:lnTo>
                      <a:pt x="26141" y="137048"/>
                    </a:lnTo>
                    <a:lnTo>
                      <a:pt x="26141" y="26386"/>
                    </a:lnTo>
                    <a:lnTo>
                      <a:pt x="126528" y="26386"/>
                    </a:lnTo>
                    <a:close/>
                    <a:moveTo>
                      <a:pt x="186659" y="220171"/>
                    </a:moveTo>
                    <a:lnTo>
                      <a:pt x="186443" y="220171"/>
                    </a:lnTo>
                    <a:cubicBezTo>
                      <a:pt x="186443" y="250883"/>
                      <a:pt x="161598" y="275755"/>
                      <a:pt x="130921" y="275755"/>
                    </a:cubicBezTo>
                    <a:lnTo>
                      <a:pt x="130921" y="275755"/>
                    </a:lnTo>
                    <a:cubicBezTo>
                      <a:pt x="130921" y="275755"/>
                      <a:pt x="26141" y="275755"/>
                      <a:pt x="26141" y="275755"/>
                    </a:cubicBezTo>
                    <a:lnTo>
                      <a:pt x="26141" y="163362"/>
                    </a:lnTo>
                    <a:lnTo>
                      <a:pt x="134593" y="163795"/>
                    </a:lnTo>
                    <a:lnTo>
                      <a:pt x="134593" y="163795"/>
                    </a:lnTo>
                    <a:cubicBezTo>
                      <a:pt x="153461" y="163795"/>
                      <a:pt x="169880" y="173095"/>
                      <a:pt x="179458" y="187946"/>
                    </a:cubicBezTo>
                    <a:cubicBezTo>
                      <a:pt x="183490" y="196381"/>
                      <a:pt x="186515" y="204888"/>
                      <a:pt x="186515" y="214836"/>
                    </a:cubicBezTo>
                    <a:lnTo>
                      <a:pt x="186731" y="214836"/>
                    </a:lnTo>
                    <a:lnTo>
                      <a:pt x="186731" y="220171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3470D9A2-CE19-4047-5C94-78C91D313B9A}"/>
                  </a:ext>
                </a:extLst>
              </p:cNvPr>
              <p:cNvSpPr/>
              <p:nvPr/>
            </p:nvSpPr>
            <p:spPr>
              <a:xfrm>
                <a:off x="9791480" y="3324302"/>
                <a:ext cx="311818" cy="312017"/>
              </a:xfrm>
              <a:custGeom>
                <a:avLst/>
                <a:gdLst>
                  <a:gd name="connsiteX0" fmla="*/ 1368 w 311818"/>
                  <a:gd name="connsiteY0" fmla="*/ 175618 h 312017"/>
                  <a:gd name="connsiteX1" fmla="*/ 155981 w 311818"/>
                  <a:gd name="connsiteY1" fmla="*/ 312017 h 312017"/>
                  <a:gd name="connsiteX2" fmla="*/ 310594 w 311818"/>
                  <a:gd name="connsiteY2" fmla="*/ 175546 h 312017"/>
                  <a:gd name="connsiteX3" fmla="*/ 311819 w 311818"/>
                  <a:gd name="connsiteY3" fmla="*/ 156513 h 312017"/>
                  <a:gd name="connsiteX4" fmla="*/ 310954 w 311818"/>
                  <a:gd name="connsiteY4" fmla="*/ 139499 h 312017"/>
                  <a:gd name="connsiteX5" fmla="*/ 155981 w 311818"/>
                  <a:gd name="connsiteY5" fmla="*/ 0 h 312017"/>
                  <a:gd name="connsiteX6" fmla="*/ 1008 w 311818"/>
                  <a:gd name="connsiteY6" fmla="*/ 139499 h 312017"/>
                  <a:gd name="connsiteX7" fmla="*/ 864 w 311818"/>
                  <a:gd name="connsiteY7" fmla="*/ 139499 h 312017"/>
                  <a:gd name="connsiteX8" fmla="*/ 0 w 311818"/>
                  <a:gd name="connsiteY8" fmla="*/ 156513 h 312017"/>
                  <a:gd name="connsiteX9" fmla="*/ 1224 w 311818"/>
                  <a:gd name="connsiteY9" fmla="*/ 175546 h 312017"/>
                  <a:gd name="connsiteX10" fmla="*/ 155981 w 311818"/>
                  <a:gd name="connsiteY10" fmla="*/ 285487 h 312017"/>
                  <a:gd name="connsiteX11" fmla="*/ 28085 w 311818"/>
                  <a:gd name="connsiteY11" fmla="*/ 175618 h 312017"/>
                  <a:gd name="connsiteX12" fmla="*/ 27941 w 311818"/>
                  <a:gd name="connsiteY12" fmla="*/ 175618 h 312017"/>
                  <a:gd name="connsiteX13" fmla="*/ 26501 w 311818"/>
                  <a:gd name="connsiteY13" fmla="*/ 156513 h 312017"/>
                  <a:gd name="connsiteX14" fmla="*/ 27509 w 311818"/>
                  <a:gd name="connsiteY14" fmla="*/ 140004 h 312017"/>
                  <a:gd name="connsiteX15" fmla="*/ 27581 w 311818"/>
                  <a:gd name="connsiteY15" fmla="*/ 140004 h 312017"/>
                  <a:gd name="connsiteX16" fmla="*/ 155909 w 311818"/>
                  <a:gd name="connsiteY16" fmla="*/ 26530 h 312017"/>
                  <a:gd name="connsiteX17" fmla="*/ 284165 w 311818"/>
                  <a:gd name="connsiteY17" fmla="*/ 139788 h 312017"/>
                  <a:gd name="connsiteX18" fmla="*/ 285246 w 311818"/>
                  <a:gd name="connsiteY18" fmla="*/ 156585 h 312017"/>
                  <a:gd name="connsiteX19" fmla="*/ 283805 w 311818"/>
                  <a:gd name="connsiteY19" fmla="*/ 175906 h 312017"/>
                  <a:gd name="connsiteX20" fmla="*/ 155909 w 311818"/>
                  <a:gd name="connsiteY20" fmla="*/ 285559 h 312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1818" h="312017">
                    <a:moveTo>
                      <a:pt x="1368" y="175618"/>
                    </a:moveTo>
                    <a:cubicBezTo>
                      <a:pt x="11018" y="252541"/>
                      <a:pt x="76550" y="312017"/>
                      <a:pt x="155981" y="312017"/>
                    </a:cubicBezTo>
                    <a:cubicBezTo>
                      <a:pt x="235412" y="312017"/>
                      <a:pt x="300945" y="252469"/>
                      <a:pt x="310594" y="175546"/>
                    </a:cubicBezTo>
                    <a:cubicBezTo>
                      <a:pt x="311315" y="169346"/>
                      <a:pt x="311819" y="162930"/>
                      <a:pt x="311819" y="156513"/>
                    </a:cubicBezTo>
                    <a:cubicBezTo>
                      <a:pt x="311819" y="150602"/>
                      <a:pt x="311603" y="145267"/>
                      <a:pt x="310954" y="139499"/>
                    </a:cubicBezTo>
                    <a:cubicBezTo>
                      <a:pt x="302889" y="60846"/>
                      <a:pt x="236636" y="0"/>
                      <a:pt x="155981" y="0"/>
                    </a:cubicBezTo>
                    <a:cubicBezTo>
                      <a:pt x="75326" y="0"/>
                      <a:pt x="9218" y="61135"/>
                      <a:pt x="1008" y="139499"/>
                    </a:cubicBezTo>
                    <a:lnTo>
                      <a:pt x="864" y="139499"/>
                    </a:lnTo>
                    <a:cubicBezTo>
                      <a:pt x="216" y="145267"/>
                      <a:pt x="0" y="150602"/>
                      <a:pt x="0" y="156513"/>
                    </a:cubicBezTo>
                    <a:cubicBezTo>
                      <a:pt x="0" y="162930"/>
                      <a:pt x="432" y="169346"/>
                      <a:pt x="1224" y="175546"/>
                    </a:cubicBezTo>
                    <a:moveTo>
                      <a:pt x="155981" y="285487"/>
                    </a:moveTo>
                    <a:cubicBezTo>
                      <a:pt x="91169" y="285487"/>
                      <a:pt x="37519" y="237834"/>
                      <a:pt x="28085" y="175618"/>
                    </a:cubicBezTo>
                    <a:lnTo>
                      <a:pt x="27941" y="175618"/>
                    </a:lnTo>
                    <a:cubicBezTo>
                      <a:pt x="27005" y="169346"/>
                      <a:pt x="26501" y="163074"/>
                      <a:pt x="26501" y="156513"/>
                    </a:cubicBezTo>
                    <a:cubicBezTo>
                      <a:pt x="26501" y="150818"/>
                      <a:pt x="26789" y="145483"/>
                      <a:pt x="27509" y="140004"/>
                    </a:cubicBezTo>
                    <a:lnTo>
                      <a:pt x="27581" y="140004"/>
                    </a:lnTo>
                    <a:cubicBezTo>
                      <a:pt x="35431" y="76058"/>
                      <a:pt x="89873" y="26530"/>
                      <a:pt x="155909" y="26530"/>
                    </a:cubicBezTo>
                    <a:cubicBezTo>
                      <a:pt x="221946" y="26530"/>
                      <a:pt x="276316" y="75769"/>
                      <a:pt x="284165" y="139788"/>
                    </a:cubicBezTo>
                    <a:cubicBezTo>
                      <a:pt x="284886" y="145411"/>
                      <a:pt x="285246" y="150818"/>
                      <a:pt x="285246" y="156585"/>
                    </a:cubicBezTo>
                    <a:cubicBezTo>
                      <a:pt x="285246" y="163218"/>
                      <a:pt x="284741" y="169562"/>
                      <a:pt x="283805" y="175906"/>
                    </a:cubicBezTo>
                    <a:cubicBezTo>
                      <a:pt x="274372" y="238122"/>
                      <a:pt x="220721" y="285559"/>
                      <a:pt x="155909" y="285559"/>
                    </a:cubicBez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E6F44602-0753-0A36-15FC-CE3CEC9DBA9C}"/>
                  </a:ext>
                </a:extLst>
              </p:cNvPr>
              <p:cNvSpPr/>
              <p:nvPr/>
            </p:nvSpPr>
            <p:spPr>
              <a:xfrm>
                <a:off x="11529743" y="3323653"/>
                <a:ext cx="42343" cy="42390"/>
              </a:xfrm>
              <a:custGeom>
                <a:avLst/>
                <a:gdLst>
                  <a:gd name="connsiteX0" fmla="*/ 0 w 42343"/>
                  <a:gd name="connsiteY0" fmla="*/ 21123 h 42390"/>
                  <a:gd name="connsiteX1" fmla="*/ 21244 w 42343"/>
                  <a:gd name="connsiteY1" fmla="*/ 0 h 42390"/>
                  <a:gd name="connsiteX2" fmla="*/ 42344 w 42343"/>
                  <a:gd name="connsiteY2" fmla="*/ 21123 h 42390"/>
                  <a:gd name="connsiteX3" fmla="*/ 21244 w 42343"/>
                  <a:gd name="connsiteY3" fmla="*/ 42391 h 42390"/>
                  <a:gd name="connsiteX4" fmla="*/ 0 w 42343"/>
                  <a:gd name="connsiteY4" fmla="*/ 21123 h 42390"/>
                  <a:gd name="connsiteX5" fmla="*/ 38959 w 42343"/>
                  <a:gd name="connsiteY5" fmla="*/ 21123 h 42390"/>
                  <a:gd name="connsiteX6" fmla="*/ 21244 w 42343"/>
                  <a:gd name="connsiteY6" fmla="*/ 2812 h 42390"/>
                  <a:gd name="connsiteX7" fmla="*/ 3385 w 42343"/>
                  <a:gd name="connsiteY7" fmla="*/ 21123 h 42390"/>
                  <a:gd name="connsiteX8" fmla="*/ 21244 w 42343"/>
                  <a:gd name="connsiteY8" fmla="*/ 39579 h 42390"/>
                  <a:gd name="connsiteX9" fmla="*/ 38959 w 42343"/>
                  <a:gd name="connsiteY9" fmla="*/ 21123 h 42390"/>
                  <a:gd name="connsiteX10" fmla="*/ 31758 w 42343"/>
                  <a:gd name="connsiteY10" fmla="*/ 32946 h 42390"/>
                  <a:gd name="connsiteX11" fmla="*/ 28301 w 42343"/>
                  <a:gd name="connsiteY11" fmla="*/ 32946 h 42390"/>
                  <a:gd name="connsiteX12" fmla="*/ 21532 w 42343"/>
                  <a:gd name="connsiteY12" fmla="*/ 22060 h 42390"/>
                  <a:gd name="connsiteX13" fmla="*/ 16203 w 42343"/>
                  <a:gd name="connsiteY13" fmla="*/ 22060 h 42390"/>
                  <a:gd name="connsiteX14" fmla="*/ 16203 w 42343"/>
                  <a:gd name="connsiteY14" fmla="*/ 32946 h 42390"/>
                  <a:gd name="connsiteX15" fmla="*/ 13323 w 42343"/>
                  <a:gd name="connsiteY15" fmla="*/ 32946 h 42390"/>
                  <a:gd name="connsiteX16" fmla="*/ 13323 w 42343"/>
                  <a:gd name="connsiteY16" fmla="*/ 9300 h 42390"/>
                  <a:gd name="connsiteX17" fmla="*/ 23693 w 42343"/>
                  <a:gd name="connsiteY17" fmla="*/ 9300 h 42390"/>
                  <a:gd name="connsiteX18" fmla="*/ 32046 w 42343"/>
                  <a:gd name="connsiteY18" fmla="*/ 15572 h 42390"/>
                  <a:gd name="connsiteX19" fmla="*/ 24629 w 42343"/>
                  <a:gd name="connsiteY19" fmla="*/ 22060 h 42390"/>
                  <a:gd name="connsiteX20" fmla="*/ 31758 w 42343"/>
                  <a:gd name="connsiteY20" fmla="*/ 32946 h 42390"/>
                  <a:gd name="connsiteX21" fmla="*/ 20668 w 42343"/>
                  <a:gd name="connsiteY21" fmla="*/ 19753 h 42390"/>
                  <a:gd name="connsiteX22" fmla="*/ 28949 w 42343"/>
                  <a:gd name="connsiteY22" fmla="*/ 15500 h 42390"/>
                  <a:gd name="connsiteX23" fmla="*/ 23044 w 42343"/>
                  <a:gd name="connsiteY23" fmla="*/ 11391 h 42390"/>
                  <a:gd name="connsiteX24" fmla="*/ 16275 w 42343"/>
                  <a:gd name="connsiteY24" fmla="*/ 11391 h 42390"/>
                  <a:gd name="connsiteX25" fmla="*/ 16275 w 42343"/>
                  <a:gd name="connsiteY25" fmla="*/ 19753 h 42390"/>
                  <a:gd name="connsiteX26" fmla="*/ 20668 w 42343"/>
                  <a:gd name="connsiteY26" fmla="*/ 19753 h 4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2343" h="42390">
                    <a:moveTo>
                      <a:pt x="0" y="21123"/>
                    </a:moveTo>
                    <a:cubicBezTo>
                      <a:pt x="0" y="9516"/>
                      <a:pt x="9506" y="0"/>
                      <a:pt x="21244" y="0"/>
                    </a:cubicBezTo>
                    <a:cubicBezTo>
                      <a:pt x="32982" y="0"/>
                      <a:pt x="42344" y="9516"/>
                      <a:pt x="42344" y="21123"/>
                    </a:cubicBezTo>
                    <a:cubicBezTo>
                      <a:pt x="42344" y="32730"/>
                      <a:pt x="32910" y="42391"/>
                      <a:pt x="21244" y="42391"/>
                    </a:cubicBezTo>
                    <a:cubicBezTo>
                      <a:pt x="9578" y="42391"/>
                      <a:pt x="0" y="32874"/>
                      <a:pt x="0" y="21123"/>
                    </a:cubicBezTo>
                    <a:close/>
                    <a:moveTo>
                      <a:pt x="38959" y="21123"/>
                    </a:moveTo>
                    <a:cubicBezTo>
                      <a:pt x="38959" y="10814"/>
                      <a:pt x="31470" y="2812"/>
                      <a:pt x="21244" y="2812"/>
                    </a:cubicBezTo>
                    <a:cubicBezTo>
                      <a:pt x="11018" y="2812"/>
                      <a:pt x="3385" y="10886"/>
                      <a:pt x="3385" y="21123"/>
                    </a:cubicBezTo>
                    <a:cubicBezTo>
                      <a:pt x="3385" y="31360"/>
                      <a:pt x="10946" y="39579"/>
                      <a:pt x="21244" y="39579"/>
                    </a:cubicBezTo>
                    <a:cubicBezTo>
                      <a:pt x="31542" y="39579"/>
                      <a:pt x="38959" y="31505"/>
                      <a:pt x="38959" y="21123"/>
                    </a:cubicBezTo>
                    <a:close/>
                    <a:moveTo>
                      <a:pt x="31758" y="32946"/>
                    </a:moveTo>
                    <a:lnTo>
                      <a:pt x="28301" y="32946"/>
                    </a:lnTo>
                    <a:lnTo>
                      <a:pt x="21532" y="22060"/>
                    </a:lnTo>
                    <a:lnTo>
                      <a:pt x="16203" y="22060"/>
                    </a:lnTo>
                    <a:lnTo>
                      <a:pt x="16203" y="32946"/>
                    </a:lnTo>
                    <a:lnTo>
                      <a:pt x="13323" y="32946"/>
                    </a:lnTo>
                    <a:lnTo>
                      <a:pt x="13323" y="9300"/>
                    </a:lnTo>
                    <a:lnTo>
                      <a:pt x="23693" y="9300"/>
                    </a:lnTo>
                    <a:cubicBezTo>
                      <a:pt x="29958" y="9300"/>
                      <a:pt x="32046" y="11679"/>
                      <a:pt x="32046" y="15572"/>
                    </a:cubicBezTo>
                    <a:cubicBezTo>
                      <a:pt x="32046" y="20186"/>
                      <a:pt x="28805" y="21916"/>
                      <a:pt x="24629" y="22060"/>
                    </a:cubicBezTo>
                    <a:lnTo>
                      <a:pt x="31758" y="32946"/>
                    </a:lnTo>
                    <a:close/>
                    <a:moveTo>
                      <a:pt x="20668" y="19753"/>
                    </a:moveTo>
                    <a:cubicBezTo>
                      <a:pt x="24052" y="19753"/>
                      <a:pt x="28949" y="20330"/>
                      <a:pt x="28949" y="15500"/>
                    </a:cubicBezTo>
                    <a:cubicBezTo>
                      <a:pt x="28949" y="11823"/>
                      <a:pt x="25925" y="11391"/>
                      <a:pt x="23044" y="11391"/>
                    </a:cubicBezTo>
                    <a:lnTo>
                      <a:pt x="16275" y="11391"/>
                    </a:lnTo>
                    <a:lnTo>
                      <a:pt x="16275" y="19753"/>
                    </a:lnTo>
                    <a:lnTo>
                      <a:pt x="20668" y="19753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7EDFC5BE-3B37-BBD6-FFF1-35BBAD29D665}"/>
                </a:ext>
              </a:extLst>
            </p:cNvPr>
            <p:cNvSpPr/>
            <p:nvPr/>
          </p:nvSpPr>
          <p:spPr>
            <a:xfrm>
              <a:off x="9662576" y="3326249"/>
              <a:ext cx="70213" cy="41020"/>
            </a:xfrm>
            <a:custGeom>
              <a:avLst/>
              <a:gdLst>
                <a:gd name="connsiteX0" fmla="*/ 15267 w 70213"/>
                <a:gd name="connsiteY0" fmla="*/ 4398 h 41020"/>
                <a:gd name="connsiteX1" fmla="*/ 9434 w 70213"/>
                <a:gd name="connsiteY1" fmla="*/ 7714 h 41020"/>
                <a:gd name="connsiteX2" fmla="*/ 4321 w 70213"/>
                <a:gd name="connsiteY2" fmla="*/ 11607 h 41020"/>
                <a:gd name="connsiteX3" fmla="*/ 2737 w 70213"/>
                <a:gd name="connsiteY3" fmla="*/ 15139 h 41020"/>
                <a:gd name="connsiteX4" fmla="*/ 648 w 70213"/>
                <a:gd name="connsiteY4" fmla="*/ 18167 h 41020"/>
                <a:gd name="connsiteX5" fmla="*/ 144 w 70213"/>
                <a:gd name="connsiteY5" fmla="*/ 19249 h 41020"/>
                <a:gd name="connsiteX6" fmla="*/ 0 w 70213"/>
                <a:gd name="connsiteY6" fmla="*/ 20330 h 41020"/>
                <a:gd name="connsiteX7" fmla="*/ 288 w 70213"/>
                <a:gd name="connsiteY7" fmla="*/ 21556 h 41020"/>
                <a:gd name="connsiteX8" fmla="*/ 2232 w 70213"/>
                <a:gd name="connsiteY8" fmla="*/ 26891 h 41020"/>
                <a:gd name="connsiteX9" fmla="*/ 5617 w 70213"/>
                <a:gd name="connsiteY9" fmla="*/ 28981 h 41020"/>
                <a:gd name="connsiteX10" fmla="*/ 9506 w 70213"/>
                <a:gd name="connsiteY10" fmla="*/ 33379 h 41020"/>
                <a:gd name="connsiteX11" fmla="*/ 12314 w 70213"/>
                <a:gd name="connsiteY11" fmla="*/ 36046 h 41020"/>
                <a:gd name="connsiteX12" fmla="*/ 16347 w 70213"/>
                <a:gd name="connsiteY12" fmla="*/ 37993 h 41020"/>
                <a:gd name="connsiteX13" fmla="*/ 20380 w 70213"/>
                <a:gd name="connsiteY13" fmla="*/ 39218 h 41020"/>
                <a:gd name="connsiteX14" fmla="*/ 26069 w 70213"/>
                <a:gd name="connsiteY14" fmla="*/ 39218 h 41020"/>
                <a:gd name="connsiteX15" fmla="*/ 29814 w 70213"/>
                <a:gd name="connsiteY15" fmla="*/ 39939 h 41020"/>
                <a:gd name="connsiteX16" fmla="*/ 33846 w 70213"/>
                <a:gd name="connsiteY16" fmla="*/ 40300 h 41020"/>
                <a:gd name="connsiteX17" fmla="*/ 39319 w 70213"/>
                <a:gd name="connsiteY17" fmla="*/ 40660 h 41020"/>
                <a:gd name="connsiteX18" fmla="*/ 44576 w 70213"/>
                <a:gd name="connsiteY18" fmla="*/ 41021 h 41020"/>
                <a:gd name="connsiteX19" fmla="*/ 51130 w 70213"/>
                <a:gd name="connsiteY19" fmla="*/ 40516 h 41020"/>
                <a:gd name="connsiteX20" fmla="*/ 56099 w 70213"/>
                <a:gd name="connsiteY20" fmla="*/ 39074 h 41020"/>
                <a:gd name="connsiteX21" fmla="*/ 62076 w 70213"/>
                <a:gd name="connsiteY21" fmla="*/ 36623 h 41020"/>
                <a:gd name="connsiteX22" fmla="*/ 64740 w 70213"/>
                <a:gd name="connsiteY22" fmla="*/ 33595 h 41020"/>
                <a:gd name="connsiteX23" fmla="*/ 67765 w 70213"/>
                <a:gd name="connsiteY23" fmla="*/ 30784 h 41020"/>
                <a:gd name="connsiteX24" fmla="*/ 70213 w 70213"/>
                <a:gd name="connsiteY24" fmla="*/ 26891 h 41020"/>
                <a:gd name="connsiteX25" fmla="*/ 70069 w 70213"/>
                <a:gd name="connsiteY25" fmla="*/ 22853 h 41020"/>
                <a:gd name="connsiteX26" fmla="*/ 68989 w 70213"/>
                <a:gd name="connsiteY26" fmla="*/ 17014 h 41020"/>
                <a:gd name="connsiteX27" fmla="*/ 62652 w 70213"/>
                <a:gd name="connsiteY27" fmla="*/ 7786 h 41020"/>
                <a:gd name="connsiteX28" fmla="*/ 57035 w 70213"/>
                <a:gd name="connsiteY28" fmla="*/ 3533 h 41020"/>
                <a:gd name="connsiteX29" fmla="*/ 54226 w 70213"/>
                <a:gd name="connsiteY29" fmla="*/ 2163 h 41020"/>
                <a:gd name="connsiteX30" fmla="*/ 52138 w 70213"/>
                <a:gd name="connsiteY30" fmla="*/ 1370 h 41020"/>
                <a:gd name="connsiteX31" fmla="*/ 50121 w 70213"/>
                <a:gd name="connsiteY31" fmla="*/ 1081 h 41020"/>
                <a:gd name="connsiteX32" fmla="*/ 43568 w 70213"/>
                <a:gd name="connsiteY32" fmla="*/ 1586 h 41020"/>
                <a:gd name="connsiteX33" fmla="*/ 37015 w 70213"/>
                <a:gd name="connsiteY33" fmla="*/ 505 h 41020"/>
                <a:gd name="connsiteX34" fmla="*/ 33846 w 70213"/>
                <a:gd name="connsiteY34" fmla="*/ 0 h 41020"/>
                <a:gd name="connsiteX35" fmla="*/ 29814 w 70213"/>
                <a:gd name="connsiteY35" fmla="*/ 865 h 41020"/>
                <a:gd name="connsiteX36" fmla="*/ 24485 w 70213"/>
                <a:gd name="connsiteY36" fmla="*/ 1586 h 41020"/>
                <a:gd name="connsiteX37" fmla="*/ 21100 w 70213"/>
                <a:gd name="connsiteY37" fmla="*/ 2812 h 41020"/>
                <a:gd name="connsiteX38" fmla="*/ 15267 w 70213"/>
                <a:gd name="connsiteY38" fmla="*/ 4398 h 4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0213" h="41020">
                  <a:moveTo>
                    <a:pt x="15267" y="4398"/>
                  </a:moveTo>
                  <a:lnTo>
                    <a:pt x="9434" y="7714"/>
                  </a:lnTo>
                  <a:lnTo>
                    <a:pt x="4321" y="11607"/>
                  </a:lnTo>
                  <a:lnTo>
                    <a:pt x="2737" y="15139"/>
                  </a:lnTo>
                  <a:lnTo>
                    <a:pt x="648" y="18167"/>
                  </a:lnTo>
                  <a:lnTo>
                    <a:pt x="144" y="19249"/>
                  </a:lnTo>
                  <a:lnTo>
                    <a:pt x="0" y="20330"/>
                  </a:lnTo>
                  <a:lnTo>
                    <a:pt x="288" y="21556"/>
                  </a:lnTo>
                  <a:lnTo>
                    <a:pt x="2232" y="26891"/>
                  </a:lnTo>
                  <a:lnTo>
                    <a:pt x="5617" y="28981"/>
                  </a:lnTo>
                  <a:lnTo>
                    <a:pt x="9506" y="33379"/>
                  </a:lnTo>
                  <a:lnTo>
                    <a:pt x="12314" y="36046"/>
                  </a:lnTo>
                  <a:lnTo>
                    <a:pt x="16347" y="37993"/>
                  </a:lnTo>
                  <a:lnTo>
                    <a:pt x="20380" y="39218"/>
                  </a:lnTo>
                  <a:lnTo>
                    <a:pt x="26069" y="39218"/>
                  </a:lnTo>
                  <a:lnTo>
                    <a:pt x="29814" y="39939"/>
                  </a:lnTo>
                  <a:lnTo>
                    <a:pt x="33846" y="40300"/>
                  </a:lnTo>
                  <a:lnTo>
                    <a:pt x="39319" y="40660"/>
                  </a:lnTo>
                  <a:lnTo>
                    <a:pt x="44576" y="41021"/>
                  </a:lnTo>
                  <a:lnTo>
                    <a:pt x="51130" y="40516"/>
                  </a:lnTo>
                  <a:lnTo>
                    <a:pt x="56099" y="39074"/>
                  </a:lnTo>
                  <a:lnTo>
                    <a:pt x="62076" y="36623"/>
                  </a:lnTo>
                  <a:lnTo>
                    <a:pt x="64740" y="33595"/>
                  </a:lnTo>
                  <a:lnTo>
                    <a:pt x="67765" y="30784"/>
                  </a:lnTo>
                  <a:lnTo>
                    <a:pt x="70213" y="26891"/>
                  </a:lnTo>
                  <a:lnTo>
                    <a:pt x="70069" y="22853"/>
                  </a:lnTo>
                  <a:lnTo>
                    <a:pt x="68989" y="17014"/>
                  </a:lnTo>
                  <a:lnTo>
                    <a:pt x="62652" y="7786"/>
                  </a:lnTo>
                  <a:lnTo>
                    <a:pt x="57035" y="3533"/>
                  </a:lnTo>
                  <a:lnTo>
                    <a:pt x="54226" y="2163"/>
                  </a:lnTo>
                  <a:lnTo>
                    <a:pt x="52138" y="1370"/>
                  </a:lnTo>
                  <a:lnTo>
                    <a:pt x="50121" y="1081"/>
                  </a:lnTo>
                  <a:lnTo>
                    <a:pt x="43568" y="1586"/>
                  </a:lnTo>
                  <a:lnTo>
                    <a:pt x="37015" y="505"/>
                  </a:lnTo>
                  <a:lnTo>
                    <a:pt x="33846" y="0"/>
                  </a:lnTo>
                  <a:lnTo>
                    <a:pt x="29814" y="865"/>
                  </a:lnTo>
                  <a:lnTo>
                    <a:pt x="24485" y="1586"/>
                  </a:lnTo>
                  <a:lnTo>
                    <a:pt x="21100" y="2812"/>
                  </a:lnTo>
                  <a:lnTo>
                    <a:pt x="15267" y="4398"/>
                  </a:lnTo>
                </a:path>
              </a:pathLst>
            </a:custGeom>
            <a:solidFill>
              <a:srgbClr val="F26531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25236F41-D9C9-0F6D-F019-4F9252BAE04D}"/>
                </a:ext>
              </a:extLst>
            </p:cNvPr>
            <p:cNvSpPr/>
            <p:nvPr/>
          </p:nvSpPr>
          <p:spPr>
            <a:xfrm>
              <a:off x="9668265" y="3427034"/>
              <a:ext cx="59915" cy="15932"/>
            </a:xfrm>
            <a:custGeom>
              <a:avLst/>
              <a:gdLst>
                <a:gd name="connsiteX0" fmla="*/ 1224 w 59915"/>
                <a:gd name="connsiteY0" fmla="*/ 360 h 15932"/>
                <a:gd name="connsiteX1" fmla="*/ 32694 w 59915"/>
                <a:gd name="connsiteY1" fmla="*/ 1081 h 15932"/>
                <a:gd name="connsiteX2" fmla="*/ 37375 w 59915"/>
                <a:gd name="connsiteY2" fmla="*/ 144 h 15932"/>
                <a:gd name="connsiteX3" fmla="*/ 43424 w 59915"/>
                <a:gd name="connsiteY3" fmla="*/ 0 h 15932"/>
                <a:gd name="connsiteX4" fmla="*/ 49473 w 59915"/>
                <a:gd name="connsiteY4" fmla="*/ 649 h 15932"/>
                <a:gd name="connsiteX5" fmla="*/ 54082 w 59915"/>
                <a:gd name="connsiteY5" fmla="*/ 1947 h 15932"/>
                <a:gd name="connsiteX6" fmla="*/ 57611 w 59915"/>
                <a:gd name="connsiteY6" fmla="*/ 4326 h 15932"/>
                <a:gd name="connsiteX7" fmla="*/ 58907 w 59915"/>
                <a:gd name="connsiteY7" fmla="*/ 5984 h 15932"/>
                <a:gd name="connsiteX8" fmla="*/ 59699 w 59915"/>
                <a:gd name="connsiteY8" fmla="*/ 7714 h 15932"/>
                <a:gd name="connsiteX9" fmla="*/ 59915 w 59915"/>
                <a:gd name="connsiteY9" fmla="*/ 9588 h 15932"/>
                <a:gd name="connsiteX10" fmla="*/ 59339 w 59915"/>
                <a:gd name="connsiteY10" fmla="*/ 11535 h 15932"/>
                <a:gd name="connsiteX11" fmla="*/ 57971 w 59915"/>
                <a:gd name="connsiteY11" fmla="*/ 13409 h 15932"/>
                <a:gd name="connsiteX12" fmla="*/ 55522 w 59915"/>
                <a:gd name="connsiteY12" fmla="*/ 15212 h 15932"/>
                <a:gd name="connsiteX13" fmla="*/ 51922 w 59915"/>
                <a:gd name="connsiteY13" fmla="*/ 15932 h 15932"/>
                <a:gd name="connsiteX14" fmla="*/ 45513 w 59915"/>
                <a:gd name="connsiteY14" fmla="*/ 15932 h 15932"/>
                <a:gd name="connsiteX15" fmla="*/ 28229 w 59915"/>
                <a:gd name="connsiteY15" fmla="*/ 14635 h 15932"/>
                <a:gd name="connsiteX16" fmla="*/ 1872 w 59915"/>
                <a:gd name="connsiteY16" fmla="*/ 11607 h 15932"/>
                <a:gd name="connsiteX17" fmla="*/ 864 w 59915"/>
                <a:gd name="connsiteY17" fmla="*/ 11174 h 15932"/>
                <a:gd name="connsiteX18" fmla="*/ 288 w 59915"/>
                <a:gd name="connsiteY18" fmla="*/ 10165 h 15932"/>
                <a:gd name="connsiteX19" fmla="*/ 0 w 59915"/>
                <a:gd name="connsiteY19" fmla="*/ 6921 h 15932"/>
                <a:gd name="connsiteX20" fmla="*/ 1224 w 59915"/>
                <a:gd name="connsiteY20" fmla="*/ 360 h 1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9915" h="15932">
                  <a:moveTo>
                    <a:pt x="1224" y="360"/>
                  </a:moveTo>
                  <a:lnTo>
                    <a:pt x="32694" y="1081"/>
                  </a:lnTo>
                  <a:lnTo>
                    <a:pt x="37375" y="144"/>
                  </a:lnTo>
                  <a:lnTo>
                    <a:pt x="43424" y="0"/>
                  </a:lnTo>
                  <a:lnTo>
                    <a:pt x="49473" y="649"/>
                  </a:lnTo>
                  <a:lnTo>
                    <a:pt x="54082" y="1947"/>
                  </a:lnTo>
                  <a:lnTo>
                    <a:pt x="57611" y="4326"/>
                  </a:lnTo>
                  <a:lnTo>
                    <a:pt x="58907" y="5984"/>
                  </a:lnTo>
                  <a:lnTo>
                    <a:pt x="59699" y="7714"/>
                  </a:lnTo>
                  <a:lnTo>
                    <a:pt x="59915" y="9588"/>
                  </a:lnTo>
                  <a:lnTo>
                    <a:pt x="59339" y="11535"/>
                  </a:lnTo>
                  <a:lnTo>
                    <a:pt x="57971" y="13409"/>
                  </a:lnTo>
                  <a:lnTo>
                    <a:pt x="55522" y="15212"/>
                  </a:lnTo>
                  <a:lnTo>
                    <a:pt x="51922" y="15932"/>
                  </a:lnTo>
                  <a:lnTo>
                    <a:pt x="45513" y="15932"/>
                  </a:lnTo>
                  <a:lnTo>
                    <a:pt x="28229" y="14635"/>
                  </a:lnTo>
                  <a:lnTo>
                    <a:pt x="1872" y="11607"/>
                  </a:lnTo>
                  <a:lnTo>
                    <a:pt x="864" y="11174"/>
                  </a:lnTo>
                  <a:lnTo>
                    <a:pt x="288" y="10165"/>
                  </a:lnTo>
                  <a:lnTo>
                    <a:pt x="0" y="6921"/>
                  </a:lnTo>
                  <a:lnTo>
                    <a:pt x="1224" y="360"/>
                  </a:lnTo>
                </a:path>
              </a:pathLst>
            </a:custGeom>
            <a:solidFill>
              <a:srgbClr val="ED1849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B6CAA282-CF1C-B2C3-4C94-0031012ADC00}"/>
                </a:ext>
              </a:extLst>
            </p:cNvPr>
            <p:cNvSpPr/>
            <p:nvPr/>
          </p:nvSpPr>
          <p:spPr>
            <a:xfrm>
              <a:off x="9671290" y="3456448"/>
              <a:ext cx="57754" cy="15644"/>
            </a:xfrm>
            <a:custGeom>
              <a:avLst/>
              <a:gdLst>
                <a:gd name="connsiteX0" fmla="*/ 7057 w 57754"/>
                <a:gd name="connsiteY0" fmla="*/ 0 h 15644"/>
                <a:gd name="connsiteX1" fmla="*/ 9794 w 57754"/>
                <a:gd name="connsiteY1" fmla="*/ 1658 h 15644"/>
                <a:gd name="connsiteX2" fmla="*/ 11522 w 57754"/>
                <a:gd name="connsiteY2" fmla="*/ 2667 h 15644"/>
                <a:gd name="connsiteX3" fmla="*/ 13467 w 57754"/>
                <a:gd name="connsiteY3" fmla="*/ 3172 h 15644"/>
                <a:gd name="connsiteX4" fmla="*/ 14835 w 57754"/>
                <a:gd name="connsiteY4" fmla="*/ 2884 h 15644"/>
                <a:gd name="connsiteX5" fmla="*/ 16419 w 57754"/>
                <a:gd name="connsiteY5" fmla="*/ 2163 h 15644"/>
                <a:gd name="connsiteX6" fmla="*/ 18003 w 57754"/>
                <a:gd name="connsiteY6" fmla="*/ 1370 h 15644"/>
                <a:gd name="connsiteX7" fmla="*/ 19588 w 57754"/>
                <a:gd name="connsiteY7" fmla="*/ 1009 h 15644"/>
                <a:gd name="connsiteX8" fmla="*/ 22324 w 57754"/>
                <a:gd name="connsiteY8" fmla="*/ 2019 h 15644"/>
                <a:gd name="connsiteX9" fmla="*/ 25277 w 57754"/>
                <a:gd name="connsiteY9" fmla="*/ 3028 h 15644"/>
                <a:gd name="connsiteX10" fmla="*/ 27725 w 57754"/>
                <a:gd name="connsiteY10" fmla="*/ 2235 h 15644"/>
                <a:gd name="connsiteX11" fmla="*/ 30246 w 57754"/>
                <a:gd name="connsiteY11" fmla="*/ 1514 h 15644"/>
                <a:gd name="connsiteX12" fmla="*/ 33198 w 57754"/>
                <a:gd name="connsiteY12" fmla="*/ 2595 h 15644"/>
                <a:gd name="connsiteX13" fmla="*/ 34638 w 57754"/>
                <a:gd name="connsiteY13" fmla="*/ 3172 h 15644"/>
                <a:gd name="connsiteX14" fmla="*/ 36079 w 57754"/>
                <a:gd name="connsiteY14" fmla="*/ 3172 h 15644"/>
                <a:gd name="connsiteX15" fmla="*/ 45224 w 57754"/>
                <a:gd name="connsiteY15" fmla="*/ 1947 h 15644"/>
                <a:gd name="connsiteX16" fmla="*/ 52210 w 57754"/>
                <a:gd name="connsiteY16" fmla="*/ 3100 h 15644"/>
                <a:gd name="connsiteX17" fmla="*/ 52642 w 57754"/>
                <a:gd name="connsiteY17" fmla="*/ 3388 h 15644"/>
                <a:gd name="connsiteX18" fmla="*/ 52858 w 57754"/>
                <a:gd name="connsiteY18" fmla="*/ 3749 h 15644"/>
                <a:gd name="connsiteX19" fmla="*/ 52642 w 57754"/>
                <a:gd name="connsiteY19" fmla="*/ 4614 h 15644"/>
                <a:gd name="connsiteX20" fmla="*/ 52354 w 57754"/>
                <a:gd name="connsiteY20" fmla="*/ 5551 h 15644"/>
                <a:gd name="connsiteX21" fmla="*/ 52642 w 57754"/>
                <a:gd name="connsiteY21" fmla="*/ 6416 h 15644"/>
                <a:gd name="connsiteX22" fmla="*/ 54370 w 57754"/>
                <a:gd name="connsiteY22" fmla="*/ 7426 h 15644"/>
                <a:gd name="connsiteX23" fmla="*/ 56315 w 57754"/>
                <a:gd name="connsiteY23" fmla="*/ 8219 h 15644"/>
                <a:gd name="connsiteX24" fmla="*/ 57107 w 57754"/>
                <a:gd name="connsiteY24" fmla="*/ 8795 h 15644"/>
                <a:gd name="connsiteX25" fmla="*/ 57611 w 57754"/>
                <a:gd name="connsiteY25" fmla="*/ 9660 h 15644"/>
                <a:gd name="connsiteX26" fmla="*/ 57755 w 57754"/>
                <a:gd name="connsiteY26" fmla="*/ 10958 h 15644"/>
                <a:gd name="connsiteX27" fmla="*/ 57395 w 57754"/>
                <a:gd name="connsiteY27" fmla="*/ 12760 h 15644"/>
                <a:gd name="connsiteX28" fmla="*/ 56819 w 57754"/>
                <a:gd name="connsiteY28" fmla="*/ 13626 h 15644"/>
                <a:gd name="connsiteX29" fmla="*/ 55522 w 57754"/>
                <a:gd name="connsiteY29" fmla="*/ 14346 h 15644"/>
                <a:gd name="connsiteX30" fmla="*/ 51562 w 57754"/>
                <a:gd name="connsiteY30" fmla="*/ 15212 h 15644"/>
                <a:gd name="connsiteX31" fmla="*/ 39031 w 57754"/>
                <a:gd name="connsiteY31" fmla="*/ 15644 h 15644"/>
                <a:gd name="connsiteX32" fmla="*/ 21100 w 57754"/>
                <a:gd name="connsiteY32" fmla="*/ 13337 h 15644"/>
                <a:gd name="connsiteX33" fmla="*/ 5545 w 57754"/>
                <a:gd name="connsiteY33" fmla="*/ 10453 h 15644"/>
                <a:gd name="connsiteX34" fmla="*/ 3241 w 57754"/>
                <a:gd name="connsiteY34" fmla="*/ 9516 h 15644"/>
                <a:gd name="connsiteX35" fmla="*/ 1512 w 57754"/>
                <a:gd name="connsiteY35" fmla="*/ 7426 h 15644"/>
                <a:gd name="connsiteX36" fmla="*/ 360 w 57754"/>
                <a:gd name="connsiteY36" fmla="*/ 4974 h 15644"/>
                <a:gd name="connsiteX37" fmla="*/ 0 w 57754"/>
                <a:gd name="connsiteY37" fmla="*/ 2812 h 15644"/>
                <a:gd name="connsiteX38" fmla="*/ 7057 w 57754"/>
                <a:gd name="connsiteY38" fmla="*/ 0 h 1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754" h="15644">
                  <a:moveTo>
                    <a:pt x="7057" y="0"/>
                  </a:moveTo>
                  <a:lnTo>
                    <a:pt x="9794" y="1658"/>
                  </a:lnTo>
                  <a:lnTo>
                    <a:pt x="11522" y="2667"/>
                  </a:lnTo>
                  <a:lnTo>
                    <a:pt x="13467" y="3172"/>
                  </a:lnTo>
                  <a:lnTo>
                    <a:pt x="14835" y="2884"/>
                  </a:lnTo>
                  <a:lnTo>
                    <a:pt x="16419" y="2163"/>
                  </a:lnTo>
                  <a:lnTo>
                    <a:pt x="18003" y="1370"/>
                  </a:lnTo>
                  <a:lnTo>
                    <a:pt x="19588" y="1009"/>
                  </a:lnTo>
                  <a:lnTo>
                    <a:pt x="22324" y="2019"/>
                  </a:lnTo>
                  <a:lnTo>
                    <a:pt x="25277" y="3028"/>
                  </a:lnTo>
                  <a:lnTo>
                    <a:pt x="27725" y="2235"/>
                  </a:lnTo>
                  <a:lnTo>
                    <a:pt x="30246" y="1514"/>
                  </a:lnTo>
                  <a:lnTo>
                    <a:pt x="33198" y="2595"/>
                  </a:lnTo>
                  <a:lnTo>
                    <a:pt x="34638" y="3172"/>
                  </a:lnTo>
                  <a:lnTo>
                    <a:pt x="36079" y="3172"/>
                  </a:lnTo>
                  <a:lnTo>
                    <a:pt x="45224" y="1947"/>
                  </a:lnTo>
                  <a:lnTo>
                    <a:pt x="52210" y="3100"/>
                  </a:lnTo>
                  <a:lnTo>
                    <a:pt x="52642" y="3388"/>
                  </a:lnTo>
                  <a:lnTo>
                    <a:pt x="52858" y="3749"/>
                  </a:lnTo>
                  <a:lnTo>
                    <a:pt x="52642" y="4614"/>
                  </a:lnTo>
                  <a:lnTo>
                    <a:pt x="52354" y="5551"/>
                  </a:lnTo>
                  <a:lnTo>
                    <a:pt x="52642" y="6416"/>
                  </a:lnTo>
                  <a:lnTo>
                    <a:pt x="54370" y="7426"/>
                  </a:lnTo>
                  <a:lnTo>
                    <a:pt x="56315" y="8219"/>
                  </a:lnTo>
                  <a:lnTo>
                    <a:pt x="57107" y="8795"/>
                  </a:lnTo>
                  <a:lnTo>
                    <a:pt x="57611" y="9660"/>
                  </a:lnTo>
                  <a:lnTo>
                    <a:pt x="57755" y="10958"/>
                  </a:lnTo>
                  <a:lnTo>
                    <a:pt x="57395" y="12760"/>
                  </a:lnTo>
                  <a:lnTo>
                    <a:pt x="56819" y="13626"/>
                  </a:lnTo>
                  <a:lnTo>
                    <a:pt x="55522" y="14346"/>
                  </a:lnTo>
                  <a:lnTo>
                    <a:pt x="51562" y="15212"/>
                  </a:lnTo>
                  <a:lnTo>
                    <a:pt x="39031" y="15644"/>
                  </a:lnTo>
                  <a:lnTo>
                    <a:pt x="21100" y="13337"/>
                  </a:lnTo>
                  <a:lnTo>
                    <a:pt x="5545" y="10453"/>
                  </a:lnTo>
                  <a:lnTo>
                    <a:pt x="3241" y="9516"/>
                  </a:lnTo>
                  <a:lnTo>
                    <a:pt x="1512" y="7426"/>
                  </a:lnTo>
                  <a:lnTo>
                    <a:pt x="360" y="4974"/>
                  </a:lnTo>
                  <a:lnTo>
                    <a:pt x="0" y="2812"/>
                  </a:lnTo>
                  <a:lnTo>
                    <a:pt x="705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17A1D138-063B-B1CB-6EAA-AE2B5BFDEE6A}"/>
                </a:ext>
              </a:extLst>
            </p:cNvPr>
            <p:cNvSpPr/>
            <p:nvPr/>
          </p:nvSpPr>
          <p:spPr>
            <a:xfrm>
              <a:off x="9668481" y="3473390"/>
              <a:ext cx="59771" cy="17013"/>
            </a:xfrm>
            <a:custGeom>
              <a:avLst/>
              <a:gdLst>
                <a:gd name="connsiteX0" fmla="*/ 5617 w 59771"/>
                <a:gd name="connsiteY0" fmla="*/ 0 h 17013"/>
                <a:gd name="connsiteX1" fmla="*/ 10442 w 59771"/>
                <a:gd name="connsiteY1" fmla="*/ 1874 h 17013"/>
                <a:gd name="connsiteX2" fmla="*/ 12818 w 59771"/>
                <a:gd name="connsiteY2" fmla="*/ 2740 h 17013"/>
                <a:gd name="connsiteX3" fmla="*/ 15195 w 59771"/>
                <a:gd name="connsiteY3" fmla="*/ 2667 h 17013"/>
                <a:gd name="connsiteX4" fmla="*/ 36583 w 59771"/>
                <a:gd name="connsiteY4" fmla="*/ 1658 h 17013"/>
                <a:gd name="connsiteX5" fmla="*/ 45152 w 59771"/>
                <a:gd name="connsiteY5" fmla="*/ 2451 h 17013"/>
                <a:gd name="connsiteX6" fmla="*/ 51850 w 59771"/>
                <a:gd name="connsiteY6" fmla="*/ 4109 h 17013"/>
                <a:gd name="connsiteX7" fmla="*/ 54874 w 59771"/>
                <a:gd name="connsiteY7" fmla="*/ 4902 h 17013"/>
                <a:gd name="connsiteX8" fmla="*/ 56603 w 59771"/>
                <a:gd name="connsiteY8" fmla="*/ 5623 h 17013"/>
                <a:gd name="connsiteX9" fmla="*/ 57971 w 59771"/>
                <a:gd name="connsiteY9" fmla="*/ 6633 h 17013"/>
                <a:gd name="connsiteX10" fmla="*/ 59483 w 59771"/>
                <a:gd name="connsiteY10" fmla="*/ 9300 h 17013"/>
                <a:gd name="connsiteX11" fmla="*/ 59771 w 59771"/>
                <a:gd name="connsiteY11" fmla="*/ 11895 h 17013"/>
                <a:gd name="connsiteX12" fmla="*/ 59123 w 59771"/>
                <a:gd name="connsiteY12" fmla="*/ 14130 h 17013"/>
                <a:gd name="connsiteX13" fmla="*/ 57971 w 59771"/>
                <a:gd name="connsiteY13" fmla="*/ 15572 h 17013"/>
                <a:gd name="connsiteX14" fmla="*/ 57971 w 59771"/>
                <a:gd name="connsiteY14" fmla="*/ 17014 h 17013"/>
                <a:gd name="connsiteX15" fmla="*/ 37015 w 59771"/>
                <a:gd name="connsiteY15" fmla="*/ 16942 h 17013"/>
                <a:gd name="connsiteX16" fmla="*/ 30030 w 59771"/>
                <a:gd name="connsiteY16" fmla="*/ 17014 h 17013"/>
                <a:gd name="connsiteX17" fmla="*/ 23116 w 59771"/>
                <a:gd name="connsiteY17" fmla="*/ 16437 h 17013"/>
                <a:gd name="connsiteX18" fmla="*/ 16203 w 59771"/>
                <a:gd name="connsiteY18" fmla="*/ 15212 h 17013"/>
                <a:gd name="connsiteX19" fmla="*/ 10010 w 59771"/>
                <a:gd name="connsiteY19" fmla="*/ 14202 h 17013"/>
                <a:gd name="connsiteX20" fmla="*/ 5545 w 59771"/>
                <a:gd name="connsiteY20" fmla="*/ 13481 h 17013"/>
                <a:gd name="connsiteX21" fmla="*/ 3745 w 59771"/>
                <a:gd name="connsiteY21" fmla="*/ 13049 h 17013"/>
                <a:gd name="connsiteX22" fmla="*/ 2520 w 59771"/>
                <a:gd name="connsiteY22" fmla="*/ 11895 h 17013"/>
                <a:gd name="connsiteX23" fmla="*/ 792 w 59771"/>
                <a:gd name="connsiteY23" fmla="*/ 8219 h 17013"/>
                <a:gd name="connsiteX24" fmla="*/ 0 w 59771"/>
                <a:gd name="connsiteY24" fmla="*/ 4253 h 17013"/>
                <a:gd name="connsiteX25" fmla="*/ 5617 w 59771"/>
                <a:gd name="connsiteY25" fmla="*/ 0 h 17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9771" h="17013">
                  <a:moveTo>
                    <a:pt x="5617" y="0"/>
                  </a:moveTo>
                  <a:lnTo>
                    <a:pt x="10442" y="1874"/>
                  </a:lnTo>
                  <a:lnTo>
                    <a:pt x="12818" y="2740"/>
                  </a:lnTo>
                  <a:lnTo>
                    <a:pt x="15195" y="2667"/>
                  </a:lnTo>
                  <a:lnTo>
                    <a:pt x="36583" y="1658"/>
                  </a:lnTo>
                  <a:lnTo>
                    <a:pt x="45152" y="2451"/>
                  </a:lnTo>
                  <a:lnTo>
                    <a:pt x="51850" y="4109"/>
                  </a:lnTo>
                  <a:lnTo>
                    <a:pt x="54874" y="4902"/>
                  </a:lnTo>
                  <a:lnTo>
                    <a:pt x="56603" y="5623"/>
                  </a:lnTo>
                  <a:lnTo>
                    <a:pt x="57971" y="6633"/>
                  </a:lnTo>
                  <a:lnTo>
                    <a:pt x="59483" y="9300"/>
                  </a:lnTo>
                  <a:lnTo>
                    <a:pt x="59771" y="11895"/>
                  </a:lnTo>
                  <a:lnTo>
                    <a:pt x="59123" y="14130"/>
                  </a:lnTo>
                  <a:lnTo>
                    <a:pt x="57971" y="15572"/>
                  </a:lnTo>
                  <a:lnTo>
                    <a:pt x="57971" y="17014"/>
                  </a:lnTo>
                  <a:lnTo>
                    <a:pt x="37015" y="16942"/>
                  </a:lnTo>
                  <a:lnTo>
                    <a:pt x="30030" y="17014"/>
                  </a:lnTo>
                  <a:lnTo>
                    <a:pt x="23116" y="16437"/>
                  </a:lnTo>
                  <a:lnTo>
                    <a:pt x="16203" y="15212"/>
                  </a:lnTo>
                  <a:lnTo>
                    <a:pt x="10010" y="14202"/>
                  </a:lnTo>
                  <a:lnTo>
                    <a:pt x="5545" y="13481"/>
                  </a:lnTo>
                  <a:lnTo>
                    <a:pt x="3745" y="13049"/>
                  </a:lnTo>
                  <a:lnTo>
                    <a:pt x="2520" y="11895"/>
                  </a:lnTo>
                  <a:lnTo>
                    <a:pt x="792" y="8219"/>
                  </a:lnTo>
                  <a:lnTo>
                    <a:pt x="0" y="4253"/>
                  </a:lnTo>
                  <a:lnTo>
                    <a:pt x="561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DB4C70FB-4D8B-F2B1-2933-13A2F390D735}"/>
                </a:ext>
              </a:extLst>
            </p:cNvPr>
            <p:cNvSpPr/>
            <p:nvPr/>
          </p:nvSpPr>
          <p:spPr>
            <a:xfrm>
              <a:off x="9668553" y="3498406"/>
              <a:ext cx="60779" cy="27899"/>
            </a:xfrm>
            <a:custGeom>
              <a:avLst/>
              <a:gdLst>
                <a:gd name="connsiteX0" fmla="*/ 7129 w 60779"/>
                <a:gd name="connsiteY0" fmla="*/ 0 h 27899"/>
                <a:gd name="connsiteX1" fmla="*/ 16635 w 60779"/>
                <a:gd name="connsiteY1" fmla="*/ 1226 h 27899"/>
                <a:gd name="connsiteX2" fmla="*/ 19804 w 60779"/>
                <a:gd name="connsiteY2" fmla="*/ 1586 h 27899"/>
                <a:gd name="connsiteX3" fmla="*/ 22540 w 60779"/>
                <a:gd name="connsiteY3" fmla="*/ 1081 h 27899"/>
                <a:gd name="connsiteX4" fmla="*/ 26213 w 60779"/>
                <a:gd name="connsiteY4" fmla="*/ 721 h 27899"/>
                <a:gd name="connsiteX5" fmla="*/ 31974 w 60779"/>
                <a:gd name="connsiteY5" fmla="*/ 1153 h 27899"/>
                <a:gd name="connsiteX6" fmla="*/ 40256 w 60779"/>
                <a:gd name="connsiteY6" fmla="*/ 1298 h 27899"/>
                <a:gd name="connsiteX7" fmla="*/ 48609 w 60779"/>
                <a:gd name="connsiteY7" fmla="*/ 865 h 27899"/>
                <a:gd name="connsiteX8" fmla="*/ 51490 w 60779"/>
                <a:gd name="connsiteY8" fmla="*/ 793 h 27899"/>
                <a:gd name="connsiteX9" fmla="*/ 53938 w 60779"/>
                <a:gd name="connsiteY9" fmla="*/ 1802 h 27899"/>
                <a:gd name="connsiteX10" fmla="*/ 58259 w 60779"/>
                <a:gd name="connsiteY10" fmla="*/ 5407 h 27899"/>
                <a:gd name="connsiteX11" fmla="*/ 59699 w 60779"/>
                <a:gd name="connsiteY11" fmla="*/ 7209 h 27899"/>
                <a:gd name="connsiteX12" fmla="*/ 60563 w 60779"/>
                <a:gd name="connsiteY12" fmla="*/ 9300 h 27899"/>
                <a:gd name="connsiteX13" fmla="*/ 60779 w 60779"/>
                <a:gd name="connsiteY13" fmla="*/ 11607 h 27899"/>
                <a:gd name="connsiteX14" fmla="*/ 60203 w 60779"/>
                <a:gd name="connsiteY14" fmla="*/ 13914 h 27899"/>
                <a:gd name="connsiteX15" fmla="*/ 57683 w 60779"/>
                <a:gd name="connsiteY15" fmla="*/ 20979 h 27899"/>
                <a:gd name="connsiteX16" fmla="*/ 56243 w 60779"/>
                <a:gd name="connsiteY16" fmla="*/ 24079 h 27899"/>
                <a:gd name="connsiteX17" fmla="*/ 54154 w 60779"/>
                <a:gd name="connsiteY17" fmla="*/ 26602 h 27899"/>
                <a:gd name="connsiteX18" fmla="*/ 52930 w 60779"/>
                <a:gd name="connsiteY18" fmla="*/ 27179 h 27899"/>
                <a:gd name="connsiteX19" fmla="*/ 51490 w 60779"/>
                <a:gd name="connsiteY19" fmla="*/ 27251 h 27899"/>
                <a:gd name="connsiteX20" fmla="*/ 47961 w 60779"/>
                <a:gd name="connsiteY20" fmla="*/ 26602 h 27899"/>
                <a:gd name="connsiteX21" fmla="*/ 44288 w 60779"/>
                <a:gd name="connsiteY21" fmla="*/ 25593 h 27899"/>
                <a:gd name="connsiteX22" fmla="*/ 41120 w 60779"/>
                <a:gd name="connsiteY22" fmla="*/ 25160 h 27899"/>
                <a:gd name="connsiteX23" fmla="*/ 38815 w 60779"/>
                <a:gd name="connsiteY23" fmla="*/ 25737 h 27899"/>
                <a:gd name="connsiteX24" fmla="*/ 36799 w 60779"/>
                <a:gd name="connsiteY24" fmla="*/ 26746 h 27899"/>
                <a:gd name="connsiteX25" fmla="*/ 34711 w 60779"/>
                <a:gd name="connsiteY25" fmla="*/ 27612 h 27899"/>
                <a:gd name="connsiteX26" fmla="*/ 32334 w 60779"/>
                <a:gd name="connsiteY26" fmla="*/ 27900 h 27899"/>
                <a:gd name="connsiteX27" fmla="*/ 25565 w 60779"/>
                <a:gd name="connsiteY27" fmla="*/ 26098 h 27899"/>
                <a:gd name="connsiteX28" fmla="*/ 21748 w 60779"/>
                <a:gd name="connsiteY28" fmla="*/ 25593 h 27899"/>
                <a:gd name="connsiteX29" fmla="*/ 17355 w 60779"/>
                <a:gd name="connsiteY29" fmla="*/ 26314 h 27899"/>
                <a:gd name="connsiteX30" fmla="*/ 16203 w 60779"/>
                <a:gd name="connsiteY30" fmla="*/ 26458 h 27899"/>
                <a:gd name="connsiteX31" fmla="*/ 15123 w 60779"/>
                <a:gd name="connsiteY31" fmla="*/ 25953 h 27899"/>
                <a:gd name="connsiteX32" fmla="*/ 13971 w 60779"/>
                <a:gd name="connsiteY32" fmla="*/ 25377 h 27899"/>
                <a:gd name="connsiteX33" fmla="*/ 12746 w 60779"/>
                <a:gd name="connsiteY33" fmla="*/ 25088 h 27899"/>
                <a:gd name="connsiteX34" fmla="*/ 10082 w 60779"/>
                <a:gd name="connsiteY34" fmla="*/ 25016 h 27899"/>
                <a:gd name="connsiteX35" fmla="*/ 9074 w 60779"/>
                <a:gd name="connsiteY35" fmla="*/ 24656 h 27899"/>
                <a:gd name="connsiteX36" fmla="*/ 8570 w 60779"/>
                <a:gd name="connsiteY36" fmla="*/ 24079 h 27899"/>
                <a:gd name="connsiteX37" fmla="*/ 5329 w 60779"/>
                <a:gd name="connsiteY37" fmla="*/ 19105 h 27899"/>
                <a:gd name="connsiteX38" fmla="*/ 1872 w 60779"/>
                <a:gd name="connsiteY38" fmla="*/ 14995 h 27899"/>
                <a:gd name="connsiteX39" fmla="*/ 432 w 60779"/>
                <a:gd name="connsiteY39" fmla="*/ 13121 h 27899"/>
                <a:gd name="connsiteX40" fmla="*/ 0 w 60779"/>
                <a:gd name="connsiteY40" fmla="*/ 10958 h 27899"/>
                <a:gd name="connsiteX41" fmla="*/ 792 w 60779"/>
                <a:gd name="connsiteY41" fmla="*/ 8363 h 27899"/>
                <a:gd name="connsiteX42" fmla="*/ 2664 w 60779"/>
                <a:gd name="connsiteY42" fmla="*/ 5623 h 27899"/>
                <a:gd name="connsiteX43" fmla="*/ 7129 w 60779"/>
                <a:gd name="connsiteY43" fmla="*/ 0 h 27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0779" h="27899">
                  <a:moveTo>
                    <a:pt x="7129" y="0"/>
                  </a:moveTo>
                  <a:lnTo>
                    <a:pt x="16635" y="1226"/>
                  </a:lnTo>
                  <a:lnTo>
                    <a:pt x="19804" y="1586"/>
                  </a:lnTo>
                  <a:lnTo>
                    <a:pt x="22540" y="1081"/>
                  </a:lnTo>
                  <a:lnTo>
                    <a:pt x="26213" y="721"/>
                  </a:lnTo>
                  <a:lnTo>
                    <a:pt x="31974" y="1153"/>
                  </a:lnTo>
                  <a:lnTo>
                    <a:pt x="40256" y="1298"/>
                  </a:lnTo>
                  <a:lnTo>
                    <a:pt x="48609" y="865"/>
                  </a:lnTo>
                  <a:lnTo>
                    <a:pt x="51490" y="793"/>
                  </a:lnTo>
                  <a:lnTo>
                    <a:pt x="53938" y="1802"/>
                  </a:lnTo>
                  <a:lnTo>
                    <a:pt x="58259" y="5407"/>
                  </a:lnTo>
                  <a:lnTo>
                    <a:pt x="59699" y="7209"/>
                  </a:lnTo>
                  <a:lnTo>
                    <a:pt x="60563" y="9300"/>
                  </a:lnTo>
                  <a:lnTo>
                    <a:pt x="60779" y="11607"/>
                  </a:lnTo>
                  <a:lnTo>
                    <a:pt x="60203" y="13914"/>
                  </a:lnTo>
                  <a:lnTo>
                    <a:pt x="57683" y="20979"/>
                  </a:lnTo>
                  <a:lnTo>
                    <a:pt x="56243" y="24079"/>
                  </a:lnTo>
                  <a:lnTo>
                    <a:pt x="54154" y="26602"/>
                  </a:lnTo>
                  <a:lnTo>
                    <a:pt x="52930" y="27179"/>
                  </a:lnTo>
                  <a:lnTo>
                    <a:pt x="51490" y="27251"/>
                  </a:lnTo>
                  <a:lnTo>
                    <a:pt x="47961" y="26602"/>
                  </a:lnTo>
                  <a:lnTo>
                    <a:pt x="44288" y="25593"/>
                  </a:lnTo>
                  <a:lnTo>
                    <a:pt x="41120" y="25160"/>
                  </a:lnTo>
                  <a:lnTo>
                    <a:pt x="38815" y="25737"/>
                  </a:lnTo>
                  <a:lnTo>
                    <a:pt x="36799" y="26746"/>
                  </a:lnTo>
                  <a:lnTo>
                    <a:pt x="34711" y="27612"/>
                  </a:lnTo>
                  <a:lnTo>
                    <a:pt x="32334" y="27900"/>
                  </a:lnTo>
                  <a:lnTo>
                    <a:pt x="25565" y="26098"/>
                  </a:lnTo>
                  <a:lnTo>
                    <a:pt x="21748" y="25593"/>
                  </a:lnTo>
                  <a:lnTo>
                    <a:pt x="17355" y="26314"/>
                  </a:lnTo>
                  <a:lnTo>
                    <a:pt x="16203" y="26458"/>
                  </a:lnTo>
                  <a:lnTo>
                    <a:pt x="15123" y="25953"/>
                  </a:lnTo>
                  <a:lnTo>
                    <a:pt x="13971" y="25377"/>
                  </a:lnTo>
                  <a:lnTo>
                    <a:pt x="12746" y="25088"/>
                  </a:lnTo>
                  <a:lnTo>
                    <a:pt x="10082" y="25016"/>
                  </a:lnTo>
                  <a:lnTo>
                    <a:pt x="9074" y="24656"/>
                  </a:lnTo>
                  <a:lnTo>
                    <a:pt x="8570" y="24079"/>
                  </a:lnTo>
                  <a:lnTo>
                    <a:pt x="5329" y="19105"/>
                  </a:lnTo>
                  <a:lnTo>
                    <a:pt x="1872" y="14995"/>
                  </a:lnTo>
                  <a:lnTo>
                    <a:pt x="432" y="13121"/>
                  </a:lnTo>
                  <a:lnTo>
                    <a:pt x="0" y="10958"/>
                  </a:lnTo>
                  <a:lnTo>
                    <a:pt x="792" y="8363"/>
                  </a:lnTo>
                  <a:lnTo>
                    <a:pt x="2664" y="5623"/>
                  </a:lnTo>
                  <a:lnTo>
                    <a:pt x="7129" y="0"/>
                  </a:lnTo>
                </a:path>
              </a:pathLst>
            </a:custGeom>
            <a:solidFill>
              <a:srgbClr val="A9218E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EE7AB76A-9AE2-BE1A-AB4C-CCF96580FAA6}"/>
                </a:ext>
              </a:extLst>
            </p:cNvPr>
            <p:cNvSpPr/>
            <p:nvPr/>
          </p:nvSpPr>
          <p:spPr>
            <a:xfrm>
              <a:off x="9664305" y="3546780"/>
              <a:ext cx="69565" cy="39506"/>
            </a:xfrm>
            <a:custGeom>
              <a:avLst/>
              <a:gdLst>
                <a:gd name="connsiteX0" fmla="*/ 22180 w 69565"/>
                <a:gd name="connsiteY0" fmla="*/ 216 h 39506"/>
                <a:gd name="connsiteX1" fmla="*/ 25709 w 69565"/>
                <a:gd name="connsiteY1" fmla="*/ 0 h 39506"/>
                <a:gd name="connsiteX2" fmla="*/ 29238 w 69565"/>
                <a:gd name="connsiteY2" fmla="*/ 360 h 39506"/>
                <a:gd name="connsiteX3" fmla="*/ 49545 w 69565"/>
                <a:gd name="connsiteY3" fmla="*/ 2379 h 39506"/>
                <a:gd name="connsiteX4" fmla="*/ 55234 w 69565"/>
                <a:gd name="connsiteY4" fmla="*/ 3244 h 39506"/>
                <a:gd name="connsiteX5" fmla="*/ 60635 w 69565"/>
                <a:gd name="connsiteY5" fmla="*/ 4758 h 39506"/>
                <a:gd name="connsiteX6" fmla="*/ 63084 w 69565"/>
                <a:gd name="connsiteY6" fmla="*/ 6272 h 39506"/>
                <a:gd name="connsiteX7" fmla="*/ 65244 w 69565"/>
                <a:gd name="connsiteY7" fmla="*/ 8435 h 39506"/>
                <a:gd name="connsiteX8" fmla="*/ 67045 w 69565"/>
                <a:gd name="connsiteY8" fmla="*/ 11679 h 39506"/>
                <a:gd name="connsiteX9" fmla="*/ 68485 w 69565"/>
                <a:gd name="connsiteY9" fmla="*/ 16005 h 39506"/>
                <a:gd name="connsiteX10" fmla="*/ 69565 w 69565"/>
                <a:gd name="connsiteY10" fmla="*/ 23358 h 39506"/>
                <a:gd name="connsiteX11" fmla="*/ 69205 w 69565"/>
                <a:gd name="connsiteY11" fmla="*/ 27035 h 39506"/>
                <a:gd name="connsiteX12" fmla="*/ 67837 w 69565"/>
                <a:gd name="connsiteY12" fmla="*/ 30423 h 39506"/>
                <a:gd name="connsiteX13" fmla="*/ 65964 w 69565"/>
                <a:gd name="connsiteY13" fmla="*/ 32586 h 39506"/>
                <a:gd name="connsiteX14" fmla="*/ 63516 w 69565"/>
                <a:gd name="connsiteY14" fmla="*/ 34460 h 39506"/>
                <a:gd name="connsiteX15" fmla="*/ 56963 w 69565"/>
                <a:gd name="connsiteY15" fmla="*/ 37272 h 39506"/>
                <a:gd name="connsiteX16" fmla="*/ 39751 w 69565"/>
                <a:gd name="connsiteY16" fmla="*/ 39507 h 39506"/>
                <a:gd name="connsiteX17" fmla="*/ 34278 w 69565"/>
                <a:gd name="connsiteY17" fmla="*/ 38786 h 39506"/>
                <a:gd name="connsiteX18" fmla="*/ 29021 w 69565"/>
                <a:gd name="connsiteY18" fmla="*/ 37272 h 39506"/>
                <a:gd name="connsiteX19" fmla="*/ 23764 w 69565"/>
                <a:gd name="connsiteY19" fmla="*/ 35830 h 39506"/>
                <a:gd name="connsiteX20" fmla="*/ 18652 w 69565"/>
                <a:gd name="connsiteY20" fmla="*/ 35253 h 39506"/>
                <a:gd name="connsiteX21" fmla="*/ 11450 w 69565"/>
                <a:gd name="connsiteY21" fmla="*/ 34388 h 39506"/>
                <a:gd name="connsiteX22" fmla="*/ 6049 w 69565"/>
                <a:gd name="connsiteY22" fmla="*/ 31721 h 39506"/>
                <a:gd name="connsiteX23" fmla="*/ 2448 w 69565"/>
                <a:gd name="connsiteY23" fmla="*/ 27900 h 39506"/>
                <a:gd name="connsiteX24" fmla="*/ 504 w 69565"/>
                <a:gd name="connsiteY24" fmla="*/ 23574 h 39506"/>
                <a:gd name="connsiteX25" fmla="*/ 0 w 69565"/>
                <a:gd name="connsiteY25" fmla="*/ 18816 h 39506"/>
                <a:gd name="connsiteX26" fmla="*/ 1152 w 69565"/>
                <a:gd name="connsiteY26" fmla="*/ 14707 h 39506"/>
                <a:gd name="connsiteX27" fmla="*/ 3529 w 69565"/>
                <a:gd name="connsiteY27" fmla="*/ 11246 h 39506"/>
                <a:gd name="connsiteX28" fmla="*/ 6625 w 69565"/>
                <a:gd name="connsiteY28" fmla="*/ 8507 h 39506"/>
                <a:gd name="connsiteX29" fmla="*/ 13395 w 69565"/>
                <a:gd name="connsiteY29" fmla="*/ 4758 h 39506"/>
                <a:gd name="connsiteX30" fmla="*/ 18003 w 69565"/>
                <a:gd name="connsiteY30" fmla="*/ 3100 h 39506"/>
                <a:gd name="connsiteX31" fmla="*/ 19156 w 69565"/>
                <a:gd name="connsiteY31" fmla="*/ 2523 h 39506"/>
                <a:gd name="connsiteX32" fmla="*/ 19948 w 69565"/>
                <a:gd name="connsiteY32" fmla="*/ 1730 h 39506"/>
                <a:gd name="connsiteX33" fmla="*/ 20812 w 69565"/>
                <a:gd name="connsiteY33" fmla="*/ 865 h 39506"/>
                <a:gd name="connsiteX34" fmla="*/ 22180 w 69565"/>
                <a:gd name="connsiteY34" fmla="*/ 216 h 3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9565" h="39506">
                  <a:moveTo>
                    <a:pt x="22180" y="216"/>
                  </a:moveTo>
                  <a:lnTo>
                    <a:pt x="25709" y="0"/>
                  </a:lnTo>
                  <a:lnTo>
                    <a:pt x="29238" y="360"/>
                  </a:lnTo>
                  <a:lnTo>
                    <a:pt x="49545" y="2379"/>
                  </a:lnTo>
                  <a:lnTo>
                    <a:pt x="55234" y="3244"/>
                  </a:lnTo>
                  <a:lnTo>
                    <a:pt x="60635" y="4758"/>
                  </a:lnTo>
                  <a:lnTo>
                    <a:pt x="63084" y="6272"/>
                  </a:lnTo>
                  <a:lnTo>
                    <a:pt x="65244" y="8435"/>
                  </a:lnTo>
                  <a:lnTo>
                    <a:pt x="67045" y="11679"/>
                  </a:lnTo>
                  <a:lnTo>
                    <a:pt x="68485" y="16005"/>
                  </a:lnTo>
                  <a:lnTo>
                    <a:pt x="69565" y="23358"/>
                  </a:lnTo>
                  <a:lnTo>
                    <a:pt x="69205" y="27035"/>
                  </a:lnTo>
                  <a:lnTo>
                    <a:pt x="67837" y="30423"/>
                  </a:lnTo>
                  <a:lnTo>
                    <a:pt x="65964" y="32586"/>
                  </a:lnTo>
                  <a:lnTo>
                    <a:pt x="63516" y="34460"/>
                  </a:lnTo>
                  <a:lnTo>
                    <a:pt x="56963" y="37272"/>
                  </a:lnTo>
                  <a:lnTo>
                    <a:pt x="39751" y="39507"/>
                  </a:lnTo>
                  <a:lnTo>
                    <a:pt x="34278" y="38786"/>
                  </a:lnTo>
                  <a:lnTo>
                    <a:pt x="29021" y="37272"/>
                  </a:lnTo>
                  <a:lnTo>
                    <a:pt x="23764" y="35830"/>
                  </a:lnTo>
                  <a:lnTo>
                    <a:pt x="18652" y="35253"/>
                  </a:lnTo>
                  <a:lnTo>
                    <a:pt x="11450" y="34388"/>
                  </a:lnTo>
                  <a:lnTo>
                    <a:pt x="6049" y="31721"/>
                  </a:lnTo>
                  <a:lnTo>
                    <a:pt x="2448" y="27900"/>
                  </a:lnTo>
                  <a:lnTo>
                    <a:pt x="504" y="23574"/>
                  </a:lnTo>
                  <a:lnTo>
                    <a:pt x="0" y="18816"/>
                  </a:lnTo>
                  <a:lnTo>
                    <a:pt x="1152" y="14707"/>
                  </a:lnTo>
                  <a:lnTo>
                    <a:pt x="3529" y="11246"/>
                  </a:lnTo>
                  <a:lnTo>
                    <a:pt x="6625" y="8507"/>
                  </a:lnTo>
                  <a:lnTo>
                    <a:pt x="13395" y="4758"/>
                  </a:lnTo>
                  <a:lnTo>
                    <a:pt x="18003" y="3100"/>
                  </a:lnTo>
                  <a:lnTo>
                    <a:pt x="19156" y="2523"/>
                  </a:lnTo>
                  <a:lnTo>
                    <a:pt x="19948" y="1730"/>
                  </a:lnTo>
                  <a:lnTo>
                    <a:pt x="20812" y="865"/>
                  </a:lnTo>
                  <a:lnTo>
                    <a:pt x="22180" y="216"/>
                  </a:lnTo>
                </a:path>
              </a:pathLst>
            </a:custGeom>
            <a:solidFill>
              <a:srgbClr val="353D98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949B839D-50A9-DEFF-A217-77181B1FCB07}"/>
                </a:ext>
              </a:extLst>
            </p:cNvPr>
            <p:cNvSpPr/>
            <p:nvPr/>
          </p:nvSpPr>
          <p:spPr>
            <a:xfrm>
              <a:off x="9669201" y="3603950"/>
              <a:ext cx="58186" cy="38137"/>
            </a:xfrm>
            <a:custGeom>
              <a:avLst/>
              <a:gdLst>
                <a:gd name="connsiteX0" fmla="*/ 32838 w 58186"/>
                <a:gd name="connsiteY0" fmla="*/ 0 h 38137"/>
                <a:gd name="connsiteX1" fmla="*/ 39463 w 58186"/>
                <a:gd name="connsiteY1" fmla="*/ 577 h 38137"/>
                <a:gd name="connsiteX2" fmla="*/ 46377 w 58186"/>
                <a:gd name="connsiteY2" fmla="*/ 3100 h 38137"/>
                <a:gd name="connsiteX3" fmla="*/ 48393 w 58186"/>
                <a:gd name="connsiteY3" fmla="*/ 5046 h 38137"/>
                <a:gd name="connsiteX4" fmla="*/ 50049 w 58186"/>
                <a:gd name="connsiteY4" fmla="*/ 6560 h 38137"/>
                <a:gd name="connsiteX5" fmla="*/ 53506 w 58186"/>
                <a:gd name="connsiteY5" fmla="*/ 7281 h 38137"/>
                <a:gd name="connsiteX6" fmla="*/ 55162 w 58186"/>
                <a:gd name="connsiteY6" fmla="*/ 7786 h 38137"/>
                <a:gd name="connsiteX7" fmla="*/ 56243 w 58186"/>
                <a:gd name="connsiteY7" fmla="*/ 8723 h 38137"/>
                <a:gd name="connsiteX8" fmla="*/ 58043 w 58186"/>
                <a:gd name="connsiteY8" fmla="*/ 16653 h 38137"/>
                <a:gd name="connsiteX9" fmla="*/ 58187 w 58186"/>
                <a:gd name="connsiteY9" fmla="*/ 21700 h 38137"/>
                <a:gd name="connsiteX10" fmla="*/ 57395 w 58186"/>
                <a:gd name="connsiteY10" fmla="*/ 25881 h 38137"/>
                <a:gd name="connsiteX11" fmla="*/ 55882 w 58186"/>
                <a:gd name="connsiteY11" fmla="*/ 28477 h 38137"/>
                <a:gd name="connsiteX12" fmla="*/ 53722 w 58186"/>
                <a:gd name="connsiteY12" fmla="*/ 30784 h 38137"/>
                <a:gd name="connsiteX13" fmla="*/ 48033 w 58186"/>
                <a:gd name="connsiteY13" fmla="*/ 34388 h 38137"/>
                <a:gd name="connsiteX14" fmla="*/ 40904 w 58186"/>
                <a:gd name="connsiteY14" fmla="*/ 36767 h 38137"/>
                <a:gd name="connsiteX15" fmla="*/ 32910 w 58186"/>
                <a:gd name="connsiteY15" fmla="*/ 37993 h 38137"/>
                <a:gd name="connsiteX16" fmla="*/ 24701 w 58186"/>
                <a:gd name="connsiteY16" fmla="*/ 38137 h 38137"/>
                <a:gd name="connsiteX17" fmla="*/ 16851 w 58186"/>
                <a:gd name="connsiteY17" fmla="*/ 37200 h 38137"/>
                <a:gd name="connsiteX18" fmla="*/ 9938 w 58186"/>
                <a:gd name="connsiteY18" fmla="*/ 35398 h 38137"/>
                <a:gd name="connsiteX19" fmla="*/ 4681 w 58186"/>
                <a:gd name="connsiteY19" fmla="*/ 32730 h 38137"/>
                <a:gd name="connsiteX20" fmla="*/ 3025 w 58186"/>
                <a:gd name="connsiteY20" fmla="*/ 31144 h 38137"/>
                <a:gd name="connsiteX21" fmla="*/ 1872 w 58186"/>
                <a:gd name="connsiteY21" fmla="*/ 29270 h 38137"/>
                <a:gd name="connsiteX22" fmla="*/ 432 w 58186"/>
                <a:gd name="connsiteY22" fmla="*/ 25016 h 38137"/>
                <a:gd name="connsiteX23" fmla="*/ 0 w 58186"/>
                <a:gd name="connsiteY23" fmla="*/ 20330 h 38137"/>
                <a:gd name="connsiteX24" fmla="*/ 936 w 58186"/>
                <a:gd name="connsiteY24" fmla="*/ 16221 h 38137"/>
                <a:gd name="connsiteX25" fmla="*/ 3097 w 58186"/>
                <a:gd name="connsiteY25" fmla="*/ 12688 h 38137"/>
                <a:gd name="connsiteX26" fmla="*/ 5977 w 58186"/>
                <a:gd name="connsiteY26" fmla="*/ 9733 h 38137"/>
                <a:gd name="connsiteX27" fmla="*/ 13106 w 58186"/>
                <a:gd name="connsiteY27" fmla="*/ 5623 h 38137"/>
                <a:gd name="connsiteX28" fmla="*/ 19732 w 58186"/>
                <a:gd name="connsiteY28" fmla="*/ 3821 h 38137"/>
                <a:gd name="connsiteX29" fmla="*/ 26429 w 58186"/>
                <a:gd name="connsiteY29" fmla="*/ 1802 h 38137"/>
                <a:gd name="connsiteX30" fmla="*/ 32838 w 58186"/>
                <a:gd name="connsiteY30" fmla="*/ 0 h 3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8186" h="38137">
                  <a:moveTo>
                    <a:pt x="32838" y="0"/>
                  </a:moveTo>
                  <a:lnTo>
                    <a:pt x="39463" y="577"/>
                  </a:lnTo>
                  <a:lnTo>
                    <a:pt x="46377" y="3100"/>
                  </a:lnTo>
                  <a:lnTo>
                    <a:pt x="48393" y="5046"/>
                  </a:lnTo>
                  <a:lnTo>
                    <a:pt x="50049" y="6560"/>
                  </a:lnTo>
                  <a:lnTo>
                    <a:pt x="53506" y="7281"/>
                  </a:lnTo>
                  <a:lnTo>
                    <a:pt x="55162" y="7786"/>
                  </a:lnTo>
                  <a:lnTo>
                    <a:pt x="56243" y="8723"/>
                  </a:lnTo>
                  <a:lnTo>
                    <a:pt x="58043" y="16653"/>
                  </a:lnTo>
                  <a:lnTo>
                    <a:pt x="58187" y="21700"/>
                  </a:lnTo>
                  <a:lnTo>
                    <a:pt x="57395" y="25881"/>
                  </a:lnTo>
                  <a:lnTo>
                    <a:pt x="55882" y="28477"/>
                  </a:lnTo>
                  <a:lnTo>
                    <a:pt x="53722" y="30784"/>
                  </a:lnTo>
                  <a:lnTo>
                    <a:pt x="48033" y="34388"/>
                  </a:lnTo>
                  <a:lnTo>
                    <a:pt x="40904" y="36767"/>
                  </a:lnTo>
                  <a:lnTo>
                    <a:pt x="32910" y="37993"/>
                  </a:lnTo>
                  <a:lnTo>
                    <a:pt x="24701" y="38137"/>
                  </a:lnTo>
                  <a:lnTo>
                    <a:pt x="16851" y="37200"/>
                  </a:lnTo>
                  <a:lnTo>
                    <a:pt x="9938" y="35398"/>
                  </a:lnTo>
                  <a:lnTo>
                    <a:pt x="4681" y="32730"/>
                  </a:lnTo>
                  <a:lnTo>
                    <a:pt x="3025" y="31144"/>
                  </a:lnTo>
                  <a:lnTo>
                    <a:pt x="1872" y="29270"/>
                  </a:lnTo>
                  <a:lnTo>
                    <a:pt x="432" y="25016"/>
                  </a:lnTo>
                  <a:lnTo>
                    <a:pt x="0" y="20330"/>
                  </a:lnTo>
                  <a:lnTo>
                    <a:pt x="936" y="16221"/>
                  </a:lnTo>
                  <a:lnTo>
                    <a:pt x="3097" y="12688"/>
                  </a:lnTo>
                  <a:lnTo>
                    <a:pt x="5977" y="9733"/>
                  </a:lnTo>
                  <a:lnTo>
                    <a:pt x="13106" y="5623"/>
                  </a:lnTo>
                  <a:lnTo>
                    <a:pt x="19732" y="3821"/>
                  </a:lnTo>
                  <a:lnTo>
                    <a:pt x="26429" y="1802"/>
                  </a:lnTo>
                  <a:lnTo>
                    <a:pt x="32838" y="0"/>
                  </a:lnTo>
                </a:path>
              </a:pathLst>
            </a:custGeom>
            <a:solidFill>
              <a:srgbClr val="002E56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149346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9040390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-no sid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9DB550-713C-024B-AFE8-36C3DA3DE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67" y="159119"/>
            <a:ext cx="10011090" cy="102651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1B00CFC-62AE-8749-B76A-0FDE7D46303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60467" y="1663188"/>
            <a:ext cx="10011089" cy="437454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3C86BF85-0E73-41F1-8E42-98E1D0359C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9900" y="6218915"/>
            <a:ext cx="1193132" cy="49371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DFFEDF77-EAF2-446B-9E05-B5BB77157F27}"/>
              </a:ext>
            </a:extLst>
          </p:cNvPr>
          <p:cNvSpPr/>
          <p:nvPr userDrawn="1"/>
        </p:nvSpPr>
        <p:spPr>
          <a:xfrm>
            <a:off x="0" y="0"/>
            <a:ext cx="12192000" cy="7612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2C030A49-9D05-4A7C-85BB-F023F597EA22}"/>
              </a:ext>
            </a:extLst>
          </p:cNvPr>
          <p:cNvSpPr txBox="1"/>
          <p:nvPr userDrawn="1"/>
        </p:nvSpPr>
        <p:spPr>
          <a:xfrm>
            <a:off x="536809" y="6592691"/>
            <a:ext cx="279244" cy="184666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fld id="{F82A0079-4CF8-4C9D-8029-646BECB570D1}" type="slidenum">
              <a:rPr lang="en-US" sz="60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pPr marL="0" marR="0" indent="0" algn="r" defTabSz="4572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</a:pPr>
              <a:t>‹nº›</a:t>
            </a:fld>
            <a:endParaRPr kumimoji="0" lang="en-US" sz="600" i="0" u="none" strike="noStrike" kern="1200" spc="0" normalizeH="0" baseline="0" noProof="0" err="1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56850824-4627-40B4-BA3C-C755270E8867}"/>
              </a:ext>
            </a:extLst>
          </p:cNvPr>
          <p:cNvSpPr txBox="1"/>
          <p:nvPr userDrawn="1"/>
        </p:nvSpPr>
        <p:spPr>
          <a:xfrm>
            <a:off x="669907" y="6592691"/>
            <a:ext cx="1656223" cy="184666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r>
              <a:rPr lang="en-US" sz="6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|  © 2020 BioMarin Global Medical Affairs </a:t>
            </a:r>
            <a:endParaRPr kumimoji="0" lang="en-US" sz="600" i="0" u="none" strike="noStrike" kern="1200" spc="0" normalizeH="0" baseline="0" noProof="0" err="1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9754486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and Text-no sid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9DB550-713C-024B-AFE8-36C3DA3DE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66" y="159119"/>
            <a:ext cx="10011091" cy="102651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1B00CFC-62AE-8749-B76A-0FDE7D46303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60467" y="1722789"/>
            <a:ext cx="10011090" cy="431122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xmlns="" id="{43B12624-0F0C-3944-93AD-1794E0CA2D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466" y="1090628"/>
            <a:ext cx="10011091" cy="632162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>
              <a:buNone/>
              <a:defRPr sz="220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6014151-8055-4FE8-AB03-B7CB9B86BB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9900" y="6218915"/>
            <a:ext cx="1193132" cy="49371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1BF814A-5F7D-4846-962E-3CBF35F1027A}"/>
              </a:ext>
            </a:extLst>
          </p:cNvPr>
          <p:cNvSpPr/>
          <p:nvPr userDrawn="1"/>
        </p:nvSpPr>
        <p:spPr>
          <a:xfrm>
            <a:off x="0" y="0"/>
            <a:ext cx="12192000" cy="7612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EF2924B6-215C-4D03-A627-B4B3A07BAA05}"/>
              </a:ext>
            </a:extLst>
          </p:cNvPr>
          <p:cNvSpPr txBox="1"/>
          <p:nvPr userDrawn="1"/>
        </p:nvSpPr>
        <p:spPr>
          <a:xfrm>
            <a:off x="536809" y="6592691"/>
            <a:ext cx="279244" cy="184666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fld id="{F82A0079-4CF8-4C9D-8029-646BECB570D1}" type="slidenum">
              <a:rPr lang="en-US" sz="60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pPr marL="0" marR="0" indent="0" algn="r" defTabSz="4572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</a:pPr>
              <a:t>‹nº›</a:t>
            </a:fld>
            <a:endParaRPr kumimoji="0" lang="en-US" sz="600" i="0" u="none" strike="noStrike" kern="1200" spc="0" normalizeH="0" baseline="0" noProof="0" err="1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C8E5C95-FC3D-442D-97BE-F6C1DF545484}"/>
              </a:ext>
            </a:extLst>
          </p:cNvPr>
          <p:cNvSpPr txBox="1"/>
          <p:nvPr userDrawn="1"/>
        </p:nvSpPr>
        <p:spPr>
          <a:xfrm>
            <a:off x="669907" y="6592691"/>
            <a:ext cx="1656223" cy="184666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r>
              <a:rPr lang="en-US" sz="6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|  © 2020 BioMarin Global Medical Affairs </a:t>
            </a:r>
            <a:endParaRPr kumimoji="0" lang="en-US" sz="600" i="0" u="none" strike="noStrike" kern="1200" spc="0" normalizeH="0" baseline="0" noProof="0" err="1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8686886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6204EF3C-2C47-4A31-8FC7-BCDA118C8E62}"/>
              </a:ext>
            </a:extLst>
          </p:cNvPr>
          <p:cNvGrpSpPr/>
          <p:nvPr userDrawn="1"/>
        </p:nvGrpSpPr>
        <p:grpSpPr>
          <a:xfrm flipV="1">
            <a:off x="0" y="3823390"/>
            <a:ext cx="11430000" cy="3034609"/>
            <a:chOff x="0" y="0"/>
            <a:chExt cx="11860132" cy="3148807"/>
          </a:xfrm>
        </p:grpSpPr>
        <p:sp>
          <p:nvSpPr>
            <p:cNvPr id="8" name="Hexagon 7">
              <a:extLst>
                <a:ext uri="{FF2B5EF4-FFF2-40B4-BE49-F238E27FC236}">
                  <a16:creationId xmlns:a16="http://schemas.microsoft.com/office/drawing/2014/main" xmlns="" id="{DBCCC9B8-F511-434B-AE5B-A433D9F0F36C}"/>
                </a:ext>
              </a:extLst>
            </p:cNvPr>
            <p:cNvSpPr/>
            <p:nvPr userDrawn="1"/>
          </p:nvSpPr>
          <p:spPr>
            <a:xfrm>
              <a:off x="9186022" y="1433734"/>
              <a:ext cx="983020" cy="847430"/>
            </a:xfrm>
            <a:prstGeom prst="hexagon">
              <a:avLst>
                <a:gd name="adj" fmla="val 29762"/>
                <a:gd name="vf" fmla="val 115470"/>
              </a:avLst>
            </a:prstGeom>
            <a:solidFill>
              <a:schemeClr val="accent6">
                <a:alpha val="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Picture 9" descr="A close up of a logo&#10;&#10;Description automatically generated">
              <a:extLst>
                <a:ext uri="{FF2B5EF4-FFF2-40B4-BE49-F238E27FC236}">
                  <a16:creationId xmlns:a16="http://schemas.microsoft.com/office/drawing/2014/main" xmlns="" id="{E677B86B-8298-41AD-A9E4-F1BAB61293E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0"/>
              <a:ext cx="9699728" cy="3148807"/>
            </a:xfrm>
            <a:prstGeom prst="rect">
              <a:avLst/>
            </a:prstGeom>
          </p:spPr>
        </p:pic>
        <p:sp>
          <p:nvSpPr>
            <p:cNvPr id="17" name="Hexagon 16">
              <a:extLst>
                <a:ext uri="{FF2B5EF4-FFF2-40B4-BE49-F238E27FC236}">
                  <a16:creationId xmlns:a16="http://schemas.microsoft.com/office/drawing/2014/main" xmlns="" id="{FA2121F1-027A-4770-A4D5-CDC0B4150A68}"/>
                </a:ext>
              </a:extLst>
            </p:cNvPr>
            <p:cNvSpPr/>
            <p:nvPr userDrawn="1"/>
          </p:nvSpPr>
          <p:spPr>
            <a:xfrm>
              <a:off x="9619016" y="188750"/>
              <a:ext cx="775460" cy="668500"/>
            </a:xfrm>
            <a:prstGeom prst="hexagon">
              <a:avLst>
                <a:gd name="adj" fmla="val 29762"/>
                <a:gd name="vf" fmla="val 115470"/>
              </a:avLst>
            </a:prstGeom>
            <a:solidFill>
              <a:schemeClr val="accent6">
                <a:alpha val="14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xmlns="" id="{87EDACE6-C31C-4494-B76B-33B66FA0F9BD}"/>
                </a:ext>
              </a:extLst>
            </p:cNvPr>
            <p:cNvSpPr/>
            <p:nvPr userDrawn="1"/>
          </p:nvSpPr>
          <p:spPr>
            <a:xfrm>
              <a:off x="10066391" y="715134"/>
              <a:ext cx="376752" cy="324786"/>
            </a:xfrm>
            <a:prstGeom prst="hexagon">
              <a:avLst>
                <a:gd name="adj" fmla="val 29762"/>
                <a:gd name="vf" fmla="val 115470"/>
              </a:avLst>
            </a:prstGeom>
            <a:solidFill>
              <a:schemeClr val="accent6">
                <a:alpha val="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Hexagon 18">
              <a:extLst>
                <a:ext uri="{FF2B5EF4-FFF2-40B4-BE49-F238E27FC236}">
                  <a16:creationId xmlns:a16="http://schemas.microsoft.com/office/drawing/2014/main" xmlns="" id="{D9A456FA-5D7E-442E-8182-407AF5E26CC5}"/>
                </a:ext>
              </a:extLst>
            </p:cNvPr>
            <p:cNvSpPr/>
            <p:nvPr userDrawn="1"/>
          </p:nvSpPr>
          <p:spPr>
            <a:xfrm>
              <a:off x="8397240" y="126421"/>
              <a:ext cx="1136051" cy="979354"/>
            </a:xfrm>
            <a:prstGeom prst="hexagon">
              <a:avLst>
                <a:gd name="adj" fmla="val 29762"/>
                <a:gd name="vf" fmla="val 115470"/>
              </a:avLst>
            </a:prstGeom>
            <a:solidFill>
              <a:schemeClr val="accent6">
                <a:alpha val="14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Hexagon 19">
              <a:extLst>
                <a:ext uri="{FF2B5EF4-FFF2-40B4-BE49-F238E27FC236}">
                  <a16:creationId xmlns:a16="http://schemas.microsoft.com/office/drawing/2014/main" xmlns="" id="{53D67A4E-E9CC-459B-B566-DEB4346F9D38}"/>
                </a:ext>
              </a:extLst>
            </p:cNvPr>
            <p:cNvSpPr/>
            <p:nvPr userDrawn="1"/>
          </p:nvSpPr>
          <p:spPr>
            <a:xfrm>
              <a:off x="10779639" y="69773"/>
              <a:ext cx="586266" cy="505401"/>
            </a:xfrm>
            <a:prstGeom prst="hexagon">
              <a:avLst>
                <a:gd name="adj" fmla="val 29762"/>
                <a:gd name="vf" fmla="val 115470"/>
              </a:avLst>
            </a:prstGeom>
            <a:solidFill>
              <a:schemeClr val="accent6">
                <a:alpha val="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Hexagon 20">
              <a:extLst>
                <a:ext uri="{FF2B5EF4-FFF2-40B4-BE49-F238E27FC236}">
                  <a16:creationId xmlns:a16="http://schemas.microsoft.com/office/drawing/2014/main" xmlns="" id="{7EA7D74A-39D8-43D4-88AE-CE0D0258256D}"/>
                </a:ext>
              </a:extLst>
            </p:cNvPr>
            <p:cNvSpPr/>
            <p:nvPr userDrawn="1"/>
          </p:nvSpPr>
          <p:spPr>
            <a:xfrm>
              <a:off x="10558451" y="297582"/>
              <a:ext cx="384920" cy="331827"/>
            </a:xfrm>
            <a:prstGeom prst="hexagon">
              <a:avLst>
                <a:gd name="adj" fmla="val 29762"/>
                <a:gd name="vf" fmla="val 115470"/>
              </a:avLst>
            </a:prstGeom>
            <a:solidFill>
              <a:schemeClr val="accent6">
                <a:alpha val="14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xmlns="" id="{F18FBBB9-0204-4AAA-9730-E22D26B3F49B}"/>
                </a:ext>
              </a:extLst>
            </p:cNvPr>
            <p:cNvSpPr/>
            <p:nvPr userDrawn="1"/>
          </p:nvSpPr>
          <p:spPr>
            <a:xfrm>
              <a:off x="9107753" y="0"/>
              <a:ext cx="440130" cy="297418"/>
            </a:xfrm>
            <a:custGeom>
              <a:avLst/>
              <a:gdLst>
                <a:gd name="connsiteX0" fmla="*/ 64112 w 440130"/>
                <a:gd name="connsiteY0" fmla="*/ 0 h 297418"/>
                <a:gd name="connsiteX1" fmla="*/ 376018 w 440130"/>
                <a:gd name="connsiteY1" fmla="*/ 0 h 297418"/>
                <a:gd name="connsiteX2" fmla="*/ 440130 w 440130"/>
                <a:gd name="connsiteY2" fmla="*/ 107707 h 297418"/>
                <a:gd name="connsiteX3" fmla="*/ 327206 w 440130"/>
                <a:gd name="connsiteY3" fmla="*/ 297418 h 297418"/>
                <a:gd name="connsiteX4" fmla="*/ 112924 w 440130"/>
                <a:gd name="connsiteY4" fmla="*/ 297418 h 297418"/>
                <a:gd name="connsiteX5" fmla="*/ 0 w 440130"/>
                <a:gd name="connsiteY5" fmla="*/ 107707 h 297418"/>
                <a:gd name="connsiteX6" fmla="*/ 64112 w 440130"/>
                <a:gd name="connsiteY6" fmla="*/ 0 h 297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0130" h="297418">
                  <a:moveTo>
                    <a:pt x="64112" y="0"/>
                  </a:moveTo>
                  <a:lnTo>
                    <a:pt x="376018" y="0"/>
                  </a:lnTo>
                  <a:lnTo>
                    <a:pt x="440130" y="107707"/>
                  </a:lnTo>
                  <a:lnTo>
                    <a:pt x="327206" y="297418"/>
                  </a:lnTo>
                  <a:lnTo>
                    <a:pt x="112924" y="297418"/>
                  </a:lnTo>
                  <a:lnTo>
                    <a:pt x="0" y="107707"/>
                  </a:lnTo>
                  <a:lnTo>
                    <a:pt x="64112" y="0"/>
                  </a:lnTo>
                  <a:close/>
                </a:path>
              </a:pathLst>
            </a:custGeom>
            <a:solidFill>
              <a:schemeClr val="accent6">
                <a:alpha val="14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xmlns="" id="{D8B35DAE-0755-4548-B4C0-07B6D8B2B955}"/>
                </a:ext>
              </a:extLst>
            </p:cNvPr>
            <p:cNvSpPr/>
            <p:nvPr userDrawn="1"/>
          </p:nvSpPr>
          <p:spPr>
            <a:xfrm>
              <a:off x="10324130" y="0"/>
              <a:ext cx="440130" cy="189711"/>
            </a:xfrm>
            <a:custGeom>
              <a:avLst/>
              <a:gdLst>
                <a:gd name="connsiteX0" fmla="*/ 0 w 440130"/>
                <a:gd name="connsiteY0" fmla="*/ 0 h 189711"/>
                <a:gd name="connsiteX1" fmla="*/ 440130 w 440130"/>
                <a:gd name="connsiteY1" fmla="*/ 0 h 189711"/>
                <a:gd name="connsiteX2" fmla="*/ 327206 w 440130"/>
                <a:gd name="connsiteY2" fmla="*/ 189711 h 189711"/>
                <a:gd name="connsiteX3" fmla="*/ 112924 w 440130"/>
                <a:gd name="connsiteY3" fmla="*/ 189711 h 189711"/>
                <a:gd name="connsiteX4" fmla="*/ 0 w 440130"/>
                <a:gd name="connsiteY4" fmla="*/ 0 h 18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130" h="189711">
                  <a:moveTo>
                    <a:pt x="0" y="0"/>
                  </a:moveTo>
                  <a:lnTo>
                    <a:pt x="440130" y="0"/>
                  </a:lnTo>
                  <a:lnTo>
                    <a:pt x="327206" y="189711"/>
                  </a:lnTo>
                  <a:lnTo>
                    <a:pt x="112924" y="1897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alpha val="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4462AD05-046A-4219-9140-788BE5690B89}"/>
                </a:ext>
              </a:extLst>
            </p:cNvPr>
            <p:cNvSpPr/>
            <p:nvPr userDrawn="1"/>
          </p:nvSpPr>
          <p:spPr>
            <a:xfrm>
              <a:off x="11483380" y="0"/>
              <a:ext cx="376752" cy="265418"/>
            </a:xfrm>
            <a:custGeom>
              <a:avLst/>
              <a:gdLst>
                <a:gd name="connsiteX0" fmla="*/ 61325 w 376752"/>
                <a:gd name="connsiteY0" fmla="*/ 0 h 265418"/>
                <a:gd name="connsiteX1" fmla="*/ 315427 w 376752"/>
                <a:gd name="connsiteY1" fmla="*/ 0 h 265418"/>
                <a:gd name="connsiteX2" fmla="*/ 376752 w 376752"/>
                <a:gd name="connsiteY2" fmla="*/ 103025 h 265418"/>
                <a:gd name="connsiteX3" fmla="*/ 280089 w 376752"/>
                <a:gd name="connsiteY3" fmla="*/ 265418 h 265418"/>
                <a:gd name="connsiteX4" fmla="*/ 96663 w 376752"/>
                <a:gd name="connsiteY4" fmla="*/ 265418 h 265418"/>
                <a:gd name="connsiteX5" fmla="*/ 0 w 376752"/>
                <a:gd name="connsiteY5" fmla="*/ 103025 h 265418"/>
                <a:gd name="connsiteX6" fmla="*/ 61325 w 376752"/>
                <a:gd name="connsiteY6" fmla="*/ 0 h 265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6752" h="265418">
                  <a:moveTo>
                    <a:pt x="61325" y="0"/>
                  </a:moveTo>
                  <a:lnTo>
                    <a:pt x="315427" y="0"/>
                  </a:lnTo>
                  <a:lnTo>
                    <a:pt x="376752" y="103025"/>
                  </a:lnTo>
                  <a:lnTo>
                    <a:pt x="280089" y="265418"/>
                  </a:lnTo>
                  <a:lnTo>
                    <a:pt x="96663" y="265418"/>
                  </a:lnTo>
                  <a:lnTo>
                    <a:pt x="0" y="103025"/>
                  </a:lnTo>
                  <a:lnTo>
                    <a:pt x="61325" y="0"/>
                  </a:lnTo>
                  <a:close/>
                </a:path>
              </a:pathLst>
            </a:custGeom>
            <a:solidFill>
              <a:schemeClr val="accent6">
                <a:alpha val="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10BF33F8-4750-4573-A637-A713EDFB49BE}"/>
              </a:ext>
            </a:extLst>
          </p:cNvPr>
          <p:cNvSpPr/>
          <p:nvPr userDrawn="1"/>
        </p:nvSpPr>
        <p:spPr>
          <a:xfrm>
            <a:off x="0" y="0"/>
            <a:ext cx="12192000" cy="343417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 bwMode="gray">
          <a:xfrm>
            <a:off x="654273" y="659420"/>
            <a:ext cx="10756677" cy="1828800"/>
          </a:xfrm>
          <a:prstGeom prst="rect">
            <a:avLst/>
          </a:prstGeom>
        </p:spPr>
        <p:txBody>
          <a:bodyPr vert="horz" anchor="b"/>
          <a:lstStyle>
            <a:lvl1pPr algn="l">
              <a:lnSpc>
                <a:spcPct val="88000"/>
              </a:lnSpc>
              <a:defRPr sz="40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xmlns="" id="{735F3686-4967-B249-A839-3A8CCA2312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6974" y="2610474"/>
            <a:ext cx="5575076" cy="585216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E1D93826-9992-40E2-BE2A-00CCA0C83095}"/>
              </a:ext>
            </a:extLst>
          </p:cNvPr>
          <p:cNvGrpSpPr/>
          <p:nvPr userDrawn="1"/>
        </p:nvGrpSpPr>
        <p:grpSpPr>
          <a:xfrm>
            <a:off x="9243516" y="2976961"/>
            <a:ext cx="2567484" cy="1161804"/>
            <a:chOff x="8375921" y="2050604"/>
            <a:chExt cx="3054079" cy="1381991"/>
          </a:xfrm>
        </p:grpSpPr>
        <p:sp>
          <p:nvSpPr>
            <p:cNvPr id="26" name="Hexagon 25">
              <a:extLst>
                <a:ext uri="{FF2B5EF4-FFF2-40B4-BE49-F238E27FC236}">
                  <a16:creationId xmlns:a16="http://schemas.microsoft.com/office/drawing/2014/main" xmlns="" id="{0DC09304-DF80-4217-BB06-5A061C8C872F}"/>
                </a:ext>
              </a:extLst>
            </p:cNvPr>
            <p:cNvSpPr/>
            <p:nvPr/>
          </p:nvSpPr>
          <p:spPr>
            <a:xfrm>
              <a:off x="9303214" y="2050604"/>
              <a:ext cx="1307237" cy="112693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xmlns="" id="{506CFCE0-4314-45D8-9BFA-B795F8E521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375921" y="2168839"/>
              <a:ext cx="3054079" cy="12637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940420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6204EF3C-2C47-4A31-8FC7-BCDA118C8E62}"/>
              </a:ext>
            </a:extLst>
          </p:cNvPr>
          <p:cNvGrpSpPr/>
          <p:nvPr userDrawn="1"/>
        </p:nvGrpSpPr>
        <p:grpSpPr>
          <a:xfrm flipV="1">
            <a:off x="0" y="3823390"/>
            <a:ext cx="11430000" cy="3034609"/>
            <a:chOff x="0" y="0"/>
            <a:chExt cx="11860132" cy="3148807"/>
          </a:xfrm>
        </p:grpSpPr>
        <p:sp>
          <p:nvSpPr>
            <p:cNvPr id="8" name="Hexagon 7">
              <a:extLst>
                <a:ext uri="{FF2B5EF4-FFF2-40B4-BE49-F238E27FC236}">
                  <a16:creationId xmlns:a16="http://schemas.microsoft.com/office/drawing/2014/main" xmlns="" id="{DBCCC9B8-F511-434B-AE5B-A433D9F0F36C}"/>
                </a:ext>
              </a:extLst>
            </p:cNvPr>
            <p:cNvSpPr/>
            <p:nvPr userDrawn="1"/>
          </p:nvSpPr>
          <p:spPr>
            <a:xfrm>
              <a:off x="9186022" y="1433734"/>
              <a:ext cx="983020" cy="847430"/>
            </a:xfrm>
            <a:prstGeom prst="hexagon">
              <a:avLst>
                <a:gd name="adj" fmla="val 29762"/>
                <a:gd name="vf" fmla="val 115470"/>
              </a:avLst>
            </a:prstGeom>
            <a:solidFill>
              <a:schemeClr val="accent6">
                <a:alpha val="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Picture 9" descr="A close up of a logo&#10;&#10;Description automatically generated">
              <a:extLst>
                <a:ext uri="{FF2B5EF4-FFF2-40B4-BE49-F238E27FC236}">
                  <a16:creationId xmlns:a16="http://schemas.microsoft.com/office/drawing/2014/main" xmlns="" id="{E677B86B-8298-41AD-A9E4-F1BAB61293E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0"/>
              <a:ext cx="9699728" cy="3148807"/>
            </a:xfrm>
            <a:prstGeom prst="rect">
              <a:avLst/>
            </a:prstGeom>
          </p:spPr>
        </p:pic>
        <p:sp>
          <p:nvSpPr>
            <p:cNvPr id="17" name="Hexagon 16">
              <a:extLst>
                <a:ext uri="{FF2B5EF4-FFF2-40B4-BE49-F238E27FC236}">
                  <a16:creationId xmlns:a16="http://schemas.microsoft.com/office/drawing/2014/main" xmlns="" id="{FA2121F1-027A-4770-A4D5-CDC0B4150A68}"/>
                </a:ext>
              </a:extLst>
            </p:cNvPr>
            <p:cNvSpPr/>
            <p:nvPr userDrawn="1"/>
          </p:nvSpPr>
          <p:spPr>
            <a:xfrm>
              <a:off x="9619016" y="188750"/>
              <a:ext cx="775460" cy="668500"/>
            </a:xfrm>
            <a:prstGeom prst="hexagon">
              <a:avLst>
                <a:gd name="adj" fmla="val 29762"/>
                <a:gd name="vf" fmla="val 115470"/>
              </a:avLst>
            </a:prstGeom>
            <a:solidFill>
              <a:schemeClr val="accent6">
                <a:alpha val="14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xmlns="" id="{87EDACE6-C31C-4494-B76B-33B66FA0F9BD}"/>
                </a:ext>
              </a:extLst>
            </p:cNvPr>
            <p:cNvSpPr/>
            <p:nvPr userDrawn="1"/>
          </p:nvSpPr>
          <p:spPr>
            <a:xfrm>
              <a:off x="10066391" y="715134"/>
              <a:ext cx="376752" cy="324786"/>
            </a:xfrm>
            <a:prstGeom prst="hexagon">
              <a:avLst>
                <a:gd name="adj" fmla="val 29762"/>
                <a:gd name="vf" fmla="val 115470"/>
              </a:avLst>
            </a:prstGeom>
            <a:solidFill>
              <a:schemeClr val="accent6">
                <a:alpha val="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Hexagon 18">
              <a:extLst>
                <a:ext uri="{FF2B5EF4-FFF2-40B4-BE49-F238E27FC236}">
                  <a16:creationId xmlns:a16="http://schemas.microsoft.com/office/drawing/2014/main" xmlns="" id="{D9A456FA-5D7E-442E-8182-407AF5E26CC5}"/>
                </a:ext>
              </a:extLst>
            </p:cNvPr>
            <p:cNvSpPr/>
            <p:nvPr userDrawn="1"/>
          </p:nvSpPr>
          <p:spPr>
            <a:xfrm>
              <a:off x="8397240" y="126421"/>
              <a:ext cx="1136051" cy="979354"/>
            </a:xfrm>
            <a:prstGeom prst="hexagon">
              <a:avLst>
                <a:gd name="adj" fmla="val 29762"/>
                <a:gd name="vf" fmla="val 115470"/>
              </a:avLst>
            </a:prstGeom>
            <a:solidFill>
              <a:schemeClr val="accent6">
                <a:alpha val="14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Hexagon 19">
              <a:extLst>
                <a:ext uri="{FF2B5EF4-FFF2-40B4-BE49-F238E27FC236}">
                  <a16:creationId xmlns:a16="http://schemas.microsoft.com/office/drawing/2014/main" xmlns="" id="{53D67A4E-E9CC-459B-B566-DEB4346F9D38}"/>
                </a:ext>
              </a:extLst>
            </p:cNvPr>
            <p:cNvSpPr/>
            <p:nvPr userDrawn="1"/>
          </p:nvSpPr>
          <p:spPr>
            <a:xfrm>
              <a:off x="10779639" y="69773"/>
              <a:ext cx="586266" cy="505401"/>
            </a:xfrm>
            <a:prstGeom prst="hexagon">
              <a:avLst>
                <a:gd name="adj" fmla="val 29762"/>
                <a:gd name="vf" fmla="val 115470"/>
              </a:avLst>
            </a:prstGeom>
            <a:solidFill>
              <a:schemeClr val="accent6">
                <a:alpha val="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Hexagon 20">
              <a:extLst>
                <a:ext uri="{FF2B5EF4-FFF2-40B4-BE49-F238E27FC236}">
                  <a16:creationId xmlns:a16="http://schemas.microsoft.com/office/drawing/2014/main" xmlns="" id="{7EA7D74A-39D8-43D4-88AE-CE0D0258256D}"/>
                </a:ext>
              </a:extLst>
            </p:cNvPr>
            <p:cNvSpPr/>
            <p:nvPr userDrawn="1"/>
          </p:nvSpPr>
          <p:spPr>
            <a:xfrm>
              <a:off x="10558451" y="297582"/>
              <a:ext cx="384920" cy="331827"/>
            </a:xfrm>
            <a:prstGeom prst="hexagon">
              <a:avLst>
                <a:gd name="adj" fmla="val 29762"/>
                <a:gd name="vf" fmla="val 115470"/>
              </a:avLst>
            </a:prstGeom>
            <a:solidFill>
              <a:schemeClr val="accent6">
                <a:alpha val="14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xmlns="" id="{F18FBBB9-0204-4AAA-9730-E22D26B3F49B}"/>
                </a:ext>
              </a:extLst>
            </p:cNvPr>
            <p:cNvSpPr/>
            <p:nvPr userDrawn="1"/>
          </p:nvSpPr>
          <p:spPr>
            <a:xfrm>
              <a:off x="9107753" y="0"/>
              <a:ext cx="440130" cy="297418"/>
            </a:xfrm>
            <a:custGeom>
              <a:avLst/>
              <a:gdLst>
                <a:gd name="connsiteX0" fmla="*/ 64112 w 440130"/>
                <a:gd name="connsiteY0" fmla="*/ 0 h 297418"/>
                <a:gd name="connsiteX1" fmla="*/ 376018 w 440130"/>
                <a:gd name="connsiteY1" fmla="*/ 0 h 297418"/>
                <a:gd name="connsiteX2" fmla="*/ 440130 w 440130"/>
                <a:gd name="connsiteY2" fmla="*/ 107707 h 297418"/>
                <a:gd name="connsiteX3" fmla="*/ 327206 w 440130"/>
                <a:gd name="connsiteY3" fmla="*/ 297418 h 297418"/>
                <a:gd name="connsiteX4" fmla="*/ 112924 w 440130"/>
                <a:gd name="connsiteY4" fmla="*/ 297418 h 297418"/>
                <a:gd name="connsiteX5" fmla="*/ 0 w 440130"/>
                <a:gd name="connsiteY5" fmla="*/ 107707 h 297418"/>
                <a:gd name="connsiteX6" fmla="*/ 64112 w 440130"/>
                <a:gd name="connsiteY6" fmla="*/ 0 h 297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0130" h="297418">
                  <a:moveTo>
                    <a:pt x="64112" y="0"/>
                  </a:moveTo>
                  <a:lnTo>
                    <a:pt x="376018" y="0"/>
                  </a:lnTo>
                  <a:lnTo>
                    <a:pt x="440130" y="107707"/>
                  </a:lnTo>
                  <a:lnTo>
                    <a:pt x="327206" y="297418"/>
                  </a:lnTo>
                  <a:lnTo>
                    <a:pt x="112924" y="297418"/>
                  </a:lnTo>
                  <a:lnTo>
                    <a:pt x="0" y="107707"/>
                  </a:lnTo>
                  <a:lnTo>
                    <a:pt x="64112" y="0"/>
                  </a:lnTo>
                  <a:close/>
                </a:path>
              </a:pathLst>
            </a:custGeom>
            <a:solidFill>
              <a:schemeClr val="accent6">
                <a:alpha val="14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xmlns="" id="{D8B35DAE-0755-4548-B4C0-07B6D8B2B955}"/>
                </a:ext>
              </a:extLst>
            </p:cNvPr>
            <p:cNvSpPr/>
            <p:nvPr userDrawn="1"/>
          </p:nvSpPr>
          <p:spPr>
            <a:xfrm>
              <a:off x="10324130" y="0"/>
              <a:ext cx="440130" cy="189711"/>
            </a:xfrm>
            <a:custGeom>
              <a:avLst/>
              <a:gdLst>
                <a:gd name="connsiteX0" fmla="*/ 0 w 440130"/>
                <a:gd name="connsiteY0" fmla="*/ 0 h 189711"/>
                <a:gd name="connsiteX1" fmla="*/ 440130 w 440130"/>
                <a:gd name="connsiteY1" fmla="*/ 0 h 189711"/>
                <a:gd name="connsiteX2" fmla="*/ 327206 w 440130"/>
                <a:gd name="connsiteY2" fmla="*/ 189711 h 189711"/>
                <a:gd name="connsiteX3" fmla="*/ 112924 w 440130"/>
                <a:gd name="connsiteY3" fmla="*/ 189711 h 189711"/>
                <a:gd name="connsiteX4" fmla="*/ 0 w 440130"/>
                <a:gd name="connsiteY4" fmla="*/ 0 h 18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130" h="189711">
                  <a:moveTo>
                    <a:pt x="0" y="0"/>
                  </a:moveTo>
                  <a:lnTo>
                    <a:pt x="440130" y="0"/>
                  </a:lnTo>
                  <a:lnTo>
                    <a:pt x="327206" y="189711"/>
                  </a:lnTo>
                  <a:lnTo>
                    <a:pt x="112924" y="1897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alpha val="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4462AD05-046A-4219-9140-788BE5690B89}"/>
                </a:ext>
              </a:extLst>
            </p:cNvPr>
            <p:cNvSpPr/>
            <p:nvPr userDrawn="1"/>
          </p:nvSpPr>
          <p:spPr>
            <a:xfrm>
              <a:off x="11483380" y="0"/>
              <a:ext cx="376752" cy="265418"/>
            </a:xfrm>
            <a:custGeom>
              <a:avLst/>
              <a:gdLst>
                <a:gd name="connsiteX0" fmla="*/ 61325 w 376752"/>
                <a:gd name="connsiteY0" fmla="*/ 0 h 265418"/>
                <a:gd name="connsiteX1" fmla="*/ 315427 w 376752"/>
                <a:gd name="connsiteY1" fmla="*/ 0 h 265418"/>
                <a:gd name="connsiteX2" fmla="*/ 376752 w 376752"/>
                <a:gd name="connsiteY2" fmla="*/ 103025 h 265418"/>
                <a:gd name="connsiteX3" fmla="*/ 280089 w 376752"/>
                <a:gd name="connsiteY3" fmla="*/ 265418 h 265418"/>
                <a:gd name="connsiteX4" fmla="*/ 96663 w 376752"/>
                <a:gd name="connsiteY4" fmla="*/ 265418 h 265418"/>
                <a:gd name="connsiteX5" fmla="*/ 0 w 376752"/>
                <a:gd name="connsiteY5" fmla="*/ 103025 h 265418"/>
                <a:gd name="connsiteX6" fmla="*/ 61325 w 376752"/>
                <a:gd name="connsiteY6" fmla="*/ 0 h 265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6752" h="265418">
                  <a:moveTo>
                    <a:pt x="61325" y="0"/>
                  </a:moveTo>
                  <a:lnTo>
                    <a:pt x="315427" y="0"/>
                  </a:lnTo>
                  <a:lnTo>
                    <a:pt x="376752" y="103025"/>
                  </a:lnTo>
                  <a:lnTo>
                    <a:pt x="280089" y="265418"/>
                  </a:lnTo>
                  <a:lnTo>
                    <a:pt x="96663" y="265418"/>
                  </a:lnTo>
                  <a:lnTo>
                    <a:pt x="0" y="103025"/>
                  </a:lnTo>
                  <a:lnTo>
                    <a:pt x="61325" y="0"/>
                  </a:lnTo>
                  <a:close/>
                </a:path>
              </a:pathLst>
            </a:custGeom>
            <a:solidFill>
              <a:schemeClr val="accent6">
                <a:alpha val="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Title 11"/>
          <p:cNvSpPr>
            <a:spLocks noGrp="1"/>
          </p:cNvSpPr>
          <p:nvPr>
            <p:ph type="title"/>
          </p:nvPr>
        </p:nvSpPr>
        <p:spPr bwMode="gray">
          <a:xfrm>
            <a:off x="654273" y="271731"/>
            <a:ext cx="8198599" cy="1828800"/>
          </a:xfrm>
          <a:prstGeom prst="rect">
            <a:avLst/>
          </a:prstGeom>
        </p:spPr>
        <p:txBody>
          <a:bodyPr vert="horz" anchor="b"/>
          <a:lstStyle>
            <a:lvl1pPr algn="l">
              <a:lnSpc>
                <a:spcPct val="88000"/>
              </a:lnSpc>
              <a:defRPr sz="5400" b="1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xmlns="" id="{735F3686-4967-B249-A839-3A8CCA2312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6974" y="2149045"/>
            <a:ext cx="8198598" cy="585216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E1D93826-9992-40E2-BE2A-00CCA0C83095}"/>
              </a:ext>
            </a:extLst>
          </p:cNvPr>
          <p:cNvGrpSpPr/>
          <p:nvPr userDrawn="1"/>
        </p:nvGrpSpPr>
        <p:grpSpPr>
          <a:xfrm>
            <a:off x="9243516" y="912299"/>
            <a:ext cx="2567484" cy="1161804"/>
            <a:chOff x="8375921" y="2050604"/>
            <a:chExt cx="3054079" cy="1381991"/>
          </a:xfrm>
        </p:grpSpPr>
        <p:sp>
          <p:nvSpPr>
            <p:cNvPr id="26" name="Hexagon 25">
              <a:extLst>
                <a:ext uri="{FF2B5EF4-FFF2-40B4-BE49-F238E27FC236}">
                  <a16:creationId xmlns:a16="http://schemas.microsoft.com/office/drawing/2014/main" xmlns="" id="{0DC09304-DF80-4217-BB06-5A061C8C872F}"/>
                </a:ext>
              </a:extLst>
            </p:cNvPr>
            <p:cNvSpPr/>
            <p:nvPr/>
          </p:nvSpPr>
          <p:spPr>
            <a:xfrm>
              <a:off x="9303214" y="2050604"/>
              <a:ext cx="1307237" cy="112693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xmlns="" id="{506CFCE0-4314-45D8-9BFA-B795F8E521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375921" y="2168839"/>
              <a:ext cx="3054079" cy="1263756"/>
            </a:xfrm>
            <a:prstGeom prst="rect">
              <a:avLst/>
            </a:prstGeom>
          </p:spPr>
        </p:pic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2AE82E8A-AE03-4D35-9CE2-D23EB21F6CE9}"/>
              </a:ext>
            </a:extLst>
          </p:cNvPr>
          <p:cNvSpPr/>
          <p:nvPr userDrawn="1"/>
        </p:nvSpPr>
        <p:spPr>
          <a:xfrm>
            <a:off x="0" y="0"/>
            <a:ext cx="12192000" cy="7612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06975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xagon 7">
            <a:extLst>
              <a:ext uri="{FF2B5EF4-FFF2-40B4-BE49-F238E27FC236}">
                <a16:creationId xmlns:a16="http://schemas.microsoft.com/office/drawing/2014/main" xmlns="" id="{DBCCC9B8-F511-434B-AE5B-A433D9F0F36C}"/>
              </a:ext>
            </a:extLst>
          </p:cNvPr>
          <p:cNvSpPr/>
          <p:nvPr userDrawn="1"/>
        </p:nvSpPr>
        <p:spPr>
          <a:xfrm>
            <a:off x="9186022" y="1433734"/>
            <a:ext cx="983020" cy="847430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xmlns="" id="{E677B86B-8298-41AD-A9E4-F1BAB61293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699728" cy="3148807"/>
          </a:xfrm>
          <a:prstGeom prst="rect">
            <a:avLst/>
          </a:prstGeom>
        </p:spPr>
      </p:pic>
      <p:sp>
        <p:nvSpPr>
          <p:cNvPr id="17" name="Hexagon 16">
            <a:extLst>
              <a:ext uri="{FF2B5EF4-FFF2-40B4-BE49-F238E27FC236}">
                <a16:creationId xmlns:a16="http://schemas.microsoft.com/office/drawing/2014/main" xmlns="" id="{FA2121F1-027A-4770-A4D5-CDC0B4150A68}"/>
              </a:ext>
            </a:extLst>
          </p:cNvPr>
          <p:cNvSpPr/>
          <p:nvPr userDrawn="1"/>
        </p:nvSpPr>
        <p:spPr>
          <a:xfrm>
            <a:off x="9619016" y="188750"/>
            <a:ext cx="775460" cy="668500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1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Hexagon 17">
            <a:extLst>
              <a:ext uri="{FF2B5EF4-FFF2-40B4-BE49-F238E27FC236}">
                <a16:creationId xmlns:a16="http://schemas.microsoft.com/office/drawing/2014/main" xmlns="" id="{87EDACE6-C31C-4494-B76B-33B66FA0F9BD}"/>
              </a:ext>
            </a:extLst>
          </p:cNvPr>
          <p:cNvSpPr/>
          <p:nvPr userDrawn="1"/>
        </p:nvSpPr>
        <p:spPr>
          <a:xfrm>
            <a:off x="10066391" y="715134"/>
            <a:ext cx="376752" cy="324786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xmlns="" id="{D9A456FA-5D7E-442E-8182-407AF5E26CC5}"/>
              </a:ext>
            </a:extLst>
          </p:cNvPr>
          <p:cNvSpPr/>
          <p:nvPr userDrawn="1"/>
        </p:nvSpPr>
        <p:spPr>
          <a:xfrm>
            <a:off x="8397240" y="126421"/>
            <a:ext cx="1136051" cy="979354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1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Hexagon 19">
            <a:extLst>
              <a:ext uri="{FF2B5EF4-FFF2-40B4-BE49-F238E27FC236}">
                <a16:creationId xmlns:a16="http://schemas.microsoft.com/office/drawing/2014/main" xmlns="" id="{53D67A4E-E9CC-459B-B566-DEB4346F9D38}"/>
              </a:ext>
            </a:extLst>
          </p:cNvPr>
          <p:cNvSpPr/>
          <p:nvPr userDrawn="1"/>
        </p:nvSpPr>
        <p:spPr>
          <a:xfrm>
            <a:off x="10779639" y="69773"/>
            <a:ext cx="586266" cy="505401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Hexagon 20">
            <a:extLst>
              <a:ext uri="{FF2B5EF4-FFF2-40B4-BE49-F238E27FC236}">
                <a16:creationId xmlns:a16="http://schemas.microsoft.com/office/drawing/2014/main" xmlns="" id="{7EA7D74A-39D8-43D4-88AE-CE0D0258256D}"/>
              </a:ext>
            </a:extLst>
          </p:cNvPr>
          <p:cNvSpPr/>
          <p:nvPr userDrawn="1"/>
        </p:nvSpPr>
        <p:spPr>
          <a:xfrm>
            <a:off x="10558451" y="297582"/>
            <a:ext cx="384920" cy="331827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1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F18FBBB9-0204-4AAA-9730-E22D26B3F49B}"/>
              </a:ext>
            </a:extLst>
          </p:cNvPr>
          <p:cNvSpPr/>
          <p:nvPr userDrawn="1"/>
        </p:nvSpPr>
        <p:spPr>
          <a:xfrm>
            <a:off x="9107753" y="0"/>
            <a:ext cx="440130" cy="297418"/>
          </a:xfrm>
          <a:custGeom>
            <a:avLst/>
            <a:gdLst>
              <a:gd name="connsiteX0" fmla="*/ 64112 w 440130"/>
              <a:gd name="connsiteY0" fmla="*/ 0 h 297418"/>
              <a:gd name="connsiteX1" fmla="*/ 376018 w 440130"/>
              <a:gd name="connsiteY1" fmla="*/ 0 h 297418"/>
              <a:gd name="connsiteX2" fmla="*/ 440130 w 440130"/>
              <a:gd name="connsiteY2" fmla="*/ 107707 h 297418"/>
              <a:gd name="connsiteX3" fmla="*/ 327206 w 440130"/>
              <a:gd name="connsiteY3" fmla="*/ 297418 h 297418"/>
              <a:gd name="connsiteX4" fmla="*/ 112924 w 440130"/>
              <a:gd name="connsiteY4" fmla="*/ 297418 h 297418"/>
              <a:gd name="connsiteX5" fmla="*/ 0 w 440130"/>
              <a:gd name="connsiteY5" fmla="*/ 107707 h 297418"/>
              <a:gd name="connsiteX6" fmla="*/ 64112 w 440130"/>
              <a:gd name="connsiteY6" fmla="*/ 0 h 29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130" h="297418">
                <a:moveTo>
                  <a:pt x="64112" y="0"/>
                </a:moveTo>
                <a:lnTo>
                  <a:pt x="376018" y="0"/>
                </a:lnTo>
                <a:lnTo>
                  <a:pt x="440130" y="107707"/>
                </a:lnTo>
                <a:lnTo>
                  <a:pt x="327206" y="297418"/>
                </a:lnTo>
                <a:lnTo>
                  <a:pt x="112924" y="297418"/>
                </a:lnTo>
                <a:lnTo>
                  <a:pt x="0" y="107707"/>
                </a:lnTo>
                <a:lnTo>
                  <a:pt x="64112" y="0"/>
                </a:lnTo>
                <a:close/>
              </a:path>
            </a:pathLst>
          </a:custGeom>
          <a:solidFill>
            <a:schemeClr val="accent6">
              <a:alpha val="1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xmlns="" id="{D8B35DAE-0755-4548-B4C0-07B6D8B2B955}"/>
              </a:ext>
            </a:extLst>
          </p:cNvPr>
          <p:cNvSpPr/>
          <p:nvPr userDrawn="1"/>
        </p:nvSpPr>
        <p:spPr>
          <a:xfrm>
            <a:off x="10324130" y="0"/>
            <a:ext cx="440130" cy="189711"/>
          </a:xfrm>
          <a:custGeom>
            <a:avLst/>
            <a:gdLst>
              <a:gd name="connsiteX0" fmla="*/ 0 w 440130"/>
              <a:gd name="connsiteY0" fmla="*/ 0 h 189711"/>
              <a:gd name="connsiteX1" fmla="*/ 440130 w 440130"/>
              <a:gd name="connsiteY1" fmla="*/ 0 h 189711"/>
              <a:gd name="connsiteX2" fmla="*/ 327206 w 440130"/>
              <a:gd name="connsiteY2" fmla="*/ 189711 h 189711"/>
              <a:gd name="connsiteX3" fmla="*/ 112924 w 440130"/>
              <a:gd name="connsiteY3" fmla="*/ 189711 h 189711"/>
              <a:gd name="connsiteX4" fmla="*/ 0 w 440130"/>
              <a:gd name="connsiteY4" fmla="*/ 0 h 189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130" h="189711">
                <a:moveTo>
                  <a:pt x="0" y="0"/>
                </a:moveTo>
                <a:lnTo>
                  <a:pt x="440130" y="0"/>
                </a:lnTo>
                <a:lnTo>
                  <a:pt x="327206" y="189711"/>
                </a:lnTo>
                <a:lnTo>
                  <a:pt x="112924" y="18971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4462AD05-046A-4219-9140-788BE5690B89}"/>
              </a:ext>
            </a:extLst>
          </p:cNvPr>
          <p:cNvSpPr/>
          <p:nvPr userDrawn="1"/>
        </p:nvSpPr>
        <p:spPr>
          <a:xfrm>
            <a:off x="11483380" y="0"/>
            <a:ext cx="376752" cy="265418"/>
          </a:xfrm>
          <a:custGeom>
            <a:avLst/>
            <a:gdLst>
              <a:gd name="connsiteX0" fmla="*/ 61325 w 376752"/>
              <a:gd name="connsiteY0" fmla="*/ 0 h 265418"/>
              <a:gd name="connsiteX1" fmla="*/ 315427 w 376752"/>
              <a:gd name="connsiteY1" fmla="*/ 0 h 265418"/>
              <a:gd name="connsiteX2" fmla="*/ 376752 w 376752"/>
              <a:gd name="connsiteY2" fmla="*/ 103025 h 265418"/>
              <a:gd name="connsiteX3" fmla="*/ 280089 w 376752"/>
              <a:gd name="connsiteY3" fmla="*/ 265418 h 265418"/>
              <a:gd name="connsiteX4" fmla="*/ 96663 w 376752"/>
              <a:gd name="connsiteY4" fmla="*/ 265418 h 265418"/>
              <a:gd name="connsiteX5" fmla="*/ 0 w 376752"/>
              <a:gd name="connsiteY5" fmla="*/ 103025 h 265418"/>
              <a:gd name="connsiteX6" fmla="*/ 61325 w 376752"/>
              <a:gd name="connsiteY6" fmla="*/ 0 h 265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6752" h="265418">
                <a:moveTo>
                  <a:pt x="61325" y="0"/>
                </a:moveTo>
                <a:lnTo>
                  <a:pt x="315427" y="0"/>
                </a:lnTo>
                <a:lnTo>
                  <a:pt x="376752" y="103025"/>
                </a:lnTo>
                <a:lnTo>
                  <a:pt x="280089" y="265418"/>
                </a:lnTo>
                <a:lnTo>
                  <a:pt x="96663" y="265418"/>
                </a:lnTo>
                <a:lnTo>
                  <a:pt x="0" y="103025"/>
                </a:lnTo>
                <a:lnTo>
                  <a:pt x="61325" y="0"/>
                </a:lnTo>
                <a:close/>
              </a:path>
            </a:pathLst>
          </a:cu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E1D93826-9992-40E2-BE2A-00CCA0C83095}"/>
              </a:ext>
            </a:extLst>
          </p:cNvPr>
          <p:cNvGrpSpPr/>
          <p:nvPr userDrawn="1"/>
        </p:nvGrpSpPr>
        <p:grpSpPr>
          <a:xfrm>
            <a:off x="3060921" y="2410817"/>
            <a:ext cx="5854480" cy="2609954"/>
            <a:chOff x="8375921" y="2071072"/>
            <a:chExt cx="3054079" cy="1361523"/>
          </a:xfrm>
        </p:grpSpPr>
        <p:sp>
          <p:nvSpPr>
            <p:cNvPr id="26" name="Hexagon 25">
              <a:extLst>
                <a:ext uri="{FF2B5EF4-FFF2-40B4-BE49-F238E27FC236}">
                  <a16:creationId xmlns:a16="http://schemas.microsoft.com/office/drawing/2014/main" xmlns="" id="{0DC09304-DF80-4217-BB06-5A061C8C872F}"/>
                </a:ext>
              </a:extLst>
            </p:cNvPr>
            <p:cNvSpPr/>
            <p:nvPr/>
          </p:nvSpPr>
          <p:spPr>
            <a:xfrm>
              <a:off x="9323202" y="2071072"/>
              <a:ext cx="1267023" cy="1092261"/>
            </a:xfrm>
            <a:prstGeom prst="hexagon">
              <a:avLst>
                <a:gd name="adj" fmla="val 27470"/>
                <a:gd name="vf" fmla="val 115470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xmlns="" id="{506CFCE0-4314-45D8-9BFA-B795F8E521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375921" y="2168839"/>
              <a:ext cx="3054079" cy="1263756"/>
            </a:xfrm>
            <a:prstGeom prst="rect">
              <a:avLst/>
            </a:prstGeom>
          </p:spPr>
        </p:pic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10BF33F8-4750-4573-A637-A713EDFB49BE}"/>
              </a:ext>
            </a:extLst>
          </p:cNvPr>
          <p:cNvSpPr/>
          <p:nvPr userDrawn="1"/>
        </p:nvSpPr>
        <p:spPr>
          <a:xfrm>
            <a:off x="0" y="6705601"/>
            <a:ext cx="12192000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3703DCF5-236B-4645-8A0F-5F8CDF409D79}"/>
              </a:ext>
            </a:extLst>
          </p:cNvPr>
          <p:cNvSpPr/>
          <p:nvPr userDrawn="1"/>
        </p:nvSpPr>
        <p:spPr>
          <a:xfrm>
            <a:off x="0" y="0"/>
            <a:ext cx="12192000" cy="7612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869447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xagon 7">
            <a:extLst>
              <a:ext uri="{FF2B5EF4-FFF2-40B4-BE49-F238E27FC236}">
                <a16:creationId xmlns:a16="http://schemas.microsoft.com/office/drawing/2014/main" xmlns="" id="{DBCCC9B8-F511-434B-AE5B-A433D9F0F36C}"/>
              </a:ext>
            </a:extLst>
          </p:cNvPr>
          <p:cNvSpPr/>
          <p:nvPr userDrawn="1"/>
        </p:nvSpPr>
        <p:spPr>
          <a:xfrm>
            <a:off x="9186022" y="1433734"/>
            <a:ext cx="983020" cy="847430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xmlns="" id="{E677B86B-8298-41AD-A9E4-F1BAB61293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699728" cy="3148807"/>
          </a:xfrm>
          <a:prstGeom prst="rect">
            <a:avLst/>
          </a:prstGeom>
        </p:spPr>
      </p:pic>
      <p:sp>
        <p:nvSpPr>
          <p:cNvPr id="17" name="Hexagon 16">
            <a:extLst>
              <a:ext uri="{FF2B5EF4-FFF2-40B4-BE49-F238E27FC236}">
                <a16:creationId xmlns:a16="http://schemas.microsoft.com/office/drawing/2014/main" xmlns="" id="{FA2121F1-027A-4770-A4D5-CDC0B4150A68}"/>
              </a:ext>
            </a:extLst>
          </p:cNvPr>
          <p:cNvSpPr/>
          <p:nvPr userDrawn="1"/>
        </p:nvSpPr>
        <p:spPr>
          <a:xfrm>
            <a:off x="9619016" y="188750"/>
            <a:ext cx="775460" cy="668500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1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Hexagon 17">
            <a:extLst>
              <a:ext uri="{FF2B5EF4-FFF2-40B4-BE49-F238E27FC236}">
                <a16:creationId xmlns:a16="http://schemas.microsoft.com/office/drawing/2014/main" xmlns="" id="{87EDACE6-C31C-4494-B76B-33B66FA0F9BD}"/>
              </a:ext>
            </a:extLst>
          </p:cNvPr>
          <p:cNvSpPr/>
          <p:nvPr userDrawn="1"/>
        </p:nvSpPr>
        <p:spPr>
          <a:xfrm>
            <a:off x="10066391" y="715134"/>
            <a:ext cx="376752" cy="324786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xmlns="" id="{D9A456FA-5D7E-442E-8182-407AF5E26CC5}"/>
              </a:ext>
            </a:extLst>
          </p:cNvPr>
          <p:cNvSpPr/>
          <p:nvPr userDrawn="1"/>
        </p:nvSpPr>
        <p:spPr>
          <a:xfrm>
            <a:off x="8397240" y="126421"/>
            <a:ext cx="1136051" cy="979354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1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Hexagon 19">
            <a:extLst>
              <a:ext uri="{FF2B5EF4-FFF2-40B4-BE49-F238E27FC236}">
                <a16:creationId xmlns:a16="http://schemas.microsoft.com/office/drawing/2014/main" xmlns="" id="{53D67A4E-E9CC-459B-B566-DEB4346F9D38}"/>
              </a:ext>
            </a:extLst>
          </p:cNvPr>
          <p:cNvSpPr/>
          <p:nvPr userDrawn="1"/>
        </p:nvSpPr>
        <p:spPr>
          <a:xfrm>
            <a:off x="10779639" y="69773"/>
            <a:ext cx="586266" cy="505401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Hexagon 20">
            <a:extLst>
              <a:ext uri="{FF2B5EF4-FFF2-40B4-BE49-F238E27FC236}">
                <a16:creationId xmlns:a16="http://schemas.microsoft.com/office/drawing/2014/main" xmlns="" id="{7EA7D74A-39D8-43D4-88AE-CE0D0258256D}"/>
              </a:ext>
            </a:extLst>
          </p:cNvPr>
          <p:cNvSpPr/>
          <p:nvPr userDrawn="1"/>
        </p:nvSpPr>
        <p:spPr>
          <a:xfrm>
            <a:off x="10558451" y="297582"/>
            <a:ext cx="384920" cy="331827"/>
          </a:xfrm>
          <a:prstGeom prst="hexagon">
            <a:avLst>
              <a:gd name="adj" fmla="val 29762"/>
              <a:gd name="vf" fmla="val 115470"/>
            </a:avLst>
          </a:prstGeom>
          <a:solidFill>
            <a:schemeClr val="accent6">
              <a:alpha val="1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F18FBBB9-0204-4AAA-9730-E22D26B3F49B}"/>
              </a:ext>
            </a:extLst>
          </p:cNvPr>
          <p:cNvSpPr/>
          <p:nvPr userDrawn="1"/>
        </p:nvSpPr>
        <p:spPr>
          <a:xfrm>
            <a:off x="9107753" y="0"/>
            <a:ext cx="440130" cy="297418"/>
          </a:xfrm>
          <a:custGeom>
            <a:avLst/>
            <a:gdLst>
              <a:gd name="connsiteX0" fmla="*/ 64112 w 440130"/>
              <a:gd name="connsiteY0" fmla="*/ 0 h 297418"/>
              <a:gd name="connsiteX1" fmla="*/ 376018 w 440130"/>
              <a:gd name="connsiteY1" fmla="*/ 0 h 297418"/>
              <a:gd name="connsiteX2" fmla="*/ 440130 w 440130"/>
              <a:gd name="connsiteY2" fmla="*/ 107707 h 297418"/>
              <a:gd name="connsiteX3" fmla="*/ 327206 w 440130"/>
              <a:gd name="connsiteY3" fmla="*/ 297418 h 297418"/>
              <a:gd name="connsiteX4" fmla="*/ 112924 w 440130"/>
              <a:gd name="connsiteY4" fmla="*/ 297418 h 297418"/>
              <a:gd name="connsiteX5" fmla="*/ 0 w 440130"/>
              <a:gd name="connsiteY5" fmla="*/ 107707 h 297418"/>
              <a:gd name="connsiteX6" fmla="*/ 64112 w 440130"/>
              <a:gd name="connsiteY6" fmla="*/ 0 h 29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130" h="297418">
                <a:moveTo>
                  <a:pt x="64112" y="0"/>
                </a:moveTo>
                <a:lnTo>
                  <a:pt x="376018" y="0"/>
                </a:lnTo>
                <a:lnTo>
                  <a:pt x="440130" y="107707"/>
                </a:lnTo>
                <a:lnTo>
                  <a:pt x="327206" y="297418"/>
                </a:lnTo>
                <a:lnTo>
                  <a:pt x="112924" y="297418"/>
                </a:lnTo>
                <a:lnTo>
                  <a:pt x="0" y="107707"/>
                </a:lnTo>
                <a:lnTo>
                  <a:pt x="64112" y="0"/>
                </a:lnTo>
                <a:close/>
              </a:path>
            </a:pathLst>
          </a:custGeom>
          <a:solidFill>
            <a:schemeClr val="accent6">
              <a:alpha val="1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xmlns="" id="{D8B35DAE-0755-4548-B4C0-07B6D8B2B955}"/>
              </a:ext>
            </a:extLst>
          </p:cNvPr>
          <p:cNvSpPr/>
          <p:nvPr userDrawn="1"/>
        </p:nvSpPr>
        <p:spPr>
          <a:xfrm>
            <a:off x="10324130" y="0"/>
            <a:ext cx="440130" cy="189711"/>
          </a:xfrm>
          <a:custGeom>
            <a:avLst/>
            <a:gdLst>
              <a:gd name="connsiteX0" fmla="*/ 0 w 440130"/>
              <a:gd name="connsiteY0" fmla="*/ 0 h 189711"/>
              <a:gd name="connsiteX1" fmla="*/ 440130 w 440130"/>
              <a:gd name="connsiteY1" fmla="*/ 0 h 189711"/>
              <a:gd name="connsiteX2" fmla="*/ 327206 w 440130"/>
              <a:gd name="connsiteY2" fmla="*/ 189711 h 189711"/>
              <a:gd name="connsiteX3" fmla="*/ 112924 w 440130"/>
              <a:gd name="connsiteY3" fmla="*/ 189711 h 189711"/>
              <a:gd name="connsiteX4" fmla="*/ 0 w 440130"/>
              <a:gd name="connsiteY4" fmla="*/ 0 h 189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130" h="189711">
                <a:moveTo>
                  <a:pt x="0" y="0"/>
                </a:moveTo>
                <a:lnTo>
                  <a:pt x="440130" y="0"/>
                </a:lnTo>
                <a:lnTo>
                  <a:pt x="327206" y="189711"/>
                </a:lnTo>
                <a:lnTo>
                  <a:pt x="112924" y="18971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4462AD05-046A-4219-9140-788BE5690B89}"/>
              </a:ext>
            </a:extLst>
          </p:cNvPr>
          <p:cNvSpPr/>
          <p:nvPr userDrawn="1"/>
        </p:nvSpPr>
        <p:spPr>
          <a:xfrm>
            <a:off x="11483380" y="0"/>
            <a:ext cx="376752" cy="265418"/>
          </a:xfrm>
          <a:custGeom>
            <a:avLst/>
            <a:gdLst>
              <a:gd name="connsiteX0" fmla="*/ 61325 w 376752"/>
              <a:gd name="connsiteY0" fmla="*/ 0 h 265418"/>
              <a:gd name="connsiteX1" fmla="*/ 315427 w 376752"/>
              <a:gd name="connsiteY1" fmla="*/ 0 h 265418"/>
              <a:gd name="connsiteX2" fmla="*/ 376752 w 376752"/>
              <a:gd name="connsiteY2" fmla="*/ 103025 h 265418"/>
              <a:gd name="connsiteX3" fmla="*/ 280089 w 376752"/>
              <a:gd name="connsiteY3" fmla="*/ 265418 h 265418"/>
              <a:gd name="connsiteX4" fmla="*/ 96663 w 376752"/>
              <a:gd name="connsiteY4" fmla="*/ 265418 h 265418"/>
              <a:gd name="connsiteX5" fmla="*/ 0 w 376752"/>
              <a:gd name="connsiteY5" fmla="*/ 103025 h 265418"/>
              <a:gd name="connsiteX6" fmla="*/ 61325 w 376752"/>
              <a:gd name="connsiteY6" fmla="*/ 0 h 265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6752" h="265418">
                <a:moveTo>
                  <a:pt x="61325" y="0"/>
                </a:moveTo>
                <a:lnTo>
                  <a:pt x="315427" y="0"/>
                </a:lnTo>
                <a:lnTo>
                  <a:pt x="376752" y="103025"/>
                </a:lnTo>
                <a:lnTo>
                  <a:pt x="280089" y="265418"/>
                </a:lnTo>
                <a:lnTo>
                  <a:pt x="96663" y="265418"/>
                </a:lnTo>
                <a:lnTo>
                  <a:pt x="0" y="103025"/>
                </a:lnTo>
                <a:lnTo>
                  <a:pt x="61325" y="0"/>
                </a:lnTo>
                <a:close/>
              </a:path>
            </a:pathLst>
          </a:custGeom>
          <a:solidFill>
            <a:schemeClr val="accent6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E1D93826-9992-40E2-BE2A-00CCA0C83095}"/>
              </a:ext>
            </a:extLst>
          </p:cNvPr>
          <p:cNvGrpSpPr/>
          <p:nvPr userDrawn="1"/>
        </p:nvGrpSpPr>
        <p:grpSpPr>
          <a:xfrm>
            <a:off x="3206972" y="3252126"/>
            <a:ext cx="5587778" cy="2491058"/>
            <a:chOff x="8375921" y="2071072"/>
            <a:chExt cx="3054079" cy="1361523"/>
          </a:xfrm>
        </p:grpSpPr>
        <p:sp>
          <p:nvSpPr>
            <p:cNvPr id="26" name="Hexagon 25">
              <a:extLst>
                <a:ext uri="{FF2B5EF4-FFF2-40B4-BE49-F238E27FC236}">
                  <a16:creationId xmlns:a16="http://schemas.microsoft.com/office/drawing/2014/main" xmlns="" id="{0DC09304-DF80-4217-BB06-5A061C8C872F}"/>
                </a:ext>
              </a:extLst>
            </p:cNvPr>
            <p:cNvSpPr/>
            <p:nvPr/>
          </p:nvSpPr>
          <p:spPr>
            <a:xfrm>
              <a:off x="9323202" y="2071072"/>
              <a:ext cx="1267023" cy="1092261"/>
            </a:xfrm>
            <a:prstGeom prst="hexagon">
              <a:avLst>
                <a:gd name="adj" fmla="val 27470"/>
                <a:gd name="vf" fmla="val 115470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xmlns="" id="{506CFCE0-4314-45D8-9BFA-B795F8E521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375921" y="2168839"/>
              <a:ext cx="3054079" cy="1263756"/>
            </a:xfrm>
            <a:prstGeom prst="rect">
              <a:avLst/>
            </a:prstGeom>
          </p:spPr>
        </p:pic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10BF33F8-4750-4573-A637-A713EDFB49BE}"/>
              </a:ext>
            </a:extLst>
          </p:cNvPr>
          <p:cNvSpPr/>
          <p:nvPr userDrawn="1"/>
        </p:nvSpPr>
        <p:spPr>
          <a:xfrm>
            <a:off x="0" y="6705601"/>
            <a:ext cx="12192000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00384A24-3B48-4EF7-AE89-D869F083CE9B}"/>
              </a:ext>
            </a:extLst>
          </p:cNvPr>
          <p:cNvSpPr/>
          <p:nvPr userDrawn="1"/>
        </p:nvSpPr>
        <p:spPr>
          <a:xfrm>
            <a:off x="0" y="0"/>
            <a:ext cx="12192000" cy="7612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96484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purpose Slide One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Content Placeholder 38"/>
          <p:cNvSpPr>
            <a:spLocks noGrp="1"/>
          </p:cNvSpPr>
          <p:nvPr userDrawn="1">
            <p:ph sz="quarter" idx="15"/>
          </p:nvPr>
        </p:nvSpPr>
        <p:spPr bwMode="gray">
          <a:xfrm>
            <a:off x="457201" y="1328737"/>
            <a:ext cx="11277600" cy="4891087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53D98"/>
              </a:buClr>
              <a:defRPr lang="en-US" sz="1600" b="0" baseline="0" dirty="0">
                <a:solidFill>
                  <a:srgbClr val="393996"/>
                </a:solidFill>
                <a:latin typeface="Arial"/>
                <a:ea typeface="MS PGothic" panose="020B0600070205080204" pitchFamily="34" charset="-128"/>
                <a:cs typeface="Arial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/>
              <a:buChar char="•"/>
              <a:defRPr lang="en-US" sz="1400" b="0" baseline="0" dirty="0">
                <a:solidFill>
                  <a:srgbClr val="393996"/>
                </a:solidFill>
                <a:latin typeface="Arial"/>
                <a:ea typeface="MS PGothic" panose="020B0600070205080204" pitchFamily="34" charset="-128"/>
                <a:cs typeface="Arial"/>
              </a:defRPr>
            </a:lvl2pPr>
            <a:lvl3pPr marL="859536" indent="-16459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Courier New" panose="02070309020205020404" pitchFamily="49" charset="0"/>
              <a:buChar char="o"/>
              <a:defRPr lang="en-US" sz="1400" b="0" baseline="0" dirty="0">
                <a:solidFill>
                  <a:srgbClr val="393996"/>
                </a:solidFill>
                <a:latin typeface="Arial"/>
                <a:ea typeface="MS PGothic" panose="020B0600070205080204" pitchFamily="34" charset="-128"/>
                <a:cs typeface="Arial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/>
              <a:buChar char="•"/>
              <a:defRPr sz="1400">
                <a:solidFill>
                  <a:srgbClr val="393996"/>
                </a:solidFill>
                <a:latin typeface="+mj-lt"/>
                <a:cs typeface="Arial" pitchFamily="34" charset="0"/>
              </a:defRPr>
            </a:lvl4pPr>
            <a:lvl5pPr marL="1034654" indent="-16459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‒"/>
              <a:defRPr lang="en-US" sz="1400" b="0" baseline="0" dirty="0">
                <a:solidFill>
                  <a:srgbClr val="393996"/>
                </a:solidFill>
                <a:latin typeface="Arial"/>
                <a:ea typeface="MS PGothic" panose="020B0600070205080204" pitchFamily="34" charset="-128"/>
                <a:cs typeface="Arial"/>
              </a:defRPr>
            </a:lvl5pPr>
            <a:lvl6pPr marL="1377554" indent="-130969">
              <a:buFont typeface="Wingdings" panose="05000000000000000000" pitchFamily="2" charset="2"/>
              <a:buChar char="ü"/>
              <a:defRPr lang="en-US" sz="1400" b="0" baseline="0" dirty="0">
                <a:solidFill>
                  <a:srgbClr val="393996"/>
                </a:solidFill>
                <a:latin typeface="Arial"/>
                <a:ea typeface="MS PGothic" panose="020B0600070205080204" pitchFamily="34" charset="-128"/>
                <a:cs typeface="Arial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</p:txBody>
      </p:sp>
      <p:sp>
        <p:nvSpPr>
          <p:cNvPr id="4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64457" y="689883"/>
            <a:ext cx="11274552" cy="502920"/>
          </a:xfrm>
          <a:prstGeom prst="rect">
            <a:avLst/>
          </a:prstGeom>
        </p:spPr>
        <p:txBody>
          <a:bodyPr vert="horz"/>
          <a:lstStyle>
            <a:lvl1pPr algn="ctr">
              <a:defRPr sz="2000" b="1" baseline="0">
                <a:solidFill>
                  <a:srgbClr val="393996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MULTIPURPOSE SLIDE – ONE LINE HEAD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11287276" y="6367166"/>
            <a:ext cx="444476" cy="365125"/>
          </a:xfrm>
          <a:prstGeom prst="rect">
            <a:avLst/>
          </a:prstGeom>
        </p:spPr>
        <p:txBody>
          <a:bodyPr rIns="0"/>
          <a:lstStyle>
            <a:lvl1pPr>
              <a:defRPr sz="100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>
              <a:defRPr/>
            </a:pPr>
            <a:fld id="{64DA0905-4958-2940-83CA-5CD06F5A979B}" type="slidenum">
              <a:rPr lang="en-US" smtClean="0">
                <a:solidFill>
                  <a:srgbClr val="00529C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00529C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57199" y="6355080"/>
            <a:ext cx="10704287" cy="402336"/>
          </a:xfrm>
        </p:spPr>
        <p:txBody>
          <a:bodyPr anchor="b"/>
          <a:lstStyle>
            <a:lvl1pPr marL="0" indent="0">
              <a:buNone/>
              <a:defRPr sz="1000">
                <a:solidFill>
                  <a:srgbClr val="595959"/>
                </a:solidFill>
              </a:defRPr>
            </a:lvl1pPr>
            <a:lvl3pPr marL="694944" indent="0">
              <a:buNone/>
              <a:defRPr/>
            </a:lvl3pPr>
          </a:lstStyle>
          <a:p>
            <a:pPr lvl="0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865493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0">
          <p15:clr>
            <a:srgbClr val="FBAE40"/>
          </p15:clr>
        </p15:guide>
        <p15:guide id="2" orient="horz" pos="837">
          <p15:clr>
            <a:srgbClr val="FBAE40"/>
          </p15:clr>
        </p15:guide>
        <p15:guide id="3" orient="horz" pos="432">
          <p15:clr>
            <a:srgbClr val="FBAE40"/>
          </p15:clr>
        </p15:guide>
        <p15:guide id="4" orient="horz" pos="4005">
          <p15:clr>
            <a:srgbClr val="FBAE40"/>
          </p15:clr>
        </p15:guide>
        <p15:guide id="5" orient="horz" pos="391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52A06C84-D23B-47B2-9CF5-C1D52B7AED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04D680-DCDE-4C62-8092-3A5B2596AE54}" type="datetimeFigureOut">
              <a:rPr lang="en-US" smtClean="0"/>
              <a:t>4/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7F4CAA58-20F0-4250-816F-C2B9D0CF6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F9E6546-7F69-431C-972A-D3B8915E2A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4C1096-64C9-4FAA-A6B1-C4E0BD1E883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82824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at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, white goods&#10;&#10;Description automatically generated">
            <a:extLst>
              <a:ext uri="{FF2B5EF4-FFF2-40B4-BE49-F238E27FC236}">
                <a16:creationId xmlns:a16="http://schemas.microsoft.com/office/drawing/2014/main" xmlns="" id="{EAE4EC8C-2294-CC9A-57D6-A99E44B464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30269DC-591D-B944-A479-80E360E756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4404" y="3834884"/>
            <a:ext cx="5133724" cy="658717"/>
          </a:xfrm>
        </p:spPr>
        <p:txBody>
          <a:bodyPr lIns="91440" tIns="45720" rIns="91440" bIns="45720">
            <a:noAutofit/>
          </a:bodyPr>
          <a:lstStyle>
            <a:lvl1pPr marL="0" indent="0" algn="r">
              <a:buNone/>
              <a:defRPr sz="2400" b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(Arial 24pt)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2F7201-0FDA-CE47-A9F3-7594A2B9A9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4404" y="2574295"/>
            <a:ext cx="5133724" cy="1237410"/>
          </a:xfrm>
        </p:spPr>
        <p:txBody>
          <a:bodyPr lIns="91440" tIns="45720" rIns="91440" bIns="45720" anchor="b">
            <a:noAutofit/>
          </a:bodyPr>
          <a:lstStyle>
            <a:lvl1pPr algn="r">
              <a:defRPr sz="4000" b="0" i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40pt)</a:t>
            </a:r>
            <a:endParaRPr lang="x-none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7FA03CE2-46CB-D874-45A9-85B30B9FC4BD}"/>
              </a:ext>
            </a:extLst>
          </p:cNvPr>
          <p:cNvGrpSpPr/>
          <p:nvPr userDrawn="1"/>
        </p:nvGrpSpPr>
        <p:grpSpPr>
          <a:xfrm>
            <a:off x="9387557" y="3323005"/>
            <a:ext cx="2184530" cy="319082"/>
            <a:chOff x="9387557" y="3323005"/>
            <a:chExt cx="2184530" cy="319082"/>
          </a:xfrm>
        </p:grpSpPr>
        <p:grpSp>
          <p:nvGrpSpPr>
            <p:cNvPr id="27" name="Picture 7">
              <a:extLst>
                <a:ext uri="{FF2B5EF4-FFF2-40B4-BE49-F238E27FC236}">
                  <a16:creationId xmlns:a16="http://schemas.microsoft.com/office/drawing/2014/main" xmlns="" id="{B73FACBA-13A6-523B-3324-0D8A71D9DF2B}"/>
                </a:ext>
              </a:extLst>
            </p:cNvPr>
            <p:cNvGrpSpPr/>
            <p:nvPr/>
          </p:nvGrpSpPr>
          <p:grpSpPr>
            <a:xfrm>
              <a:off x="9387557" y="3323005"/>
              <a:ext cx="2184530" cy="314756"/>
              <a:chOff x="9387557" y="3323005"/>
              <a:chExt cx="2184530" cy="314756"/>
            </a:xfrm>
            <a:solidFill>
              <a:srgbClr val="28509C"/>
            </a:solidFill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xmlns="" id="{30C49DEB-DE77-0E00-4D45-52FC57975140}"/>
                  </a:ext>
                </a:extLst>
              </p:cNvPr>
              <p:cNvSpPr/>
              <p:nvPr/>
            </p:nvSpPr>
            <p:spPr>
              <a:xfrm>
                <a:off x="10500022" y="3323005"/>
                <a:ext cx="270122" cy="308340"/>
              </a:xfrm>
              <a:custGeom>
                <a:avLst/>
                <a:gdLst>
                  <a:gd name="connsiteX0" fmla="*/ 135025 w 270122"/>
                  <a:gd name="connsiteY0" fmla="*/ 0 h 308340"/>
                  <a:gd name="connsiteX1" fmla="*/ 0 w 270122"/>
                  <a:gd name="connsiteY1" fmla="*/ 308341 h 308340"/>
                  <a:gd name="connsiteX2" fmla="*/ 28949 w 270122"/>
                  <a:gd name="connsiteY2" fmla="*/ 308341 h 308340"/>
                  <a:gd name="connsiteX3" fmla="*/ 76262 w 270122"/>
                  <a:gd name="connsiteY3" fmla="*/ 200274 h 308340"/>
                  <a:gd name="connsiteX4" fmla="*/ 193933 w 270122"/>
                  <a:gd name="connsiteY4" fmla="*/ 200274 h 308340"/>
                  <a:gd name="connsiteX5" fmla="*/ 241533 w 270122"/>
                  <a:gd name="connsiteY5" fmla="*/ 308341 h 308340"/>
                  <a:gd name="connsiteX6" fmla="*/ 270123 w 270122"/>
                  <a:gd name="connsiteY6" fmla="*/ 308341 h 308340"/>
                  <a:gd name="connsiteX7" fmla="*/ 135025 w 270122"/>
                  <a:gd name="connsiteY7" fmla="*/ 0 h 308340"/>
                  <a:gd name="connsiteX8" fmla="*/ 87640 w 270122"/>
                  <a:gd name="connsiteY8" fmla="*/ 174104 h 308340"/>
                  <a:gd name="connsiteX9" fmla="*/ 134809 w 270122"/>
                  <a:gd name="connsiteY9" fmla="*/ 66181 h 308340"/>
                  <a:gd name="connsiteX10" fmla="*/ 182338 w 270122"/>
                  <a:gd name="connsiteY10" fmla="*/ 174104 h 308340"/>
                  <a:gd name="connsiteX11" fmla="*/ 87568 w 270122"/>
                  <a:gd name="connsiteY11" fmla="*/ 174104 h 30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0122" h="308340">
                    <a:moveTo>
                      <a:pt x="135025" y="0"/>
                    </a:moveTo>
                    <a:lnTo>
                      <a:pt x="0" y="308341"/>
                    </a:lnTo>
                    <a:lnTo>
                      <a:pt x="28949" y="308341"/>
                    </a:lnTo>
                    <a:lnTo>
                      <a:pt x="76262" y="200274"/>
                    </a:lnTo>
                    <a:lnTo>
                      <a:pt x="193933" y="200274"/>
                    </a:lnTo>
                    <a:lnTo>
                      <a:pt x="241533" y="308341"/>
                    </a:lnTo>
                    <a:lnTo>
                      <a:pt x="270123" y="308341"/>
                    </a:lnTo>
                    <a:lnTo>
                      <a:pt x="135025" y="0"/>
                    </a:lnTo>
                    <a:close/>
                    <a:moveTo>
                      <a:pt x="87640" y="174104"/>
                    </a:moveTo>
                    <a:lnTo>
                      <a:pt x="134809" y="66181"/>
                    </a:lnTo>
                    <a:lnTo>
                      <a:pt x="182338" y="174104"/>
                    </a:lnTo>
                    <a:lnTo>
                      <a:pt x="87568" y="174104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xmlns="" id="{105FDBB1-1590-519F-E12B-2A28FF5B6720}"/>
                  </a:ext>
                </a:extLst>
              </p:cNvPr>
              <p:cNvSpPr/>
              <p:nvPr/>
            </p:nvSpPr>
            <p:spPr>
              <a:xfrm>
                <a:off x="11126107" y="3329421"/>
                <a:ext cx="26140" cy="301852"/>
              </a:xfrm>
              <a:custGeom>
                <a:avLst/>
                <a:gdLst>
                  <a:gd name="connsiteX0" fmla="*/ 0 w 26140"/>
                  <a:gd name="connsiteY0" fmla="*/ 0 h 301852"/>
                  <a:gd name="connsiteX1" fmla="*/ 26141 w 26140"/>
                  <a:gd name="connsiteY1" fmla="*/ 0 h 301852"/>
                  <a:gd name="connsiteX2" fmla="*/ 26141 w 26140"/>
                  <a:gd name="connsiteY2" fmla="*/ 301852 h 301852"/>
                  <a:gd name="connsiteX3" fmla="*/ 0 w 26140"/>
                  <a:gd name="connsiteY3" fmla="*/ 301852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40" h="301852">
                    <a:moveTo>
                      <a:pt x="0" y="0"/>
                    </a:moveTo>
                    <a:lnTo>
                      <a:pt x="26141" y="0"/>
                    </a:lnTo>
                    <a:lnTo>
                      <a:pt x="26141" y="301852"/>
                    </a:lnTo>
                    <a:lnTo>
                      <a:pt x="0" y="30185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xmlns="" id="{48700604-24AD-D439-3B7D-A39F3CC3CCD8}"/>
                  </a:ext>
                </a:extLst>
              </p:cNvPr>
              <p:cNvSpPr/>
              <p:nvPr/>
            </p:nvSpPr>
            <p:spPr>
              <a:xfrm>
                <a:off x="10168471" y="3323509"/>
                <a:ext cx="276820" cy="307763"/>
              </a:xfrm>
              <a:custGeom>
                <a:avLst/>
                <a:gdLst>
                  <a:gd name="connsiteX0" fmla="*/ 137762 w 276820"/>
                  <a:gd name="connsiteY0" fmla="*/ 139139 h 307763"/>
                  <a:gd name="connsiteX1" fmla="*/ 0 w 276820"/>
                  <a:gd name="connsiteY1" fmla="*/ 144 h 307763"/>
                  <a:gd name="connsiteX2" fmla="*/ 144 w 276820"/>
                  <a:gd name="connsiteY2" fmla="*/ 307764 h 307763"/>
                  <a:gd name="connsiteX3" fmla="*/ 26285 w 276820"/>
                  <a:gd name="connsiteY3" fmla="*/ 307764 h 307763"/>
                  <a:gd name="connsiteX4" fmla="*/ 26285 w 276820"/>
                  <a:gd name="connsiteY4" fmla="*/ 63946 h 307763"/>
                  <a:gd name="connsiteX5" fmla="*/ 137474 w 276820"/>
                  <a:gd name="connsiteY5" fmla="*/ 176555 h 307763"/>
                  <a:gd name="connsiteX6" fmla="*/ 250679 w 276820"/>
                  <a:gd name="connsiteY6" fmla="*/ 63370 h 307763"/>
                  <a:gd name="connsiteX7" fmla="*/ 250679 w 276820"/>
                  <a:gd name="connsiteY7" fmla="*/ 307764 h 307763"/>
                  <a:gd name="connsiteX8" fmla="*/ 276820 w 276820"/>
                  <a:gd name="connsiteY8" fmla="*/ 307764 h 307763"/>
                  <a:gd name="connsiteX9" fmla="*/ 276820 w 276820"/>
                  <a:gd name="connsiteY9" fmla="*/ 0 h 307763"/>
                  <a:gd name="connsiteX10" fmla="*/ 137762 w 276820"/>
                  <a:gd name="connsiteY10" fmla="*/ 139139 h 30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6820" h="307763">
                    <a:moveTo>
                      <a:pt x="137762" y="139139"/>
                    </a:moveTo>
                    <a:lnTo>
                      <a:pt x="0" y="144"/>
                    </a:lnTo>
                    <a:lnTo>
                      <a:pt x="144" y="307764"/>
                    </a:lnTo>
                    <a:lnTo>
                      <a:pt x="26285" y="307764"/>
                    </a:lnTo>
                    <a:lnTo>
                      <a:pt x="26285" y="63946"/>
                    </a:lnTo>
                    <a:lnTo>
                      <a:pt x="137474" y="176555"/>
                    </a:lnTo>
                    <a:lnTo>
                      <a:pt x="250679" y="63370"/>
                    </a:lnTo>
                    <a:lnTo>
                      <a:pt x="250679" y="307764"/>
                    </a:lnTo>
                    <a:lnTo>
                      <a:pt x="276820" y="307764"/>
                    </a:lnTo>
                    <a:lnTo>
                      <a:pt x="276820" y="0"/>
                    </a:lnTo>
                    <a:lnTo>
                      <a:pt x="137762" y="13913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xmlns="" id="{B1B8A9AD-1B2B-9973-06BD-97DFE0100683}"/>
                  </a:ext>
                </a:extLst>
              </p:cNvPr>
              <p:cNvSpPr/>
              <p:nvPr/>
            </p:nvSpPr>
            <p:spPr>
              <a:xfrm>
                <a:off x="11259260" y="3324302"/>
                <a:ext cx="228210" cy="313459"/>
              </a:xfrm>
              <a:custGeom>
                <a:avLst/>
                <a:gdLst>
                  <a:gd name="connsiteX0" fmla="*/ 201998 w 228210"/>
                  <a:gd name="connsiteY0" fmla="*/ 5119 h 313459"/>
                  <a:gd name="connsiteX1" fmla="*/ 201998 w 228210"/>
                  <a:gd name="connsiteY1" fmla="*/ 240213 h 313459"/>
                  <a:gd name="connsiteX2" fmla="*/ 0 w 228210"/>
                  <a:gd name="connsiteY2" fmla="*/ 0 h 313459"/>
                  <a:gd name="connsiteX3" fmla="*/ 0 w 228210"/>
                  <a:gd name="connsiteY3" fmla="*/ 41814 h 313459"/>
                  <a:gd name="connsiteX4" fmla="*/ 0 w 228210"/>
                  <a:gd name="connsiteY4" fmla="*/ 306971 h 313459"/>
                  <a:gd name="connsiteX5" fmla="*/ 26141 w 228210"/>
                  <a:gd name="connsiteY5" fmla="*/ 306971 h 313459"/>
                  <a:gd name="connsiteX6" fmla="*/ 26141 w 228210"/>
                  <a:gd name="connsiteY6" fmla="*/ 72958 h 313459"/>
                  <a:gd name="connsiteX7" fmla="*/ 228211 w 228210"/>
                  <a:gd name="connsiteY7" fmla="*/ 313459 h 313459"/>
                  <a:gd name="connsiteX8" fmla="*/ 228211 w 228210"/>
                  <a:gd name="connsiteY8" fmla="*/ 5119 h 313459"/>
                  <a:gd name="connsiteX9" fmla="*/ 201998 w 228210"/>
                  <a:gd name="connsiteY9" fmla="*/ 5119 h 31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210" h="313459">
                    <a:moveTo>
                      <a:pt x="201998" y="5119"/>
                    </a:moveTo>
                    <a:lnTo>
                      <a:pt x="201998" y="240213"/>
                    </a:lnTo>
                    <a:lnTo>
                      <a:pt x="0" y="0"/>
                    </a:lnTo>
                    <a:lnTo>
                      <a:pt x="0" y="41814"/>
                    </a:lnTo>
                    <a:lnTo>
                      <a:pt x="0" y="306971"/>
                    </a:lnTo>
                    <a:lnTo>
                      <a:pt x="26141" y="306971"/>
                    </a:lnTo>
                    <a:lnTo>
                      <a:pt x="26141" y="72958"/>
                    </a:lnTo>
                    <a:lnTo>
                      <a:pt x="228211" y="313459"/>
                    </a:lnTo>
                    <a:lnTo>
                      <a:pt x="228211" y="5119"/>
                    </a:lnTo>
                    <a:lnTo>
                      <a:pt x="201998" y="511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xmlns="" id="{592B5FCC-9EB2-55CA-6270-57150B9E96EF}"/>
                  </a:ext>
                </a:extLst>
              </p:cNvPr>
              <p:cNvSpPr/>
              <p:nvPr/>
            </p:nvSpPr>
            <p:spPr>
              <a:xfrm>
                <a:off x="10827179" y="3329637"/>
                <a:ext cx="218993" cy="301780"/>
              </a:xfrm>
              <a:custGeom>
                <a:avLst/>
                <a:gdLst>
                  <a:gd name="connsiteX0" fmla="*/ 189468 w 218993"/>
                  <a:gd name="connsiteY0" fmla="*/ 301780 h 301780"/>
                  <a:gd name="connsiteX1" fmla="*/ 218993 w 218993"/>
                  <a:gd name="connsiteY1" fmla="*/ 301780 h 301780"/>
                  <a:gd name="connsiteX2" fmla="*/ 146692 w 218993"/>
                  <a:gd name="connsiteY2" fmla="*/ 160478 h 301780"/>
                  <a:gd name="connsiteX3" fmla="*/ 206319 w 218993"/>
                  <a:gd name="connsiteY3" fmla="*/ 89467 h 301780"/>
                  <a:gd name="connsiteX4" fmla="*/ 206391 w 218993"/>
                  <a:gd name="connsiteY4" fmla="*/ 89467 h 301780"/>
                  <a:gd name="connsiteX5" fmla="*/ 206391 w 218993"/>
                  <a:gd name="connsiteY5" fmla="*/ 87809 h 301780"/>
                  <a:gd name="connsiteX6" fmla="*/ 206679 w 218993"/>
                  <a:gd name="connsiteY6" fmla="*/ 82979 h 301780"/>
                  <a:gd name="connsiteX7" fmla="*/ 206391 w 218993"/>
                  <a:gd name="connsiteY7" fmla="*/ 82979 h 301780"/>
                  <a:gd name="connsiteX8" fmla="*/ 206391 w 218993"/>
                  <a:gd name="connsiteY8" fmla="*/ 80167 h 301780"/>
                  <a:gd name="connsiteX9" fmla="*/ 206679 w 218993"/>
                  <a:gd name="connsiteY9" fmla="*/ 80167 h 301780"/>
                  <a:gd name="connsiteX10" fmla="*/ 206391 w 218993"/>
                  <a:gd name="connsiteY10" fmla="*/ 75265 h 301780"/>
                  <a:gd name="connsiteX11" fmla="*/ 206391 w 218993"/>
                  <a:gd name="connsiteY11" fmla="*/ 75265 h 301780"/>
                  <a:gd name="connsiteX12" fmla="*/ 126600 w 218993"/>
                  <a:gd name="connsiteY12" fmla="*/ 0 h 301780"/>
                  <a:gd name="connsiteX13" fmla="*/ 0 w 218993"/>
                  <a:gd name="connsiteY13" fmla="*/ 0 h 301780"/>
                  <a:gd name="connsiteX14" fmla="*/ 0 w 218993"/>
                  <a:gd name="connsiteY14" fmla="*/ 301708 h 301780"/>
                  <a:gd name="connsiteX15" fmla="*/ 26141 w 218993"/>
                  <a:gd name="connsiteY15" fmla="*/ 301708 h 301780"/>
                  <a:gd name="connsiteX16" fmla="*/ 26141 w 218993"/>
                  <a:gd name="connsiteY16" fmla="*/ 163002 h 301780"/>
                  <a:gd name="connsiteX17" fmla="*/ 118390 w 218993"/>
                  <a:gd name="connsiteY17" fmla="*/ 163002 h 301780"/>
                  <a:gd name="connsiteX18" fmla="*/ 189468 w 218993"/>
                  <a:gd name="connsiteY18" fmla="*/ 301780 h 301780"/>
                  <a:gd name="connsiteX19" fmla="*/ 26141 w 218993"/>
                  <a:gd name="connsiteY19" fmla="*/ 26242 h 301780"/>
                  <a:gd name="connsiteX20" fmla="*/ 126600 w 218993"/>
                  <a:gd name="connsiteY20" fmla="*/ 26242 h 301780"/>
                  <a:gd name="connsiteX21" fmla="*/ 180250 w 218993"/>
                  <a:gd name="connsiteY21" fmla="*/ 79014 h 301780"/>
                  <a:gd name="connsiteX22" fmla="*/ 180250 w 218993"/>
                  <a:gd name="connsiteY22" fmla="*/ 83988 h 301780"/>
                  <a:gd name="connsiteX23" fmla="*/ 126600 w 218993"/>
                  <a:gd name="connsiteY23" fmla="*/ 136688 h 301780"/>
                  <a:gd name="connsiteX24" fmla="*/ 126600 w 218993"/>
                  <a:gd name="connsiteY24" fmla="*/ 136688 h 301780"/>
                  <a:gd name="connsiteX25" fmla="*/ 26141 w 218993"/>
                  <a:gd name="connsiteY25" fmla="*/ 136760 h 301780"/>
                  <a:gd name="connsiteX26" fmla="*/ 26141 w 218993"/>
                  <a:gd name="connsiteY26" fmla="*/ 26242 h 301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8993" h="301780">
                    <a:moveTo>
                      <a:pt x="189468" y="301780"/>
                    </a:moveTo>
                    <a:lnTo>
                      <a:pt x="218993" y="301780"/>
                    </a:lnTo>
                    <a:cubicBezTo>
                      <a:pt x="218993" y="301780"/>
                      <a:pt x="146692" y="160478"/>
                      <a:pt x="146692" y="160478"/>
                    </a:cubicBezTo>
                    <a:cubicBezTo>
                      <a:pt x="179098" y="152044"/>
                      <a:pt x="203582" y="123855"/>
                      <a:pt x="206319" y="89467"/>
                    </a:cubicBezTo>
                    <a:lnTo>
                      <a:pt x="206391" y="89467"/>
                    </a:lnTo>
                    <a:lnTo>
                      <a:pt x="206391" y="87809"/>
                    </a:lnTo>
                    <a:cubicBezTo>
                      <a:pt x="206463" y="86223"/>
                      <a:pt x="206679" y="84565"/>
                      <a:pt x="206679" y="82979"/>
                    </a:cubicBezTo>
                    <a:lnTo>
                      <a:pt x="206391" y="82979"/>
                    </a:lnTo>
                    <a:lnTo>
                      <a:pt x="206391" y="80167"/>
                    </a:lnTo>
                    <a:lnTo>
                      <a:pt x="206679" y="80167"/>
                    </a:lnTo>
                    <a:cubicBezTo>
                      <a:pt x="206679" y="78509"/>
                      <a:pt x="206535" y="76923"/>
                      <a:pt x="206391" y="75265"/>
                    </a:cubicBezTo>
                    <a:lnTo>
                      <a:pt x="206391" y="75265"/>
                    </a:lnTo>
                    <a:cubicBezTo>
                      <a:pt x="203798" y="33235"/>
                      <a:pt x="169160" y="0"/>
                      <a:pt x="126600" y="0"/>
                    </a:cubicBezTo>
                    <a:lnTo>
                      <a:pt x="0" y="0"/>
                    </a:lnTo>
                    <a:lnTo>
                      <a:pt x="0" y="301708"/>
                    </a:lnTo>
                    <a:lnTo>
                      <a:pt x="26141" y="301708"/>
                    </a:lnTo>
                    <a:lnTo>
                      <a:pt x="26141" y="163002"/>
                    </a:lnTo>
                    <a:lnTo>
                      <a:pt x="118390" y="163002"/>
                    </a:lnTo>
                    <a:lnTo>
                      <a:pt x="189468" y="301780"/>
                    </a:lnTo>
                    <a:close/>
                    <a:moveTo>
                      <a:pt x="26141" y="26242"/>
                    </a:moveTo>
                    <a:lnTo>
                      <a:pt x="126600" y="26242"/>
                    </a:lnTo>
                    <a:cubicBezTo>
                      <a:pt x="155909" y="26242"/>
                      <a:pt x="179674" y="49816"/>
                      <a:pt x="180250" y="79014"/>
                    </a:cubicBezTo>
                    <a:lnTo>
                      <a:pt x="180250" y="83988"/>
                    </a:lnTo>
                    <a:cubicBezTo>
                      <a:pt x="179674" y="113186"/>
                      <a:pt x="155909" y="136688"/>
                      <a:pt x="126600" y="136688"/>
                    </a:cubicBezTo>
                    <a:lnTo>
                      <a:pt x="126600" y="136688"/>
                    </a:lnTo>
                    <a:cubicBezTo>
                      <a:pt x="126600" y="136688"/>
                      <a:pt x="26141" y="136760"/>
                      <a:pt x="26141" y="136760"/>
                    </a:cubicBezTo>
                    <a:lnTo>
                      <a:pt x="26141" y="2624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xmlns="" id="{10D57596-45B1-4C20-4D9C-93E77B56DBFA}"/>
                  </a:ext>
                </a:extLst>
              </p:cNvPr>
              <p:cNvSpPr/>
              <p:nvPr/>
            </p:nvSpPr>
            <p:spPr>
              <a:xfrm>
                <a:off x="9387557" y="3329493"/>
                <a:ext cx="212944" cy="301852"/>
              </a:xfrm>
              <a:custGeom>
                <a:avLst/>
                <a:gdLst>
                  <a:gd name="connsiteX0" fmla="*/ 212656 w 212944"/>
                  <a:gd name="connsiteY0" fmla="*/ 212818 h 301852"/>
                  <a:gd name="connsiteX1" fmla="*/ 201422 w 212944"/>
                  <a:gd name="connsiteY1" fmla="*/ 173455 h 301852"/>
                  <a:gd name="connsiteX2" fmla="*/ 174273 w 212944"/>
                  <a:gd name="connsiteY2" fmla="*/ 147358 h 301852"/>
                  <a:gd name="connsiteX3" fmla="*/ 206247 w 212944"/>
                  <a:gd name="connsiteY3" fmla="*/ 89539 h 301852"/>
                  <a:gd name="connsiteX4" fmla="*/ 206319 w 212944"/>
                  <a:gd name="connsiteY4" fmla="*/ 89539 h 301852"/>
                  <a:gd name="connsiteX5" fmla="*/ 206319 w 212944"/>
                  <a:gd name="connsiteY5" fmla="*/ 87881 h 301852"/>
                  <a:gd name="connsiteX6" fmla="*/ 206535 w 212944"/>
                  <a:gd name="connsiteY6" fmla="*/ 83051 h 301852"/>
                  <a:gd name="connsiteX7" fmla="*/ 206319 w 212944"/>
                  <a:gd name="connsiteY7" fmla="*/ 83051 h 301852"/>
                  <a:gd name="connsiteX8" fmla="*/ 206319 w 212944"/>
                  <a:gd name="connsiteY8" fmla="*/ 80239 h 301852"/>
                  <a:gd name="connsiteX9" fmla="*/ 206535 w 212944"/>
                  <a:gd name="connsiteY9" fmla="*/ 80239 h 301852"/>
                  <a:gd name="connsiteX10" fmla="*/ 206319 w 212944"/>
                  <a:gd name="connsiteY10" fmla="*/ 75337 h 301852"/>
                  <a:gd name="connsiteX11" fmla="*/ 206319 w 212944"/>
                  <a:gd name="connsiteY11" fmla="*/ 75337 h 301852"/>
                  <a:gd name="connsiteX12" fmla="*/ 206319 w 212944"/>
                  <a:gd name="connsiteY12" fmla="*/ 75265 h 301852"/>
                  <a:gd name="connsiteX13" fmla="*/ 126456 w 212944"/>
                  <a:gd name="connsiteY13" fmla="*/ 72 h 301852"/>
                  <a:gd name="connsiteX14" fmla="*/ 126456 w 212944"/>
                  <a:gd name="connsiteY14" fmla="*/ 216 h 301852"/>
                  <a:gd name="connsiteX15" fmla="*/ 0 w 212944"/>
                  <a:gd name="connsiteY15" fmla="*/ 0 h 301852"/>
                  <a:gd name="connsiteX16" fmla="*/ 0 w 212944"/>
                  <a:gd name="connsiteY16" fmla="*/ 301852 h 301852"/>
                  <a:gd name="connsiteX17" fmla="*/ 131425 w 212944"/>
                  <a:gd name="connsiteY17" fmla="*/ 301852 h 301852"/>
                  <a:gd name="connsiteX18" fmla="*/ 212800 w 212944"/>
                  <a:gd name="connsiteY18" fmla="*/ 221541 h 301852"/>
                  <a:gd name="connsiteX19" fmla="*/ 212944 w 212944"/>
                  <a:gd name="connsiteY19" fmla="*/ 221541 h 301852"/>
                  <a:gd name="connsiteX20" fmla="*/ 212944 w 212944"/>
                  <a:gd name="connsiteY20" fmla="*/ 212818 h 301852"/>
                  <a:gd name="connsiteX21" fmla="*/ 212800 w 212944"/>
                  <a:gd name="connsiteY21" fmla="*/ 212818 h 301852"/>
                  <a:gd name="connsiteX22" fmla="*/ 126528 w 212944"/>
                  <a:gd name="connsiteY22" fmla="*/ 26386 h 301852"/>
                  <a:gd name="connsiteX23" fmla="*/ 126528 w 212944"/>
                  <a:gd name="connsiteY23" fmla="*/ 26386 h 301852"/>
                  <a:gd name="connsiteX24" fmla="*/ 180250 w 212944"/>
                  <a:gd name="connsiteY24" fmla="*/ 79302 h 301852"/>
                  <a:gd name="connsiteX25" fmla="*/ 180250 w 212944"/>
                  <a:gd name="connsiteY25" fmla="*/ 83988 h 301852"/>
                  <a:gd name="connsiteX26" fmla="*/ 126528 w 212944"/>
                  <a:gd name="connsiteY26" fmla="*/ 137048 h 301852"/>
                  <a:gd name="connsiteX27" fmla="*/ 26141 w 212944"/>
                  <a:gd name="connsiteY27" fmla="*/ 137048 h 301852"/>
                  <a:gd name="connsiteX28" fmla="*/ 26141 w 212944"/>
                  <a:gd name="connsiteY28" fmla="*/ 26386 h 301852"/>
                  <a:gd name="connsiteX29" fmla="*/ 126528 w 212944"/>
                  <a:gd name="connsiteY29" fmla="*/ 26386 h 301852"/>
                  <a:gd name="connsiteX30" fmla="*/ 186659 w 212944"/>
                  <a:gd name="connsiteY30" fmla="*/ 220171 h 301852"/>
                  <a:gd name="connsiteX31" fmla="*/ 186443 w 212944"/>
                  <a:gd name="connsiteY31" fmla="*/ 220171 h 301852"/>
                  <a:gd name="connsiteX32" fmla="*/ 130921 w 212944"/>
                  <a:gd name="connsiteY32" fmla="*/ 275755 h 301852"/>
                  <a:gd name="connsiteX33" fmla="*/ 130921 w 212944"/>
                  <a:gd name="connsiteY33" fmla="*/ 275755 h 301852"/>
                  <a:gd name="connsiteX34" fmla="*/ 26141 w 212944"/>
                  <a:gd name="connsiteY34" fmla="*/ 275755 h 301852"/>
                  <a:gd name="connsiteX35" fmla="*/ 26141 w 212944"/>
                  <a:gd name="connsiteY35" fmla="*/ 163362 h 301852"/>
                  <a:gd name="connsiteX36" fmla="*/ 134593 w 212944"/>
                  <a:gd name="connsiteY36" fmla="*/ 163795 h 301852"/>
                  <a:gd name="connsiteX37" fmla="*/ 134593 w 212944"/>
                  <a:gd name="connsiteY37" fmla="*/ 163795 h 301852"/>
                  <a:gd name="connsiteX38" fmla="*/ 179458 w 212944"/>
                  <a:gd name="connsiteY38" fmla="*/ 187946 h 301852"/>
                  <a:gd name="connsiteX39" fmla="*/ 186515 w 212944"/>
                  <a:gd name="connsiteY39" fmla="*/ 214836 h 301852"/>
                  <a:gd name="connsiteX40" fmla="*/ 186731 w 212944"/>
                  <a:gd name="connsiteY40" fmla="*/ 214836 h 301852"/>
                  <a:gd name="connsiteX41" fmla="*/ 186731 w 212944"/>
                  <a:gd name="connsiteY41" fmla="*/ 220171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12944" h="301852">
                    <a:moveTo>
                      <a:pt x="212656" y="212818"/>
                    </a:moveTo>
                    <a:cubicBezTo>
                      <a:pt x="212296" y="198183"/>
                      <a:pt x="208623" y="185134"/>
                      <a:pt x="201422" y="173455"/>
                    </a:cubicBezTo>
                    <a:cubicBezTo>
                      <a:pt x="194509" y="162425"/>
                      <a:pt x="185219" y="153558"/>
                      <a:pt x="174273" y="147358"/>
                    </a:cubicBezTo>
                    <a:cubicBezTo>
                      <a:pt x="192204" y="133948"/>
                      <a:pt x="204374" y="113186"/>
                      <a:pt x="206247" y="89539"/>
                    </a:cubicBezTo>
                    <a:lnTo>
                      <a:pt x="206319" y="89539"/>
                    </a:lnTo>
                    <a:lnTo>
                      <a:pt x="206319" y="87881"/>
                    </a:lnTo>
                    <a:cubicBezTo>
                      <a:pt x="206391" y="86295"/>
                      <a:pt x="206535" y="84637"/>
                      <a:pt x="206535" y="83051"/>
                    </a:cubicBezTo>
                    <a:lnTo>
                      <a:pt x="206319" y="83051"/>
                    </a:lnTo>
                    <a:lnTo>
                      <a:pt x="206319" y="80239"/>
                    </a:lnTo>
                    <a:lnTo>
                      <a:pt x="206535" y="80239"/>
                    </a:lnTo>
                    <a:cubicBezTo>
                      <a:pt x="206535" y="78581"/>
                      <a:pt x="206391" y="76995"/>
                      <a:pt x="206319" y="75337"/>
                    </a:cubicBezTo>
                    <a:lnTo>
                      <a:pt x="206319" y="75337"/>
                    </a:lnTo>
                    <a:cubicBezTo>
                      <a:pt x="206319" y="75337"/>
                      <a:pt x="206319" y="75265"/>
                      <a:pt x="206319" y="75265"/>
                    </a:cubicBezTo>
                    <a:cubicBezTo>
                      <a:pt x="203726" y="33307"/>
                      <a:pt x="169016" y="72"/>
                      <a:pt x="126456" y="72"/>
                    </a:cubicBezTo>
                    <a:lnTo>
                      <a:pt x="126456" y="216"/>
                    </a:lnTo>
                    <a:lnTo>
                      <a:pt x="0" y="0"/>
                    </a:lnTo>
                    <a:lnTo>
                      <a:pt x="0" y="301852"/>
                    </a:lnTo>
                    <a:lnTo>
                      <a:pt x="131425" y="301852"/>
                    </a:lnTo>
                    <a:cubicBezTo>
                      <a:pt x="175857" y="301564"/>
                      <a:pt x="211864" y="265878"/>
                      <a:pt x="212800" y="221541"/>
                    </a:cubicBezTo>
                    <a:lnTo>
                      <a:pt x="212944" y="221541"/>
                    </a:lnTo>
                    <a:lnTo>
                      <a:pt x="212944" y="212818"/>
                    </a:lnTo>
                    <a:lnTo>
                      <a:pt x="212800" y="212818"/>
                    </a:lnTo>
                    <a:close/>
                    <a:moveTo>
                      <a:pt x="126528" y="26386"/>
                    </a:moveTo>
                    <a:lnTo>
                      <a:pt x="126528" y="26386"/>
                    </a:lnTo>
                    <a:cubicBezTo>
                      <a:pt x="155909" y="26386"/>
                      <a:pt x="179746" y="50032"/>
                      <a:pt x="180250" y="79302"/>
                    </a:cubicBezTo>
                    <a:lnTo>
                      <a:pt x="180250" y="83988"/>
                    </a:lnTo>
                    <a:cubicBezTo>
                      <a:pt x="179746" y="113258"/>
                      <a:pt x="155909" y="137048"/>
                      <a:pt x="126528" y="137048"/>
                    </a:cubicBezTo>
                    <a:lnTo>
                      <a:pt x="26141" y="137048"/>
                    </a:lnTo>
                    <a:lnTo>
                      <a:pt x="26141" y="26386"/>
                    </a:lnTo>
                    <a:lnTo>
                      <a:pt x="126528" y="26386"/>
                    </a:lnTo>
                    <a:close/>
                    <a:moveTo>
                      <a:pt x="186659" y="220171"/>
                    </a:moveTo>
                    <a:lnTo>
                      <a:pt x="186443" y="220171"/>
                    </a:lnTo>
                    <a:cubicBezTo>
                      <a:pt x="186443" y="250883"/>
                      <a:pt x="161598" y="275755"/>
                      <a:pt x="130921" y="275755"/>
                    </a:cubicBezTo>
                    <a:lnTo>
                      <a:pt x="130921" y="275755"/>
                    </a:lnTo>
                    <a:cubicBezTo>
                      <a:pt x="130921" y="275755"/>
                      <a:pt x="26141" y="275755"/>
                      <a:pt x="26141" y="275755"/>
                    </a:cubicBezTo>
                    <a:lnTo>
                      <a:pt x="26141" y="163362"/>
                    </a:lnTo>
                    <a:lnTo>
                      <a:pt x="134593" y="163795"/>
                    </a:lnTo>
                    <a:lnTo>
                      <a:pt x="134593" y="163795"/>
                    </a:lnTo>
                    <a:cubicBezTo>
                      <a:pt x="153461" y="163795"/>
                      <a:pt x="169880" y="173095"/>
                      <a:pt x="179458" y="187946"/>
                    </a:cubicBezTo>
                    <a:cubicBezTo>
                      <a:pt x="183490" y="196381"/>
                      <a:pt x="186515" y="204888"/>
                      <a:pt x="186515" y="214836"/>
                    </a:cubicBezTo>
                    <a:lnTo>
                      <a:pt x="186731" y="214836"/>
                    </a:lnTo>
                    <a:lnTo>
                      <a:pt x="186731" y="220171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xmlns="" id="{B9CE4A65-7D64-EDA4-02A6-E79012C54799}"/>
                  </a:ext>
                </a:extLst>
              </p:cNvPr>
              <p:cNvSpPr/>
              <p:nvPr/>
            </p:nvSpPr>
            <p:spPr>
              <a:xfrm>
                <a:off x="9791480" y="3324302"/>
                <a:ext cx="311818" cy="312017"/>
              </a:xfrm>
              <a:custGeom>
                <a:avLst/>
                <a:gdLst>
                  <a:gd name="connsiteX0" fmla="*/ 1368 w 311818"/>
                  <a:gd name="connsiteY0" fmla="*/ 175618 h 312017"/>
                  <a:gd name="connsiteX1" fmla="*/ 155981 w 311818"/>
                  <a:gd name="connsiteY1" fmla="*/ 312017 h 312017"/>
                  <a:gd name="connsiteX2" fmla="*/ 310594 w 311818"/>
                  <a:gd name="connsiteY2" fmla="*/ 175546 h 312017"/>
                  <a:gd name="connsiteX3" fmla="*/ 311819 w 311818"/>
                  <a:gd name="connsiteY3" fmla="*/ 156513 h 312017"/>
                  <a:gd name="connsiteX4" fmla="*/ 310954 w 311818"/>
                  <a:gd name="connsiteY4" fmla="*/ 139499 h 312017"/>
                  <a:gd name="connsiteX5" fmla="*/ 155981 w 311818"/>
                  <a:gd name="connsiteY5" fmla="*/ 0 h 312017"/>
                  <a:gd name="connsiteX6" fmla="*/ 1008 w 311818"/>
                  <a:gd name="connsiteY6" fmla="*/ 139499 h 312017"/>
                  <a:gd name="connsiteX7" fmla="*/ 864 w 311818"/>
                  <a:gd name="connsiteY7" fmla="*/ 139499 h 312017"/>
                  <a:gd name="connsiteX8" fmla="*/ 0 w 311818"/>
                  <a:gd name="connsiteY8" fmla="*/ 156513 h 312017"/>
                  <a:gd name="connsiteX9" fmla="*/ 1224 w 311818"/>
                  <a:gd name="connsiteY9" fmla="*/ 175546 h 312017"/>
                  <a:gd name="connsiteX10" fmla="*/ 155981 w 311818"/>
                  <a:gd name="connsiteY10" fmla="*/ 285487 h 312017"/>
                  <a:gd name="connsiteX11" fmla="*/ 28085 w 311818"/>
                  <a:gd name="connsiteY11" fmla="*/ 175618 h 312017"/>
                  <a:gd name="connsiteX12" fmla="*/ 27941 w 311818"/>
                  <a:gd name="connsiteY12" fmla="*/ 175618 h 312017"/>
                  <a:gd name="connsiteX13" fmla="*/ 26501 w 311818"/>
                  <a:gd name="connsiteY13" fmla="*/ 156513 h 312017"/>
                  <a:gd name="connsiteX14" fmla="*/ 27509 w 311818"/>
                  <a:gd name="connsiteY14" fmla="*/ 140004 h 312017"/>
                  <a:gd name="connsiteX15" fmla="*/ 27581 w 311818"/>
                  <a:gd name="connsiteY15" fmla="*/ 140004 h 312017"/>
                  <a:gd name="connsiteX16" fmla="*/ 155909 w 311818"/>
                  <a:gd name="connsiteY16" fmla="*/ 26530 h 312017"/>
                  <a:gd name="connsiteX17" fmla="*/ 284165 w 311818"/>
                  <a:gd name="connsiteY17" fmla="*/ 139788 h 312017"/>
                  <a:gd name="connsiteX18" fmla="*/ 285246 w 311818"/>
                  <a:gd name="connsiteY18" fmla="*/ 156585 h 312017"/>
                  <a:gd name="connsiteX19" fmla="*/ 283805 w 311818"/>
                  <a:gd name="connsiteY19" fmla="*/ 175906 h 312017"/>
                  <a:gd name="connsiteX20" fmla="*/ 155909 w 311818"/>
                  <a:gd name="connsiteY20" fmla="*/ 285559 h 312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1818" h="312017">
                    <a:moveTo>
                      <a:pt x="1368" y="175618"/>
                    </a:moveTo>
                    <a:cubicBezTo>
                      <a:pt x="11018" y="252541"/>
                      <a:pt x="76550" y="312017"/>
                      <a:pt x="155981" y="312017"/>
                    </a:cubicBezTo>
                    <a:cubicBezTo>
                      <a:pt x="235412" y="312017"/>
                      <a:pt x="300945" y="252469"/>
                      <a:pt x="310594" y="175546"/>
                    </a:cubicBezTo>
                    <a:cubicBezTo>
                      <a:pt x="311315" y="169346"/>
                      <a:pt x="311819" y="162930"/>
                      <a:pt x="311819" y="156513"/>
                    </a:cubicBezTo>
                    <a:cubicBezTo>
                      <a:pt x="311819" y="150602"/>
                      <a:pt x="311603" y="145267"/>
                      <a:pt x="310954" y="139499"/>
                    </a:cubicBezTo>
                    <a:cubicBezTo>
                      <a:pt x="302889" y="60846"/>
                      <a:pt x="236636" y="0"/>
                      <a:pt x="155981" y="0"/>
                    </a:cubicBezTo>
                    <a:cubicBezTo>
                      <a:pt x="75326" y="0"/>
                      <a:pt x="9218" y="61135"/>
                      <a:pt x="1008" y="139499"/>
                    </a:cubicBezTo>
                    <a:lnTo>
                      <a:pt x="864" y="139499"/>
                    </a:lnTo>
                    <a:cubicBezTo>
                      <a:pt x="216" y="145267"/>
                      <a:pt x="0" y="150602"/>
                      <a:pt x="0" y="156513"/>
                    </a:cubicBezTo>
                    <a:cubicBezTo>
                      <a:pt x="0" y="162930"/>
                      <a:pt x="432" y="169346"/>
                      <a:pt x="1224" y="175546"/>
                    </a:cubicBezTo>
                    <a:moveTo>
                      <a:pt x="155981" y="285487"/>
                    </a:moveTo>
                    <a:cubicBezTo>
                      <a:pt x="91169" y="285487"/>
                      <a:pt x="37519" y="237834"/>
                      <a:pt x="28085" y="175618"/>
                    </a:cubicBezTo>
                    <a:lnTo>
                      <a:pt x="27941" y="175618"/>
                    </a:lnTo>
                    <a:cubicBezTo>
                      <a:pt x="27005" y="169346"/>
                      <a:pt x="26501" y="163074"/>
                      <a:pt x="26501" y="156513"/>
                    </a:cubicBezTo>
                    <a:cubicBezTo>
                      <a:pt x="26501" y="150818"/>
                      <a:pt x="26789" y="145483"/>
                      <a:pt x="27509" y="140004"/>
                    </a:cubicBezTo>
                    <a:lnTo>
                      <a:pt x="27581" y="140004"/>
                    </a:lnTo>
                    <a:cubicBezTo>
                      <a:pt x="35431" y="76058"/>
                      <a:pt x="89873" y="26530"/>
                      <a:pt x="155909" y="26530"/>
                    </a:cubicBezTo>
                    <a:cubicBezTo>
                      <a:pt x="221946" y="26530"/>
                      <a:pt x="276316" y="75769"/>
                      <a:pt x="284165" y="139788"/>
                    </a:cubicBezTo>
                    <a:cubicBezTo>
                      <a:pt x="284886" y="145411"/>
                      <a:pt x="285246" y="150818"/>
                      <a:pt x="285246" y="156585"/>
                    </a:cubicBezTo>
                    <a:cubicBezTo>
                      <a:pt x="285246" y="163218"/>
                      <a:pt x="284741" y="169562"/>
                      <a:pt x="283805" y="175906"/>
                    </a:cubicBezTo>
                    <a:cubicBezTo>
                      <a:pt x="274372" y="238122"/>
                      <a:pt x="220721" y="285559"/>
                      <a:pt x="155909" y="285559"/>
                    </a:cubicBez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xmlns="" id="{EE878C16-1B88-5308-8C3F-9607304AB3E4}"/>
                  </a:ext>
                </a:extLst>
              </p:cNvPr>
              <p:cNvSpPr/>
              <p:nvPr/>
            </p:nvSpPr>
            <p:spPr>
              <a:xfrm>
                <a:off x="11529743" y="3323653"/>
                <a:ext cx="42343" cy="42390"/>
              </a:xfrm>
              <a:custGeom>
                <a:avLst/>
                <a:gdLst>
                  <a:gd name="connsiteX0" fmla="*/ 0 w 42343"/>
                  <a:gd name="connsiteY0" fmla="*/ 21123 h 42390"/>
                  <a:gd name="connsiteX1" fmla="*/ 21244 w 42343"/>
                  <a:gd name="connsiteY1" fmla="*/ 0 h 42390"/>
                  <a:gd name="connsiteX2" fmla="*/ 42344 w 42343"/>
                  <a:gd name="connsiteY2" fmla="*/ 21123 h 42390"/>
                  <a:gd name="connsiteX3" fmla="*/ 21244 w 42343"/>
                  <a:gd name="connsiteY3" fmla="*/ 42391 h 42390"/>
                  <a:gd name="connsiteX4" fmla="*/ 0 w 42343"/>
                  <a:gd name="connsiteY4" fmla="*/ 21123 h 42390"/>
                  <a:gd name="connsiteX5" fmla="*/ 38959 w 42343"/>
                  <a:gd name="connsiteY5" fmla="*/ 21123 h 42390"/>
                  <a:gd name="connsiteX6" fmla="*/ 21244 w 42343"/>
                  <a:gd name="connsiteY6" fmla="*/ 2812 h 42390"/>
                  <a:gd name="connsiteX7" fmla="*/ 3385 w 42343"/>
                  <a:gd name="connsiteY7" fmla="*/ 21123 h 42390"/>
                  <a:gd name="connsiteX8" fmla="*/ 21244 w 42343"/>
                  <a:gd name="connsiteY8" fmla="*/ 39579 h 42390"/>
                  <a:gd name="connsiteX9" fmla="*/ 38959 w 42343"/>
                  <a:gd name="connsiteY9" fmla="*/ 21123 h 42390"/>
                  <a:gd name="connsiteX10" fmla="*/ 31758 w 42343"/>
                  <a:gd name="connsiteY10" fmla="*/ 32946 h 42390"/>
                  <a:gd name="connsiteX11" fmla="*/ 28301 w 42343"/>
                  <a:gd name="connsiteY11" fmla="*/ 32946 h 42390"/>
                  <a:gd name="connsiteX12" fmla="*/ 21532 w 42343"/>
                  <a:gd name="connsiteY12" fmla="*/ 22060 h 42390"/>
                  <a:gd name="connsiteX13" fmla="*/ 16203 w 42343"/>
                  <a:gd name="connsiteY13" fmla="*/ 22060 h 42390"/>
                  <a:gd name="connsiteX14" fmla="*/ 16203 w 42343"/>
                  <a:gd name="connsiteY14" fmla="*/ 32946 h 42390"/>
                  <a:gd name="connsiteX15" fmla="*/ 13323 w 42343"/>
                  <a:gd name="connsiteY15" fmla="*/ 32946 h 42390"/>
                  <a:gd name="connsiteX16" fmla="*/ 13323 w 42343"/>
                  <a:gd name="connsiteY16" fmla="*/ 9300 h 42390"/>
                  <a:gd name="connsiteX17" fmla="*/ 23693 w 42343"/>
                  <a:gd name="connsiteY17" fmla="*/ 9300 h 42390"/>
                  <a:gd name="connsiteX18" fmla="*/ 32046 w 42343"/>
                  <a:gd name="connsiteY18" fmla="*/ 15572 h 42390"/>
                  <a:gd name="connsiteX19" fmla="*/ 24629 w 42343"/>
                  <a:gd name="connsiteY19" fmla="*/ 22060 h 42390"/>
                  <a:gd name="connsiteX20" fmla="*/ 31758 w 42343"/>
                  <a:gd name="connsiteY20" fmla="*/ 32946 h 42390"/>
                  <a:gd name="connsiteX21" fmla="*/ 20668 w 42343"/>
                  <a:gd name="connsiteY21" fmla="*/ 19753 h 42390"/>
                  <a:gd name="connsiteX22" fmla="*/ 28949 w 42343"/>
                  <a:gd name="connsiteY22" fmla="*/ 15500 h 42390"/>
                  <a:gd name="connsiteX23" fmla="*/ 23044 w 42343"/>
                  <a:gd name="connsiteY23" fmla="*/ 11391 h 42390"/>
                  <a:gd name="connsiteX24" fmla="*/ 16275 w 42343"/>
                  <a:gd name="connsiteY24" fmla="*/ 11391 h 42390"/>
                  <a:gd name="connsiteX25" fmla="*/ 16275 w 42343"/>
                  <a:gd name="connsiteY25" fmla="*/ 19753 h 42390"/>
                  <a:gd name="connsiteX26" fmla="*/ 20668 w 42343"/>
                  <a:gd name="connsiteY26" fmla="*/ 19753 h 4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2343" h="42390">
                    <a:moveTo>
                      <a:pt x="0" y="21123"/>
                    </a:moveTo>
                    <a:cubicBezTo>
                      <a:pt x="0" y="9516"/>
                      <a:pt x="9506" y="0"/>
                      <a:pt x="21244" y="0"/>
                    </a:cubicBezTo>
                    <a:cubicBezTo>
                      <a:pt x="32982" y="0"/>
                      <a:pt x="42344" y="9516"/>
                      <a:pt x="42344" y="21123"/>
                    </a:cubicBezTo>
                    <a:cubicBezTo>
                      <a:pt x="42344" y="32730"/>
                      <a:pt x="32910" y="42391"/>
                      <a:pt x="21244" y="42391"/>
                    </a:cubicBezTo>
                    <a:cubicBezTo>
                      <a:pt x="9578" y="42391"/>
                      <a:pt x="0" y="32874"/>
                      <a:pt x="0" y="21123"/>
                    </a:cubicBezTo>
                    <a:close/>
                    <a:moveTo>
                      <a:pt x="38959" y="21123"/>
                    </a:moveTo>
                    <a:cubicBezTo>
                      <a:pt x="38959" y="10814"/>
                      <a:pt x="31470" y="2812"/>
                      <a:pt x="21244" y="2812"/>
                    </a:cubicBezTo>
                    <a:cubicBezTo>
                      <a:pt x="11018" y="2812"/>
                      <a:pt x="3385" y="10886"/>
                      <a:pt x="3385" y="21123"/>
                    </a:cubicBezTo>
                    <a:cubicBezTo>
                      <a:pt x="3385" y="31360"/>
                      <a:pt x="10946" y="39579"/>
                      <a:pt x="21244" y="39579"/>
                    </a:cubicBezTo>
                    <a:cubicBezTo>
                      <a:pt x="31542" y="39579"/>
                      <a:pt x="38959" y="31505"/>
                      <a:pt x="38959" y="21123"/>
                    </a:cubicBezTo>
                    <a:close/>
                    <a:moveTo>
                      <a:pt x="31758" y="32946"/>
                    </a:moveTo>
                    <a:lnTo>
                      <a:pt x="28301" y="32946"/>
                    </a:lnTo>
                    <a:lnTo>
                      <a:pt x="21532" y="22060"/>
                    </a:lnTo>
                    <a:lnTo>
                      <a:pt x="16203" y="22060"/>
                    </a:lnTo>
                    <a:lnTo>
                      <a:pt x="16203" y="32946"/>
                    </a:lnTo>
                    <a:lnTo>
                      <a:pt x="13323" y="32946"/>
                    </a:lnTo>
                    <a:lnTo>
                      <a:pt x="13323" y="9300"/>
                    </a:lnTo>
                    <a:lnTo>
                      <a:pt x="23693" y="9300"/>
                    </a:lnTo>
                    <a:cubicBezTo>
                      <a:pt x="29958" y="9300"/>
                      <a:pt x="32046" y="11679"/>
                      <a:pt x="32046" y="15572"/>
                    </a:cubicBezTo>
                    <a:cubicBezTo>
                      <a:pt x="32046" y="20186"/>
                      <a:pt x="28805" y="21916"/>
                      <a:pt x="24629" y="22060"/>
                    </a:cubicBezTo>
                    <a:lnTo>
                      <a:pt x="31758" y="32946"/>
                    </a:lnTo>
                    <a:close/>
                    <a:moveTo>
                      <a:pt x="20668" y="19753"/>
                    </a:moveTo>
                    <a:cubicBezTo>
                      <a:pt x="24052" y="19753"/>
                      <a:pt x="28949" y="20330"/>
                      <a:pt x="28949" y="15500"/>
                    </a:cubicBezTo>
                    <a:cubicBezTo>
                      <a:pt x="28949" y="11823"/>
                      <a:pt x="25925" y="11391"/>
                      <a:pt x="23044" y="11391"/>
                    </a:cubicBezTo>
                    <a:lnTo>
                      <a:pt x="16275" y="11391"/>
                    </a:lnTo>
                    <a:lnTo>
                      <a:pt x="16275" y="19753"/>
                    </a:lnTo>
                    <a:lnTo>
                      <a:pt x="20668" y="19753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xmlns="" id="{BC7FD410-44E7-E258-CE51-5F59F2FAE43F}"/>
                </a:ext>
              </a:extLst>
            </p:cNvPr>
            <p:cNvSpPr/>
            <p:nvPr/>
          </p:nvSpPr>
          <p:spPr>
            <a:xfrm>
              <a:off x="9662576" y="3326249"/>
              <a:ext cx="70213" cy="41020"/>
            </a:xfrm>
            <a:custGeom>
              <a:avLst/>
              <a:gdLst>
                <a:gd name="connsiteX0" fmla="*/ 15267 w 70213"/>
                <a:gd name="connsiteY0" fmla="*/ 4398 h 41020"/>
                <a:gd name="connsiteX1" fmla="*/ 9434 w 70213"/>
                <a:gd name="connsiteY1" fmla="*/ 7714 h 41020"/>
                <a:gd name="connsiteX2" fmla="*/ 4321 w 70213"/>
                <a:gd name="connsiteY2" fmla="*/ 11607 h 41020"/>
                <a:gd name="connsiteX3" fmla="*/ 2737 w 70213"/>
                <a:gd name="connsiteY3" fmla="*/ 15139 h 41020"/>
                <a:gd name="connsiteX4" fmla="*/ 648 w 70213"/>
                <a:gd name="connsiteY4" fmla="*/ 18167 h 41020"/>
                <a:gd name="connsiteX5" fmla="*/ 144 w 70213"/>
                <a:gd name="connsiteY5" fmla="*/ 19249 h 41020"/>
                <a:gd name="connsiteX6" fmla="*/ 0 w 70213"/>
                <a:gd name="connsiteY6" fmla="*/ 20330 h 41020"/>
                <a:gd name="connsiteX7" fmla="*/ 288 w 70213"/>
                <a:gd name="connsiteY7" fmla="*/ 21556 h 41020"/>
                <a:gd name="connsiteX8" fmla="*/ 2232 w 70213"/>
                <a:gd name="connsiteY8" fmla="*/ 26891 h 41020"/>
                <a:gd name="connsiteX9" fmla="*/ 5617 w 70213"/>
                <a:gd name="connsiteY9" fmla="*/ 28981 h 41020"/>
                <a:gd name="connsiteX10" fmla="*/ 9506 w 70213"/>
                <a:gd name="connsiteY10" fmla="*/ 33379 h 41020"/>
                <a:gd name="connsiteX11" fmla="*/ 12314 w 70213"/>
                <a:gd name="connsiteY11" fmla="*/ 36046 h 41020"/>
                <a:gd name="connsiteX12" fmla="*/ 16347 w 70213"/>
                <a:gd name="connsiteY12" fmla="*/ 37993 h 41020"/>
                <a:gd name="connsiteX13" fmla="*/ 20380 w 70213"/>
                <a:gd name="connsiteY13" fmla="*/ 39218 h 41020"/>
                <a:gd name="connsiteX14" fmla="*/ 26069 w 70213"/>
                <a:gd name="connsiteY14" fmla="*/ 39218 h 41020"/>
                <a:gd name="connsiteX15" fmla="*/ 29814 w 70213"/>
                <a:gd name="connsiteY15" fmla="*/ 39939 h 41020"/>
                <a:gd name="connsiteX16" fmla="*/ 33846 w 70213"/>
                <a:gd name="connsiteY16" fmla="*/ 40300 h 41020"/>
                <a:gd name="connsiteX17" fmla="*/ 39319 w 70213"/>
                <a:gd name="connsiteY17" fmla="*/ 40660 h 41020"/>
                <a:gd name="connsiteX18" fmla="*/ 44576 w 70213"/>
                <a:gd name="connsiteY18" fmla="*/ 41021 h 41020"/>
                <a:gd name="connsiteX19" fmla="*/ 51130 w 70213"/>
                <a:gd name="connsiteY19" fmla="*/ 40516 h 41020"/>
                <a:gd name="connsiteX20" fmla="*/ 56099 w 70213"/>
                <a:gd name="connsiteY20" fmla="*/ 39074 h 41020"/>
                <a:gd name="connsiteX21" fmla="*/ 62076 w 70213"/>
                <a:gd name="connsiteY21" fmla="*/ 36623 h 41020"/>
                <a:gd name="connsiteX22" fmla="*/ 64740 w 70213"/>
                <a:gd name="connsiteY22" fmla="*/ 33595 h 41020"/>
                <a:gd name="connsiteX23" fmla="*/ 67765 w 70213"/>
                <a:gd name="connsiteY23" fmla="*/ 30784 h 41020"/>
                <a:gd name="connsiteX24" fmla="*/ 70213 w 70213"/>
                <a:gd name="connsiteY24" fmla="*/ 26891 h 41020"/>
                <a:gd name="connsiteX25" fmla="*/ 70069 w 70213"/>
                <a:gd name="connsiteY25" fmla="*/ 22853 h 41020"/>
                <a:gd name="connsiteX26" fmla="*/ 68989 w 70213"/>
                <a:gd name="connsiteY26" fmla="*/ 17014 h 41020"/>
                <a:gd name="connsiteX27" fmla="*/ 62652 w 70213"/>
                <a:gd name="connsiteY27" fmla="*/ 7786 h 41020"/>
                <a:gd name="connsiteX28" fmla="*/ 57035 w 70213"/>
                <a:gd name="connsiteY28" fmla="*/ 3533 h 41020"/>
                <a:gd name="connsiteX29" fmla="*/ 54226 w 70213"/>
                <a:gd name="connsiteY29" fmla="*/ 2163 h 41020"/>
                <a:gd name="connsiteX30" fmla="*/ 52138 w 70213"/>
                <a:gd name="connsiteY30" fmla="*/ 1370 h 41020"/>
                <a:gd name="connsiteX31" fmla="*/ 50121 w 70213"/>
                <a:gd name="connsiteY31" fmla="*/ 1081 h 41020"/>
                <a:gd name="connsiteX32" fmla="*/ 43568 w 70213"/>
                <a:gd name="connsiteY32" fmla="*/ 1586 h 41020"/>
                <a:gd name="connsiteX33" fmla="*/ 37015 w 70213"/>
                <a:gd name="connsiteY33" fmla="*/ 505 h 41020"/>
                <a:gd name="connsiteX34" fmla="*/ 33846 w 70213"/>
                <a:gd name="connsiteY34" fmla="*/ 0 h 41020"/>
                <a:gd name="connsiteX35" fmla="*/ 29814 w 70213"/>
                <a:gd name="connsiteY35" fmla="*/ 865 h 41020"/>
                <a:gd name="connsiteX36" fmla="*/ 24485 w 70213"/>
                <a:gd name="connsiteY36" fmla="*/ 1586 h 41020"/>
                <a:gd name="connsiteX37" fmla="*/ 21100 w 70213"/>
                <a:gd name="connsiteY37" fmla="*/ 2812 h 41020"/>
                <a:gd name="connsiteX38" fmla="*/ 15267 w 70213"/>
                <a:gd name="connsiteY38" fmla="*/ 4398 h 4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0213" h="41020">
                  <a:moveTo>
                    <a:pt x="15267" y="4398"/>
                  </a:moveTo>
                  <a:lnTo>
                    <a:pt x="9434" y="7714"/>
                  </a:lnTo>
                  <a:lnTo>
                    <a:pt x="4321" y="11607"/>
                  </a:lnTo>
                  <a:lnTo>
                    <a:pt x="2737" y="15139"/>
                  </a:lnTo>
                  <a:lnTo>
                    <a:pt x="648" y="18167"/>
                  </a:lnTo>
                  <a:lnTo>
                    <a:pt x="144" y="19249"/>
                  </a:lnTo>
                  <a:lnTo>
                    <a:pt x="0" y="20330"/>
                  </a:lnTo>
                  <a:lnTo>
                    <a:pt x="288" y="21556"/>
                  </a:lnTo>
                  <a:lnTo>
                    <a:pt x="2232" y="26891"/>
                  </a:lnTo>
                  <a:lnTo>
                    <a:pt x="5617" y="28981"/>
                  </a:lnTo>
                  <a:lnTo>
                    <a:pt x="9506" y="33379"/>
                  </a:lnTo>
                  <a:lnTo>
                    <a:pt x="12314" y="36046"/>
                  </a:lnTo>
                  <a:lnTo>
                    <a:pt x="16347" y="37993"/>
                  </a:lnTo>
                  <a:lnTo>
                    <a:pt x="20380" y="39218"/>
                  </a:lnTo>
                  <a:lnTo>
                    <a:pt x="26069" y="39218"/>
                  </a:lnTo>
                  <a:lnTo>
                    <a:pt x="29814" y="39939"/>
                  </a:lnTo>
                  <a:lnTo>
                    <a:pt x="33846" y="40300"/>
                  </a:lnTo>
                  <a:lnTo>
                    <a:pt x="39319" y="40660"/>
                  </a:lnTo>
                  <a:lnTo>
                    <a:pt x="44576" y="41021"/>
                  </a:lnTo>
                  <a:lnTo>
                    <a:pt x="51130" y="40516"/>
                  </a:lnTo>
                  <a:lnTo>
                    <a:pt x="56099" y="39074"/>
                  </a:lnTo>
                  <a:lnTo>
                    <a:pt x="62076" y="36623"/>
                  </a:lnTo>
                  <a:lnTo>
                    <a:pt x="64740" y="33595"/>
                  </a:lnTo>
                  <a:lnTo>
                    <a:pt x="67765" y="30784"/>
                  </a:lnTo>
                  <a:lnTo>
                    <a:pt x="70213" y="26891"/>
                  </a:lnTo>
                  <a:lnTo>
                    <a:pt x="70069" y="22853"/>
                  </a:lnTo>
                  <a:lnTo>
                    <a:pt x="68989" y="17014"/>
                  </a:lnTo>
                  <a:lnTo>
                    <a:pt x="62652" y="7786"/>
                  </a:lnTo>
                  <a:lnTo>
                    <a:pt x="57035" y="3533"/>
                  </a:lnTo>
                  <a:lnTo>
                    <a:pt x="54226" y="2163"/>
                  </a:lnTo>
                  <a:lnTo>
                    <a:pt x="52138" y="1370"/>
                  </a:lnTo>
                  <a:lnTo>
                    <a:pt x="50121" y="1081"/>
                  </a:lnTo>
                  <a:lnTo>
                    <a:pt x="43568" y="1586"/>
                  </a:lnTo>
                  <a:lnTo>
                    <a:pt x="37015" y="505"/>
                  </a:lnTo>
                  <a:lnTo>
                    <a:pt x="33846" y="0"/>
                  </a:lnTo>
                  <a:lnTo>
                    <a:pt x="29814" y="865"/>
                  </a:lnTo>
                  <a:lnTo>
                    <a:pt x="24485" y="1586"/>
                  </a:lnTo>
                  <a:lnTo>
                    <a:pt x="21100" y="2812"/>
                  </a:lnTo>
                  <a:lnTo>
                    <a:pt x="15267" y="4398"/>
                  </a:lnTo>
                </a:path>
              </a:pathLst>
            </a:custGeom>
            <a:solidFill>
              <a:srgbClr val="F26531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xmlns="" id="{D1888D00-A095-5CBD-12CB-5CADB859E1C5}"/>
                </a:ext>
              </a:extLst>
            </p:cNvPr>
            <p:cNvSpPr/>
            <p:nvPr/>
          </p:nvSpPr>
          <p:spPr>
            <a:xfrm>
              <a:off x="9668265" y="3427034"/>
              <a:ext cx="59915" cy="15932"/>
            </a:xfrm>
            <a:custGeom>
              <a:avLst/>
              <a:gdLst>
                <a:gd name="connsiteX0" fmla="*/ 1224 w 59915"/>
                <a:gd name="connsiteY0" fmla="*/ 360 h 15932"/>
                <a:gd name="connsiteX1" fmla="*/ 32694 w 59915"/>
                <a:gd name="connsiteY1" fmla="*/ 1081 h 15932"/>
                <a:gd name="connsiteX2" fmla="*/ 37375 w 59915"/>
                <a:gd name="connsiteY2" fmla="*/ 144 h 15932"/>
                <a:gd name="connsiteX3" fmla="*/ 43424 w 59915"/>
                <a:gd name="connsiteY3" fmla="*/ 0 h 15932"/>
                <a:gd name="connsiteX4" fmla="*/ 49473 w 59915"/>
                <a:gd name="connsiteY4" fmla="*/ 649 h 15932"/>
                <a:gd name="connsiteX5" fmla="*/ 54082 w 59915"/>
                <a:gd name="connsiteY5" fmla="*/ 1947 h 15932"/>
                <a:gd name="connsiteX6" fmla="*/ 57611 w 59915"/>
                <a:gd name="connsiteY6" fmla="*/ 4326 h 15932"/>
                <a:gd name="connsiteX7" fmla="*/ 58907 w 59915"/>
                <a:gd name="connsiteY7" fmla="*/ 5984 h 15932"/>
                <a:gd name="connsiteX8" fmla="*/ 59699 w 59915"/>
                <a:gd name="connsiteY8" fmla="*/ 7714 h 15932"/>
                <a:gd name="connsiteX9" fmla="*/ 59915 w 59915"/>
                <a:gd name="connsiteY9" fmla="*/ 9588 h 15932"/>
                <a:gd name="connsiteX10" fmla="*/ 59339 w 59915"/>
                <a:gd name="connsiteY10" fmla="*/ 11535 h 15932"/>
                <a:gd name="connsiteX11" fmla="*/ 57971 w 59915"/>
                <a:gd name="connsiteY11" fmla="*/ 13409 h 15932"/>
                <a:gd name="connsiteX12" fmla="*/ 55522 w 59915"/>
                <a:gd name="connsiteY12" fmla="*/ 15212 h 15932"/>
                <a:gd name="connsiteX13" fmla="*/ 51922 w 59915"/>
                <a:gd name="connsiteY13" fmla="*/ 15932 h 15932"/>
                <a:gd name="connsiteX14" fmla="*/ 45513 w 59915"/>
                <a:gd name="connsiteY14" fmla="*/ 15932 h 15932"/>
                <a:gd name="connsiteX15" fmla="*/ 28229 w 59915"/>
                <a:gd name="connsiteY15" fmla="*/ 14635 h 15932"/>
                <a:gd name="connsiteX16" fmla="*/ 1872 w 59915"/>
                <a:gd name="connsiteY16" fmla="*/ 11607 h 15932"/>
                <a:gd name="connsiteX17" fmla="*/ 864 w 59915"/>
                <a:gd name="connsiteY17" fmla="*/ 11174 h 15932"/>
                <a:gd name="connsiteX18" fmla="*/ 288 w 59915"/>
                <a:gd name="connsiteY18" fmla="*/ 10165 h 15932"/>
                <a:gd name="connsiteX19" fmla="*/ 0 w 59915"/>
                <a:gd name="connsiteY19" fmla="*/ 6921 h 15932"/>
                <a:gd name="connsiteX20" fmla="*/ 1224 w 59915"/>
                <a:gd name="connsiteY20" fmla="*/ 360 h 1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9915" h="15932">
                  <a:moveTo>
                    <a:pt x="1224" y="360"/>
                  </a:moveTo>
                  <a:lnTo>
                    <a:pt x="32694" y="1081"/>
                  </a:lnTo>
                  <a:lnTo>
                    <a:pt x="37375" y="144"/>
                  </a:lnTo>
                  <a:lnTo>
                    <a:pt x="43424" y="0"/>
                  </a:lnTo>
                  <a:lnTo>
                    <a:pt x="49473" y="649"/>
                  </a:lnTo>
                  <a:lnTo>
                    <a:pt x="54082" y="1947"/>
                  </a:lnTo>
                  <a:lnTo>
                    <a:pt x="57611" y="4326"/>
                  </a:lnTo>
                  <a:lnTo>
                    <a:pt x="58907" y="5984"/>
                  </a:lnTo>
                  <a:lnTo>
                    <a:pt x="59699" y="7714"/>
                  </a:lnTo>
                  <a:lnTo>
                    <a:pt x="59915" y="9588"/>
                  </a:lnTo>
                  <a:lnTo>
                    <a:pt x="59339" y="11535"/>
                  </a:lnTo>
                  <a:lnTo>
                    <a:pt x="57971" y="13409"/>
                  </a:lnTo>
                  <a:lnTo>
                    <a:pt x="55522" y="15212"/>
                  </a:lnTo>
                  <a:lnTo>
                    <a:pt x="51922" y="15932"/>
                  </a:lnTo>
                  <a:lnTo>
                    <a:pt x="45513" y="15932"/>
                  </a:lnTo>
                  <a:lnTo>
                    <a:pt x="28229" y="14635"/>
                  </a:lnTo>
                  <a:lnTo>
                    <a:pt x="1872" y="11607"/>
                  </a:lnTo>
                  <a:lnTo>
                    <a:pt x="864" y="11174"/>
                  </a:lnTo>
                  <a:lnTo>
                    <a:pt x="288" y="10165"/>
                  </a:lnTo>
                  <a:lnTo>
                    <a:pt x="0" y="6921"/>
                  </a:lnTo>
                  <a:lnTo>
                    <a:pt x="1224" y="360"/>
                  </a:lnTo>
                </a:path>
              </a:pathLst>
            </a:custGeom>
            <a:solidFill>
              <a:srgbClr val="ED1849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xmlns="" id="{6DF96DBD-C358-1D00-9F60-38574B97D996}"/>
                </a:ext>
              </a:extLst>
            </p:cNvPr>
            <p:cNvSpPr/>
            <p:nvPr/>
          </p:nvSpPr>
          <p:spPr>
            <a:xfrm>
              <a:off x="9671290" y="3456448"/>
              <a:ext cx="57754" cy="15644"/>
            </a:xfrm>
            <a:custGeom>
              <a:avLst/>
              <a:gdLst>
                <a:gd name="connsiteX0" fmla="*/ 7057 w 57754"/>
                <a:gd name="connsiteY0" fmla="*/ 0 h 15644"/>
                <a:gd name="connsiteX1" fmla="*/ 9794 w 57754"/>
                <a:gd name="connsiteY1" fmla="*/ 1658 h 15644"/>
                <a:gd name="connsiteX2" fmla="*/ 11522 w 57754"/>
                <a:gd name="connsiteY2" fmla="*/ 2667 h 15644"/>
                <a:gd name="connsiteX3" fmla="*/ 13467 w 57754"/>
                <a:gd name="connsiteY3" fmla="*/ 3172 h 15644"/>
                <a:gd name="connsiteX4" fmla="*/ 14835 w 57754"/>
                <a:gd name="connsiteY4" fmla="*/ 2884 h 15644"/>
                <a:gd name="connsiteX5" fmla="*/ 16419 w 57754"/>
                <a:gd name="connsiteY5" fmla="*/ 2163 h 15644"/>
                <a:gd name="connsiteX6" fmla="*/ 18003 w 57754"/>
                <a:gd name="connsiteY6" fmla="*/ 1370 h 15644"/>
                <a:gd name="connsiteX7" fmla="*/ 19588 w 57754"/>
                <a:gd name="connsiteY7" fmla="*/ 1009 h 15644"/>
                <a:gd name="connsiteX8" fmla="*/ 22324 w 57754"/>
                <a:gd name="connsiteY8" fmla="*/ 2019 h 15644"/>
                <a:gd name="connsiteX9" fmla="*/ 25277 w 57754"/>
                <a:gd name="connsiteY9" fmla="*/ 3028 h 15644"/>
                <a:gd name="connsiteX10" fmla="*/ 27725 w 57754"/>
                <a:gd name="connsiteY10" fmla="*/ 2235 h 15644"/>
                <a:gd name="connsiteX11" fmla="*/ 30246 w 57754"/>
                <a:gd name="connsiteY11" fmla="*/ 1514 h 15644"/>
                <a:gd name="connsiteX12" fmla="*/ 33198 w 57754"/>
                <a:gd name="connsiteY12" fmla="*/ 2595 h 15644"/>
                <a:gd name="connsiteX13" fmla="*/ 34638 w 57754"/>
                <a:gd name="connsiteY13" fmla="*/ 3172 h 15644"/>
                <a:gd name="connsiteX14" fmla="*/ 36079 w 57754"/>
                <a:gd name="connsiteY14" fmla="*/ 3172 h 15644"/>
                <a:gd name="connsiteX15" fmla="*/ 45224 w 57754"/>
                <a:gd name="connsiteY15" fmla="*/ 1947 h 15644"/>
                <a:gd name="connsiteX16" fmla="*/ 52210 w 57754"/>
                <a:gd name="connsiteY16" fmla="*/ 3100 h 15644"/>
                <a:gd name="connsiteX17" fmla="*/ 52642 w 57754"/>
                <a:gd name="connsiteY17" fmla="*/ 3388 h 15644"/>
                <a:gd name="connsiteX18" fmla="*/ 52858 w 57754"/>
                <a:gd name="connsiteY18" fmla="*/ 3749 h 15644"/>
                <a:gd name="connsiteX19" fmla="*/ 52642 w 57754"/>
                <a:gd name="connsiteY19" fmla="*/ 4614 h 15644"/>
                <a:gd name="connsiteX20" fmla="*/ 52354 w 57754"/>
                <a:gd name="connsiteY20" fmla="*/ 5551 h 15644"/>
                <a:gd name="connsiteX21" fmla="*/ 52642 w 57754"/>
                <a:gd name="connsiteY21" fmla="*/ 6416 h 15644"/>
                <a:gd name="connsiteX22" fmla="*/ 54370 w 57754"/>
                <a:gd name="connsiteY22" fmla="*/ 7426 h 15644"/>
                <a:gd name="connsiteX23" fmla="*/ 56315 w 57754"/>
                <a:gd name="connsiteY23" fmla="*/ 8219 h 15644"/>
                <a:gd name="connsiteX24" fmla="*/ 57107 w 57754"/>
                <a:gd name="connsiteY24" fmla="*/ 8795 h 15644"/>
                <a:gd name="connsiteX25" fmla="*/ 57611 w 57754"/>
                <a:gd name="connsiteY25" fmla="*/ 9660 h 15644"/>
                <a:gd name="connsiteX26" fmla="*/ 57755 w 57754"/>
                <a:gd name="connsiteY26" fmla="*/ 10958 h 15644"/>
                <a:gd name="connsiteX27" fmla="*/ 57395 w 57754"/>
                <a:gd name="connsiteY27" fmla="*/ 12760 h 15644"/>
                <a:gd name="connsiteX28" fmla="*/ 56819 w 57754"/>
                <a:gd name="connsiteY28" fmla="*/ 13626 h 15644"/>
                <a:gd name="connsiteX29" fmla="*/ 55522 w 57754"/>
                <a:gd name="connsiteY29" fmla="*/ 14346 h 15644"/>
                <a:gd name="connsiteX30" fmla="*/ 51562 w 57754"/>
                <a:gd name="connsiteY30" fmla="*/ 15212 h 15644"/>
                <a:gd name="connsiteX31" fmla="*/ 39031 w 57754"/>
                <a:gd name="connsiteY31" fmla="*/ 15644 h 15644"/>
                <a:gd name="connsiteX32" fmla="*/ 21100 w 57754"/>
                <a:gd name="connsiteY32" fmla="*/ 13337 h 15644"/>
                <a:gd name="connsiteX33" fmla="*/ 5545 w 57754"/>
                <a:gd name="connsiteY33" fmla="*/ 10453 h 15644"/>
                <a:gd name="connsiteX34" fmla="*/ 3241 w 57754"/>
                <a:gd name="connsiteY34" fmla="*/ 9516 h 15644"/>
                <a:gd name="connsiteX35" fmla="*/ 1512 w 57754"/>
                <a:gd name="connsiteY35" fmla="*/ 7426 h 15644"/>
                <a:gd name="connsiteX36" fmla="*/ 360 w 57754"/>
                <a:gd name="connsiteY36" fmla="*/ 4974 h 15644"/>
                <a:gd name="connsiteX37" fmla="*/ 0 w 57754"/>
                <a:gd name="connsiteY37" fmla="*/ 2812 h 15644"/>
                <a:gd name="connsiteX38" fmla="*/ 7057 w 57754"/>
                <a:gd name="connsiteY38" fmla="*/ 0 h 1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754" h="15644">
                  <a:moveTo>
                    <a:pt x="7057" y="0"/>
                  </a:moveTo>
                  <a:lnTo>
                    <a:pt x="9794" y="1658"/>
                  </a:lnTo>
                  <a:lnTo>
                    <a:pt x="11522" y="2667"/>
                  </a:lnTo>
                  <a:lnTo>
                    <a:pt x="13467" y="3172"/>
                  </a:lnTo>
                  <a:lnTo>
                    <a:pt x="14835" y="2884"/>
                  </a:lnTo>
                  <a:lnTo>
                    <a:pt x="16419" y="2163"/>
                  </a:lnTo>
                  <a:lnTo>
                    <a:pt x="18003" y="1370"/>
                  </a:lnTo>
                  <a:lnTo>
                    <a:pt x="19588" y="1009"/>
                  </a:lnTo>
                  <a:lnTo>
                    <a:pt x="22324" y="2019"/>
                  </a:lnTo>
                  <a:lnTo>
                    <a:pt x="25277" y="3028"/>
                  </a:lnTo>
                  <a:lnTo>
                    <a:pt x="27725" y="2235"/>
                  </a:lnTo>
                  <a:lnTo>
                    <a:pt x="30246" y="1514"/>
                  </a:lnTo>
                  <a:lnTo>
                    <a:pt x="33198" y="2595"/>
                  </a:lnTo>
                  <a:lnTo>
                    <a:pt x="34638" y="3172"/>
                  </a:lnTo>
                  <a:lnTo>
                    <a:pt x="36079" y="3172"/>
                  </a:lnTo>
                  <a:lnTo>
                    <a:pt x="45224" y="1947"/>
                  </a:lnTo>
                  <a:lnTo>
                    <a:pt x="52210" y="3100"/>
                  </a:lnTo>
                  <a:lnTo>
                    <a:pt x="52642" y="3388"/>
                  </a:lnTo>
                  <a:lnTo>
                    <a:pt x="52858" y="3749"/>
                  </a:lnTo>
                  <a:lnTo>
                    <a:pt x="52642" y="4614"/>
                  </a:lnTo>
                  <a:lnTo>
                    <a:pt x="52354" y="5551"/>
                  </a:lnTo>
                  <a:lnTo>
                    <a:pt x="52642" y="6416"/>
                  </a:lnTo>
                  <a:lnTo>
                    <a:pt x="54370" y="7426"/>
                  </a:lnTo>
                  <a:lnTo>
                    <a:pt x="56315" y="8219"/>
                  </a:lnTo>
                  <a:lnTo>
                    <a:pt x="57107" y="8795"/>
                  </a:lnTo>
                  <a:lnTo>
                    <a:pt x="57611" y="9660"/>
                  </a:lnTo>
                  <a:lnTo>
                    <a:pt x="57755" y="10958"/>
                  </a:lnTo>
                  <a:lnTo>
                    <a:pt x="57395" y="12760"/>
                  </a:lnTo>
                  <a:lnTo>
                    <a:pt x="56819" y="13626"/>
                  </a:lnTo>
                  <a:lnTo>
                    <a:pt x="55522" y="14346"/>
                  </a:lnTo>
                  <a:lnTo>
                    <a:pt x="51562" y="15212"/>
                  </a:lnTo>
                  <a:lnTo>
                    <a:pt x="39031" y="15644"/>
                  </a:lnTo>
                  <a:lnTo>
                    <a:pt x="21100" y="13337"/>
                  </a:lnTo>
                  <a:lnTo>
                    <a:pt x="5545" y="10453"/>
                  </a:lnTo>
                  <a:lnTo>
                    <a:pt x="3241" y="9516"/>
                  </a:lnTo>
                  <a:lnTo>
                    <a:pt x="1512" y="7426"/>
                  </a:lnTo>
                  <a:lnTo>
                    <a:pt x="360" y="4974"/>
                  </a:lnTo>
                  <a:lnTo>
                    <a:pt x="0" y="2812"/>
                  </a:lnTo>
                  <a:lnTo>
                    <a:pt x="705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xmlns="" id="{2BBA1225-8942-419B-CA74-C485D42F0CA3}"/>
                </a:ext>
              </a:extLst>
            </p:cNvPr>
            <p:cNvSpPr/>
            <p:nvPr/>
          </p:nvSpPr>
          <p:spPr>
            <a:xfrm>
              <a:off x="9668481" y="3473390"/>
              <a:ext cx="59771" cy="17013"/>
            </a:xfrm>
            <a:custGeom>
              <a:avLst/>
              <a:gdLst>
                <a:gd name="connsiteX0" fmla="*/ 5617 w 59771"/>
                <a:gd name="connsiteY0" fmla="*/ 0 h 17013"/>
                <a:gd name="connsiteX1" fmla="*/ 10442 w 59771"/>
                <a:gd name="connsiteY1" fmla="*/ 1874 h 17013"/>
                <a:gd name="connsiteX2" fmla="*/ 12818 w 59771"/>
                <a:gd name="connsiteY2" fmla="*/ 2740 h 17013"/>
                <a:gd name="connsiteX3" fmla="*/ 15195 w 59771"/>
                <a:gd name="connsiteY3" fmla="*/ 2667 h 17013"/>
                <a:gd name="connsiteX4" fmla="*/ 36583 w 59771"/>
                <a:gd name="connsiteY4" fmla="*/ 1658 h 17013"/>
                <a:gd name="connsiteX5" fmla="*/ 45152 w 59771"/>
                <a:gd name="connsiteY5" fmla="*/ 2451 h 17013"/>
                <a:gd name="connsiteX6" fmla="*/ 51850 w 59771"/>
                <a:gd name="connsiteY6" fmla="*/ 4109 h 17013"/>
                <a:gd name="connsiteX7" fmla="*/ 54874 w 59771"/>
                <a:gd name="connsiteY7" fmla="*/ 4902 h 17013"/>
                <a:gd name="connsiteX8" fmla="*/ 56603 w 59771"/>
                <a:gd name="connsiteY8" fmla="*/ 5623 h 17013"/>
                <a:gd name="connsiteX9" fmla="*/ 57971 w 59771"/>
                <a:gd name="connsiteY9" fmla="*/ 6633 h 17013"/>
                <a:gd name="connsiteX10" fmla="*/ 59483 w 59771"/>
                <a:gd name="connsiteY10" fmla="*/ 9300 h 17013"/>
                <a:gd name="connsiteX11" fmla="*/ 59771 w 59771"/>
                <a:gd name="connsiteY11" fmla="*/ 11895 h 17013"/>
                <a:gd name="connsiteX12" fmla="*/ 59123 w 59771"/>
                <a:gd name="connsiteY12" fmla="*/ 14130 h 17013"/>
                <a:gd name="connsiteX13" fmla="*/ 57971 w 59771"/>
                <a:gd name="connsiteY13" fmla="*/ 15572 h 17013"/>
                <a:gd name="connsiteX14" fmla="*/ 57971 w 59771"/>
                <a:gd name="connsiteY14" fmla="*/ 17014 h 17013"/>
                <a:gd name="connsiteX15" fmla="*/ 37015 w 59771"/>
                <a:gd name="connsiteY15" fmla="*/ 16942 h 17013"/>
                <a:gd name="connsiteX16" fmla="*/ 30030 w 59771"/>
                <a:gd name="connsiteY16" fmla="*/ 17014 h 17013"/>
                <a:gd name="connsiteX17" fmla="*/ 23116 w 59771"/>
                <a:gd name="connsiteY17" fmla="*/ 16437 h 17013"/>
                <a:gd name="connsiteX18" fmla="*/ 16203 w 59771"/>
                <a:gd name="connsiteY18" fmla="*/ 15212 h 17013"/>
                <a:gd name="connsiteX19" fmla="*/ 10010 w 59771"/>
                <a:gd name="connsiteY19" fmla="*/ 14202 h 17013"/>
                <a:gd name="connsiteX20" fmla="*/ 5545 w 59771"/>
                <a:gd name="connsiteY20" fmla="*/ 13481 h 17013"/>
                <a:gd name="connsiteX21" fmla="*/ 3745 w 59771"/>
                <a:gd name="connsiteY21" fmla="*/ 13049 h 17013"/>
                <a:gd name="connsiteX22" fmla="*/ 2520 w 59771"/>
                <a:gd name="connsiteY22" fmla="*/ 11895 h 17013"/>
                <a:gd name="connsiteX23" fmla="*/ 792 w 59771"/>
                <a:gd name="connsiteY23" fmla="*/ 8219 h 17013"/>
                <a:gd name="connsiteX24" fmla="*/ 0 w 59771"/>
                <a:gd name="connsiteY24" fmla="*/ 4253 h 17013"/>
                <a:gd name="connsiteX25" fmla="*/ 5617 w 59771"/>
                <a:gd name="connsiteY25" fmla="*/ 0 h 17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9771" h="17013">
                  <a:moveTo>
                    <a:pt x="5617" y="0"/>
                  </a:moveTo>
                  <a:lnTo>
                    <a:pt x="10442" y="1874"/>
                  </a:lnTo>
                  <a:lnTo>
                    <a:pt x="12818" y="2740"/>
                  </a:lnTo>
                  <a:lnTo>
                    <a:pt x="15195" y="2667"/>
                  </a:lnTo>
                  <a:lnTo>
                    <a:pt x="36583" y="1658"/>
                  </a:lnTo>
                  <a:lnTo>
                    <a:pt x="45152" y="2451"/>
                  </a:lnTo>
                  <a:lnTo>
                    <a:pt x="51850" y="4109"/>
                  </a:lnTo>
                  <a:lnTo>
                    <a:pt x="54874" y="4902"/>
                  </a:lnTo>
                  <a:lnTo>
                    <a:pt x="56603" y="5623"/>
                  </a:lnTo>
                  <a:lnTo>
                    <a:pt x="57971" y="6633"/>
                  </a:lnTo>
                  <a:lnTo>
                    <a:pt x="59483" y="9300"/>
                  </a:lnTo>
                  <a:lnTo>
                    <a:pt x="59771" y="11895"/>
                  </a:lnTo>
                  <a:lnTo>
                    <a:pt x="59123" y="14130"/>
                  </a:lnTo>
                  <a:lnTo>
                    <a:pt x="57971" y="15572"/>
                  </a:lnTo>
                  <a:lnTo>
                    <a:pt x="57971" y="17014"/>
                  </a:lnTo>
                  <a:lnTo>
                    <a:pt x="37015" y="16942"/>
                  </a:lnTo>
                  <a:lnTo>
                    <a:pt x="30030" y="17014"/>
                  </a:lnTo>
                  <a:lnTo>
                    <a:pt x="23116" y="16437"/>
                  </a:lnTo>
                  <a:lnTo>
                    <a:pt x="16203" y="15212"/>
                  </a:lnTo>
                  <a:lnTo>
                    <a:pt x="10010" y="14202"/>
                  </a:lnTo>
                  <a:lnTo>
                    <a:pt x="5545" y="13481"/>
                  </a:lnTo>
                  <a:lnTo>
                    <a:pt x="3745" y="13049"/>
                  </a:lnTo>
                  <a:lnTo>
                    <a:pt x="2520" y="11895"/>
                  </a:lnTo>
                  <a:lnTo>
                    <a:pt x="792" y="8219"/>
                  </a:lnTo>
                  <a:lnTo>
                    <a:pt x="0" y="4253"/>
                  </a:lnTo>
                  <a:lnTo>
                    <a:pt x="561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xmlns="" id="{7F95E89B-88DA-8E85-358F-4A5B247CCEB6}"/>
                </a:ext>
              </a:extLst>
            </p:cNvPr>
            <p:cNvSpPr/>
            <p:nvPr/>
          </p:nvSpPr>
          <p:spPr>
            <a:xfrm>
              <a:off x="9668553" y="3498406"/>
              <a:ext cx="60779" cy="27899"/>
            </a:xfrm>
            <a:custGeom>
              <a:avLst/>
              <a:gdLst>
                <a:gd name="connsiteX0" fmla="*/ 7129 w 60779"/>
                <a:gd name="connsiteY0" fmla="*/ 0 h 27899"/>
                <a:gd name="connsiteX1" fmla="*/ 16635 w 60779"/>
                <a:gd name="connsiteY1" fmla="*/ 1226 h 27899"/>
                <a:gd name="connsiteX2" fmla="*/ 19804 w 60779"/>
                <a:gd name="connsiteY2" fmla="*/ 1586 h 27899"/>
                <a:gd name="connsiteX3" fmla="*/ 22540 w 60779"/>
                <a:gd name="connsiteY3" fmla="*/ 1081 h 27899"/>
                <a:gd name="connsiteX4" fmla="*/ 26213 w 60779"/>
                <a:gd name="connsiteY4" fmla="*/ 721 h 27899"/>
                <a:gd name="connsiteX5" fmla="*/ 31974 w 60779"/>
                <a:gd name="connsiteY5" fmla="*/ 1153 h 27899"/>
                <a:gd name="connsiteX6" fmla="*/ 40256 w 60779"/>
                <a:gd name="connsiteY6" fmla="*/ 1298 h 27899"/>
                <a:gd name="connsiteX7" fmla="*/ 48609 w 60779"/>
                <a:gd name="connsiteY7" fmla="*/ 865 h 27899"/>
                <a:gd name="connsiteX8" fmla="*/ 51490 w 60779"/>
                <a:gd name="connsiteY8" fmla="*/ 793 h 27899"/>
                <a:gd name="connsiteX9" fmla="*/ 53938 w 60779"/>
                <a:gd name="connsiteY9" fmla="*/ 1802 h 27899"/>
                <a:gd name="connsiteX10" fmla="*/ 58259 w 60779"/>
                <a:gd name="connsiteY10" fmla="*/ 5407 h 27899"/>
                <a:gd name="connsiteX11" fmla="*/ 59699 w 60779"/>
                <a:gd name="connsiteY11" fmla="*/ 7209 h 27899"/>
                <a:gd name="connsiteX12" fmla="*/ 60563 w 60779"/>
                <a:gd name="connsiteY12" fmla="*/ 9300 h 27899"/>
                <a:gd name="connsiteX13" fmla="*/ 60779 w 60779"/>
                <a:gd name="connsiteY13" fmla="*/ 11607 h 27899"/>
                <a:gd name="connsiteX14" fmla="*/ 60203 w 60779"/>
                <a:gd name="connsiteY14" fmla="*/ 13914 h 27899"/>
                <a:gd name="connsiteX15" fmla="*/ 57683 w 60779"/>
                <a:gd name="connsiteY15" fmla="*/ 20979 h 27899"/>
                <a:gd name="connsiteX16" fmla="*/ 56243 w 60779"/>
                <a:gd name="connsiteY16" fmla="*/ 24079 h 27899"/>
                <a:gd name="connsiteX17" fmla="*/ 54154 w 60779"/>
                <a:gd name="connsiteY17" fmla="*/ 26602 h 27899"/>
                <a:gd name="connsiteX18" fmla="*/ 52930 w 60779"/>
                <a:gd name="connsiteY18" fmla="*/ 27179 h 27899"/>
                <a:gd name="connsiteX19" fmla="*/ 51490 w 60779"/>
                <a:gd name="connsiteY19" fmla="*/ 27251 h 27899"/>
                <a:gd name="connsiteX20" fmla="*/ 47961 w 60779"/>
                <a:gd name="connsiteY20" fmla="*/ 26602 h 27899"/>
                <a:gd name="connsiteX21" fmla="*/ 44288 w 60779"/>
                <a:gd name="connsiteY21" fmla="*/ 25593 h 27899"/>
                <a:gd name="connsiteX22" fmla="*/ 41120 w 60779"/>
                <a:gd name="connsiteY22" fmla="*/ 25160 h 27899"/>
                <a:gd name="connsiteX23" fmla="*/ 38815 w 60779"/>
                <a:gd name="connsiteY23" fmla="*/ 25737 h 27899"/>
                <a:gd name="connsiteX24" fmla="*/ 36799 w 60779"/>
                <a:gd name="connsiteY24" fmla="*/ 26746 h 27899"/>
                <a:gd name="connsiteX25" fmla="*/ 34711 w 60779"/>
                <a:gd name="connsiteY25" fmla="*/ 27612 h 27899"/>
                <a:gd name="connsiteX26" fmla="*/ 32334 w 60779"/>
                <a:gd name="connsiteY26" fmla="*/ 27900 h 27899"/>
                <a:gd name="connsiteX27" fmla="*/ 25565 w 60779"/>
                <a:gd name="connsiteY27" fmla="*/ 26098 h 27899"/>
                <a:gd name="connsiteX28" fmla="*/ 21748 w 60779"/>
                <a:gd name="connsiteY28" fmla="*/ 25593 h 27899"/>
                <a:gd name="connsiteX29" fmla="*/ 17355 w 60779"/>
                <a:gd name="connsiteY29" fmla="*/ 26314 h 27899"/>
                <a:gd name="connsiteX30" fmla="*/ 16203 w 60779"/>
                <a:gd name="connsiteY30" fmla="*/ 26458 h 27899"/>
                <a:gd name="connsiteX31" fmla="*/ 15123 w 60779"/>
                <a:gd name="connsiteY31" fmla="*/ 25953 h 27899"/>
                <a:gd name="connsiteX32" fmla="*/ 13971 w 60779"/>
                <a:gd name="connsiteY32" fmla="*/ 25377 h 27899"/>
                <a:gd name="connsiteX33" fmla="*/ 12746 w 60779"/>
                <a:gd name="connsiteY33" fmla="*/ 25088 h 27899"/>
                <a:gd name="connsiteX34" fmla="*/ 10082 w 60779"/>
                <a:gd name="connsiteY34" fmla="*/ 25016 h 27899"/>
                <a:gd name="connsiteX35" fmla="*/ 9074 w 60779"/>
                <a:gd name="connsiteY35" fmla="*/ 24656 h 27899"/>
                <a:gd name="connsiteX36" fmla="*/ 8570 w 60779"/>
                <a:gd name="connsiteY36" fmla="*/ 24079 h 27899"/>
                <a:gd name="connsiteX37" fmla="*/ 5329 w 60779"/>
                <a:gd name="connsiteY37" fmla="*/ 19105 h 27899"/>
                <a:gd name="connsiteX38" fmla="*/ 1872 w 60779"/>
                <a:gd name="connsiteY38" fmla="*/ 14995 h 27899"/>
                <a:gd name="connsiteX39" fmla="*/ 432 w 60779"/>
                <a:gd name="connsiteY39" fmla="*/ 13121 h 27899"/>
                <a:gd name="connsiteX40" fmla="*/ 0 w 60779"/>
                <a:gd name="connsiteY40" fmla="*/ 10958 h 27899"/>
                <a:gd name="connsiteX41" fmla="*/ 792 w 60779"/>
                <a:gd name="connsiteY41" fmla="*/ 8363 h 27899"/>
                <a:gd name="connsiteX42" fmla="*/ 2664 w 60779"/>
                <a:gd name="connsiteY42" fmla="*/ 5623 h 27899"/>
                <a:gd name="connsiteX43" fmla="*/ 7129 w 60779"/>
                <a:gd name="connsiteY43" fmla="*/ 0 h 27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0779" h="27899">
                  <a:moveTo>
                    <a:pt x="7129" y="0"/>
                  </a:moveTo>
                  <a:lnTo>
                    <a:pt x="16635" y="1226"/>
                  </a:lnTo>
                  <a:lnTo>
                    <a:pt x="19804" y="1586"/>
                  </a:lnTo>
                  <a:lnTo>
                    <a:pt x="22540" y="1081"/>
                  </a:lnTo>
                  <a:lnTo>
                    <a:pt x="26213" y="721"/>
                  </a:lnTo>
                  <a:lnTo>
                    <a:pt x="31974" y="1153"/>
                  </a:lnTo>
                  <a:lnTo>
                    <a:pt x="40256" y="1298"/>
                  </a:lnTo>
                  <a:lnTo>
                    <a:pt x="48609" y="865"/>
                  </a:lnTo>
                  <a:lnTo>
                    <a:pt x="51490" y="793"/>
                  </a:lnTo>
                  <a:lnTo>
                    <a:pt x="53938" y="1802"/>
                  </a:lnTo>
                  <a:lnTo>
                    <a:pt x="58259" y="5407"/>
                  </a:lnTo>
                  <a:lnTo>
                    <a:pt x="59699" y="7209"/>
                  </a:lnTo>
                  <a:lnTo>
                    <a:pt x="60563" y="9300"/>
                  </a:lnTo>
                  <a:lnTo>
                    <a:pt x="60779" y="11607"/>
                  </a:lnTo>
                  <a:lnTo>
                    <a:pt x="60203" y="13914"/>
                  </a:lnTo>
                  <a:lnTo>
                    <a:pt x="57683" y="20979"/>
                  </a:lnTo>
                  <a:lnTo>
                    <a:pt x="56243" y="24079"/>
                  </a:lnTo>
                  <a:lnTo>
                    <a:pt x="54154" y="26602"/>
                  </a:lnTo>
                  <a:lnTo>
                    <a:pt x="52930" y="27179"/>
                  </a:lnTo>
                  <a:lnTo>
                    <a:pt x="51490" y="27251"/>
                  </a:lnTo>
                  <a:lnTo>
                    <a:pt x="47961" y="26602"/>
                  </a:lnTo>
                  <a:lnTo>
                    <a:pt x="44288" y="25593"/>
                  </a:lnTo>
                  <a:lnTo>
                    <a:pt x="41120" y="25160"/>
                  </a:lnTo>
                  <a:lnTo>
                    <a:pt x="38815" y="25737"/>
                  </a:lnTo>
                  <a:lnTo>
                    <a:pt x="36799" y="26746"/>
                  </a:lnTo>
                  <a:lnTo>
                    <a:pt x="34711" y="27612"/>
                  </a:lnTo>
                  <a:lnTo>
                    <a:pt x="32334" y="27900"/>
                  </a:lnTo>
                  <a:lnTo>
                    <a:pt x="25565" y="26098"/>
                  </a:lnTo>
                  <a:lnTo>
                    <a:pt x="21748" y="25593"/>
                  </a:lnTo>
                  <a:lnTo>
                    <a:pt x="17355" y="26314"/>
                  </a:lnTo>
                  <a:lnTo>
                    <a:pt x="16203" y="26458"/>
                  </a:lnTo>
                  <a:lnTo>
                    <a:pt x="15123" y="25953"/>
                  </a:lnTo>
                  <a:lnTo>
                    <a:pt x="13971" y="25377"/>
                  </a:lnTo>
                  <a:lnTo>
                    <a:pt x="12746" y="25088"/>
                  </a:lnTo>
                  <a:lnTo>
                    <a:pt x="10082" y="25016"/>
                  </a:lnTo>
                  <a:lnTo>
                    <a:pt x="9074" y="24656"/>
                  </a:lnTo>
                  <a:lnTo>
                    <a:pt x="8570" y="24079"/>
                  </a:lnTo>
                  <a:lnTo>
                    <a:pt x="5329" y="19105"/>
                  </a:lnTo>
                  <a:lnTo>
                    <a:pt x="1872" y="14995"/>
                  </a:lnTo>
                  <a:lnTo>
                    <a:pt x="432" y="13121"/>
                  </a:lnTo>
                  <a:lnTo>
                    <a:pt x="0" y="10958"/>
                  </a:lnTo>
                  <a:lnTo>
                    <a:pt x="792" y="8363"/>
                  </a:lnTo>
                  <a:lnTo>
                    <a:pt x="2664" y="5623"/>
                  </a:lnTo>
                  <a:lnTo>
                    <a:pt x="7129" y="0"/>
                  </a:lnTo>
                </a:path>
              </a:pathLst>
            </a:custGeom>
            <a:solidFill>
              <a:srgbClr val="A9218E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xmlns="" id="{CA1D8935-071B-3050-F260-2F1E8CF276F0}"/>
                </a:ext>
              </a:extLst>
            </p:cNvPr>
            <p:cNvSpPr/>
            <p:nvPr/>
          </p:nvSpPr>
          <p:spPr>
            <a:xfrm>
              <a:off x="9664305" y="3546780"/>
              <a:ext cx="69565" cy="39506"/>
            </a:xfrm>
            <a:custGeom>
              <a:avLst/>
              <a:gdLst>
                <a:gd name="connsiteX0" fmla="*/ 22180 w 69565"/>
                <a:gd name="connsiteY0" fmla="*/ 216 h 39506"/>
                <a:gd name="connsiteX1" fmla="*/ 25709 w 69565"/>
                <a:gd name="connsiteY1" fmla="*/ 0 h 39506"/>
                <a:gd name="connsiteX2" fmla="*/ 29238 w 69565"/>
                <a:gd name="connsiteY2" fmla="*/ 360 h 39506"/>
                <a:gd name="connsiteX3" fmla="*/ 49545 w 69565"/>
                <a:gd name="connsiteY3" fmla="*/ 2379 h 39506"/>
                <a:gd name="connsiteX4" fmla="*/ 55234 w 69565"/>
                <a:gd name="connsiteY4" fmla="*/ 3244 h 39506"/>
                <a:gd name="connsiteX5" fmla="*/ 60635 w 69565"/>
                <a:gd name="connsiteY5" fmla="*/ 4758 h 39506"/>
                <a:gd name="connsiteX6" fmla="*/ 63084 w 69565"/>
                <a:gd name="connsiteY6" fmla="*/ 6272 h 39506"/>
                <a:gd name="connsiteX7" fmla="*/ 65244 w 69565"/>
                <a:gd name="connsiteY7" fmla="*/ 8435 h 39506"/>
                <a:gd name="connsiteX8" fmla="*/ 67045 w 69565"/>
                <a:gd name="connsiteY8" fmla="*/ 11679 h 39506"/>
                <a:gd name="connsiteX9" fmla="*/ 68485 w 69565"/>
                <a:gd name="connsiteY9" fmla="*/ 16005 h 39506"/>
                <a:gd name="connsiteX10" fmla="*/ 69565 w 69565"/>
                <a:gd name="connsiteY10" fmla="*/ 23358 h 39506"/>
                <a:gd name="connsiteX11" fmla="*/ 69205 w 69565"/>
                <a:gd name="connsiteY11" fmla="*/ 27035 h 39506"/>
                <a:gd name="connsiteX12" fmla="*/ 67837 w 69565"/>
                <a:gd name="connsiteY12" fmla="*/ 30423 h 39506"/>
                <a:gd name="connsiteX13" fmla="*/ 65964 w 69565"/>
                <a:gd name="connsiteY13" fmla="*/ 32586 h 39506"/>
                <a:gd name="connsiteX14" fmla="*/ 63516 w 69565"/>
                <a:gd name="connsiteY14" fmla="*/ 34460 h 39506"/>
                <a:gd name="connsiteX15" fmla="*/ 56963 w 69565"/>
                <a:gd name="connsiteY15" fmla="*/ 37272 h 39506"/>
                <a:gd name="connsiteX16" fmla="*/ 39751 w 69565"/>
                <a:gd name="connsiteY16" fmla="*/ 39507 h 39506"/>
                <a:gd name="connsiteX17" fmla="*/ 34278 w 69565"/>
                <a:gd name="connsiteY17" fmla="*/ 38786 h 39506"/>
                <a:gd name="connsiteX18" fmla="*/ 29021 w 69565"/>
                <a:gd name="connsiteY18" fmla="*/ 37272 h 39506"/>
                <a:gd name="connsiteX19" fmla="*/ 23764 w 69565"/>
                <a:gd name="connsiteY19" fmla="*/ 35830 h 39506"/>
                <a:gd name="connsiteX20" fmla="*/ 18652 w 69565"/>
                <a:gd name="connsiteY20" fmla="*/ 35253 h 39506"/>
                <a:gd name="connsiteX21" fmla="*/ 11450 w 69565"/>
                <a:gd name="connsiteY21" fmla="*/ 34388 h 39506"/>
                <a:gd name="connsiteX22" fmla="*/ 6049 w 69565"/>
                <a:gd name="connsiteY22" fmla="*/ 31721 h 39506"/>
                <a:gd name="connsiteX23" fmla="*/ 2448 w 69565"/>
                <a:gd name="connsiteY23" fmla="*/ 27900 h 39506"/>
                <a:gd name="connsiteX24" fmla="*/ 504 w 69565"/>
                <a:gd name="connsiteY24" fmla="*/ 23574 h 39506"/>
                <a:gd name="connsiteX25" fmla="*/ 0 w 69565"/>
                <a:gd name="connsiteY25" fmla="*/ 18816 h 39506"/>
                <a:gd name="connsiteX26" fmla="*/ 1152 w 69565"/>
                <a:gd name="connsiteY26" fmla="*/ 14707 h 39506"/>
                <a:gd name="connsiteX27" fmla="*/ 3529 w 69565"/>
                <a:gd name="connsiteY27" fmla="*/ 11246 h 39506"/>
                <a:gd name="connsiteX28" fmla="*/ 6625 w 69565"/>
                <a:gd name="connsiteY28" fmla="*/ 8507 h 39506"/>
                <a:gd name="connsiteX29" fmla="*/ 13395 w 69565"/>
                <a:gd name="connsiteY29" fmla="*/ 4758 h 39506"/>
                <a:gd name="connsiteX30" fmla="*/ 18003 w 69565"/>
                <a:gd name="connsiteY30" fmla="*/ 3100 h 39506"/>
                <a:gd name="connsiteX31" fmla="*/ 19156 w 69565"/>
                <a:gd name="connsiteY31" fmla="*/ 2523 h 39506"/>
                <a:gd name="connsiteX32" fmla="*/ 19948 w 69565"/>
                <a:gd name="connsiteY32" fmla="*/ 1730 h 39506"/>
                <a:gd name="connsiteX33" fmla="*/ 20812 w 69565"/>
                <a:gd name="connsiteY33" fmla="*/ 865 h 39506"/>
                <a:gd name="connsiteX34" fmla="*/ 22180 w 69565"/>
                <a:gd name="connsiteY34" fmla="*/ 216 h 3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9565" h="39506">
                  <a:moveTo>
                    <a:pt x="22180" y="216"/>
                  </a:moveTo>
                  <a:lnTo>
                    <a:pt x="25709" y="0"/>
                  </a:lnTo>
                  <a:lnTo>
                    <a:pt x="29238" y="360"/>
                  </a:lnTo>
                  <a:lnTo>
                    <a:pt x="49545" y="2379"/>
                  </a:lnTo>
                  <a:lnTo>
                    <a:pt x="55234" y="3244"/>
                  </a:lnTo>
                  <a:lnTo>
                    <a:pt x="60635" y="4758"/>
                  </a:lnTo>
                  <a:lnTo>
                    <a:pt x="63084" y="6272"/>
                  </a:lnTo>
                  <a:lnTo>
                    <a:pt x="65244" y="8435"/>
                  </a:lnTo>
                  <a:lnTo>
                    <a:pt x="67045" y="11679"/>
                  </a:lnTo>
                  <a:lnTo>
                    <a:pt x="68485" y="16005"/>
                  </a:lnTo>
                  <a:lnTo>
                    <a:pt x="69565" y="23358"/>
                  </a:lnTo>
                  <a:lnTo>
                    <a:pt x="69205" y="27035"/>
                  </a:lnTo>
                  <a:lnTo>
                    <a:pt x="67837" y="30423"/>
                  </a:lnTo>
                  <a:lnTo>
                    <a:pt x="65964" y="32586"/>
                  </a:lnTo>
                  <a:lnTo>
                    <a:pt x="63516" y="34460"/>
                  </a:lnTo>
                  <a:lnTo>
                    <a:pt x="56963" y="37272"/>
                  </a:lnTo>
                  <a:lnTo>
                    <a:pt x="39751" y="39507"/>
                  </a:lnTo>
                  <a:lnTo>
                    <a:pt x="34278" y="38786"/>
                  </a:lnTo>
                  <a:lnTo>
                    <a:pt x="29021" y="37272"/>
                  </a:lnTo>
                  <a:lnTo>
                    <a:pt x="23764" y="35830"/>
                  </a:lnTo>
                  <a:lnTo>
                    <a:pt x="18652" y="35253"/>
                  </a:lnTo>
                  <a:lnTo>
                    <a:pt x="11450" y="34388"/>
                  </a:lnTo>
                  <a:lnTo>
                    <a:pt x="6049" y="31721"/>
                  </a:lnTo>
                  <a:lnTo>
                    <a:pt x="2448" y="27900"/>
                  </a:lnTo>
                  <a:lnTo>
                    <a:pt x="504" y="23574"/>
                  </a:lnTo>
                  <a:lnTo>
                    <a:pt x="0" y="18816"/>
                  </a:lnTo>
                  <a:lnTo>
                    <a:pt x="1152" y="14707"/>
                  </a:lnTo>
                  <a:lnTo>
                    <a:pt x="3529" y="11246"/>
                  </a:lnTo>
                  <a:lnTo>
                    <a:pt x="6625" y="8507"/>
                  </a:lnTo>
                  <a:lnTo>
                    <a:pt x="13395" y="4758"/>
                  </a:lnTo>
                  <a:lnTo>
                    <a:pt x="18003" y="3100"/>
                  </a:lnTo>
                  <a:lnTo>
                    <a:pt x="19156" y="2523"/>
                  </a:lnTo>
                  <a:lnTo>
                    <a:pt x="19948" y="1730"/>
                  </a:lnTo>
                  <a:lnTo>
                    <a:pt x="20812" y="865"/>
                  </a:lnTo>
                  <a:lnTo>
                    <a:pt x="22180" y="216"/>
                  </a:lnTo>
                </a:path>
              </a:pathLst>
            </a:custGeom>
            <a:solidFill>
              <a:srgbClr val="353D98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xmlns="" id="{F114AFB2-0B43-F70B-F2A6-D58B0DD4CB48}"/>
                </a:ext>
              </a:extLst>
            </p:cNvPr>
            <p:cNvSpPr/>
            <p:nvPr/>
          </p:nvSpPr>
          <p:spPr>
            <a:xfrm>
              <a:off x="9669201" y="3603950"/>
              <a:ext cx="58186" cy="38137"/>
            </a:xfrm>
            <a:custGeom>
              <a:avLst/>
              <a:gdLst>
                <a:gd name="connsiteX0" fmla="*/ 32838 w 58186"/>
                <a:gd name="connsiteY0" fmla="*/ 0 h 38137"/>
                <a:gd name="connsiteX1" fmla="*/ 39463 w 58186"/>
                <a:gd name="connsiteY1" fmla="*/ 577 h 38137"/>
                <a:gd name="connsiteX2" fmla="*/ 46377 w 58186"/>
                <a:gd name="connsiteY2" fmla="*/ 3100 h 38137"/>
                <a:gd name="connsiteX3" fmla="*/ 48393 w 58186"/>
                <a:gd name="connsiteY3" fmla="*/ 5046 h 38137"/>
                <a:gd name="connsiteX4" fmla="*/ 50049 w 58186"/>
                <a:gd name="connsiteY4" fmla="*/ 6560 h 38137"/>
                <a:gd name="connsiteX5" fmla="*/ 53506 w 58186"/>
                <a:gd name="connsiteY5" fmla="*/ 7281 h 38137"/>
                <a:gd name="connsiteX6" fmla="*/ 55162 w 58186"/>
                <a:gd name="connsiteY6" fmla="*/ 7786 h 38137"/>
                <a:gd name="connsiteX7" fmla="*/ 56243 w 58186"/>
                <a:gd name="connsiteY7" fmla="*/ 8723 h 38137"/>
                <a:gd name="connsiteX8" fmla="*/ 58043 w 58186"/>
                <a:gd name="connsiteY8" fmla="*/ 16653 h 38137"/>
                <a:gd name="connsiteX9" fmla="*/ 58187 w 58186"/>
                <a:gd name="connsiteY9" fmla="*/ 21700 h 38137"/>
                <a:gd name="connsiteX10" fmla="*/ 57395 w 58186"/>
                <a:gd name="connsiteY10" fmla="*/ 25881 h 38137"/>
                <a:gd name="connsiteX11" fmla="*/ 55882 w 58186"/>
                <a:gd name="connsiteY11" fmla="*/ 28477 h 38137"/>
                <a:gd name="connsiteX12" fmla="*/ 53722 w 58186"/>
                <a:gd name="connsiteY12" fmla="*/ 30784 h 38137"/>
                <a:gd name="connsiteX13" fmla="*/ 48033 w 58186"/>
                <a:gd name="connsiteY13" fmla="*/ 34388 h 38137"/>
                <a:gd name="connsiteX14" fmla="*/ 40904 w 58186"/>
                <a:gd name="connsiteY14" fmla="*/ 36767 h 38137"/>
                <a:gd name="connsiteX15" fmla="*/ 32910 w 58186"/>
                <a:gd name="connsiteY15" fmla="*/ 37993 h 38137"/>
                <a:gd name="connsiteX16" fmla="*/ 24701 w 58186"/>
                <a:gd name="connsiteY16" fmla="*/ 38137 h 38137"/>
                <a:gd name="connsiteX17" fmla="*/ 16851 w 58186"/>
                <a:gd name="connsiteY17" fmla="*/ 37200 h 38137"/>
                <a:gd name="connsiteX18" fmla="*/ 9938 w 58186"/>
                <a:gd name="connsiteY18" fmla="*/ 35398 h 38137"/>
                <a:gd name="connsiteX19" fmla="*/ 4681 w 58186"/>
                <a:gd name="connsiteY19" fmla="*/ 32730 h 38137"/>
                <a:gd name="connsiteX20" fmla="*/ 3025 w 58186"/>
                <a:gd name="connsiteY20" fmla="*/ 31144 h 38137"/>
                <a:gd name="connsiteX21" fmla="*/ 1872 w 58186"/>
                <a:gd name="connsiteY21" fmla="*/ 29270 h 38137"/>
                <a:gd name="connsiteX22" fmla="*/ 432 w 58186"/>
                <a:gd name="connsiteY22" fmla="*/ 25016 h 38137"/>
                <a:gd name="connsiteX23" fmla="*/ 0 w 58186"/>
                <a:gd name="connsiteY23" fmla="*/ 20330 h 38137"/>
                <a:gd name="connsiteX24" fmla="*/ 936 w 58186"/>
                <a:gd name="connsiteY24" fmla="*/ 16221 h 38137"/>
                <a:gd name="connsiteX25" fmla="*/ 3097 w 58186"/>
                <a:gd name="connsiteY25" fmla="*/ 12688 h 38137"/>
                <a:gd name="connsiteX26" fmla="*/ 5977 w 58186"/>
                <a:gd name="connsiteY26" fmla="*/ 9733 h 38137"/>
                <a:gd name="connsiteX27" fmla="*/ 13106 w 58186"/>
                <a:gd name="connsiteY27" fmla="*/ 5623 h 38137"/>
                <a:gd name="connsiteX28" fmla="*/ 19732 w 58186"/>
                <a:gd name="connsiteY28" fmla="*/ 3821 h 38137"/>
                <a:gd name="connsiteX29" fmla="*/ 26429 w 58186"/>
                <a:gd name="connsiteY29" fmla="*/ 1802 h 38137"/>
                <a:gd name="connsiteX30" fmla="*/ 32838 w 58186"/>
                <a:gd name="connsiteY30" fmla="*/ 0 h 3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8186" h="38137">
                  <a:moveTo>
                    <a:pt x="32838" y="0"/>
                  </a:moveTo>
                  <a:lnTo>
                    <a:pt x="39463" y="577"/>
                  </a:lnTo>
                  <a:lnTo>
                    <a:pt x="46377" y="3100"/>
                  </a:lnTo>
                  <a:lnTo>
                    <a:pt x="48393" y="5046"/>
                  </a:lnTo>
                  <a:lnTo>
                    <a:pt x="50049" y="6560"/>
                  </a:lnTo>
                  <a:lnTo>
                    <a:pt x="53506" y="7281"/>
                  </a:lnTo>
                  <a:lnTo>
                    <a:pt x="55162" y="7786"/>
                  </a:lnTo>
                  <a:lnTo>
                    <a:pt x="56243" y="8723"/>
                  </a:lnTo>
                  <a:lnTo>
                    <a:pt x="58043" y="16653"/>
                  </a:lnTo>
                  <a:lnTo>
                    <a:pt x="58187" y="21700"/>
                  </a:lnTo>
                  <a:lnTo>
                    <a:pt x="57395" y="25881"/>
                  </a:lnTo>
                  <a:lnTo>
                    <a:pt x="55882" y="28477"/>
                  </a:lnTo>
                  <a:lnTo>
                    <a:pt x="53722" y="30784"/>
                  </a:lnTo>
                  <a:lnTo>
                    <a:pt x="48033" y="34388"/>
                  </a:lnTo>
                  <a:lnTo>
                    <a:pt x="40904" y="36767"/>
                  </a:lnTo>
                  <a:lnTo>
                    <a:pt x="32910" y="37993"/>
                  </a:lnTo>
                  <a:lnTo>
                    <a:pt x="24701" y="38137"/>
                  </a:lnTo>
                  <a:lnTo>
                    <a:pt x="16851" y="37200"/>
                  </a:lnTo>
                  <a:lnTo>
                    <a:pt x="9938" y="35398"/>
                  </a:lnTo>
                  <a:lnTo>
                    <a:pt x="4681" y="32730"/>
                  </a:lnTo>
                  <a:lnTo>
                    <a:pt x="3025" y="31144"/>
                  </a:lnTo>
                  <a:lnTo>
                    <a:pt x="1872" y="29270"/>
                  </a:lnTo>
                  <a:lnTo>
                    <a:pt x="432" y="25016"/>
                  </a:lnTo>
                  <a:lnTo>
                    <a:pt x="0" y="20330"/>
                  </a:lnTo>
                  <a:lnTo>
                    <a:pt x="936" y="16221"/>
                  </a:lnTo>
                  <a:lnTo>
                    <a:pt x="3097" y="12688"/>
                  </a:lnTo>
                  <a:lnTo>
                    <a:pt x="5977" y="9733"/>
                  </a:lnTo>
                  <a:lnTo>
                    <a:pt x="13106" y="5623"/>
                  </a:lnTo>
                  <a:lnTo>
                    <a:pt x="19732" y="3821"/>
                  </a:lnTo>
                  <a:lnTo>
                    <a:pt x="26429" y="1802"/>
                  </a:lnTo>
                  <a:lnTo>
                    <a:pt x="32838" y="0"/>
                  </a:lnTo>
                </a:path>
              </a:pathLst>
            </a:custGeom>
            <a:solidFill>
              <a:srgbClr val="002E56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597435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usiness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hape&#10;&#10;Description automatically generated">
            <a:extLst>
              <a:ext uri="{FF2B5EF4-FFF2-40B4-BE49-F238E27FC236}">
                <a16:creationId xmlns:a16="http://schemas.microsoft.com/office/drawing/2014/main" xmlns="" id="{CFE1371C-AA36-73A5-A9D2-CF40B86D92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30269DC-591D-B944-A479-80E360E756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4404" y="3834884"/>
            <a:ext cx="5133724" cy="658717"/>
          </a:xfrm>
        </p:spPr>
        <p:txBody>
          <a:bodyPr lIns="91440" tIns="45720" rIns="91440" bIns="45720">
            <a:noAutofit/>
          </a:bodyPr>
          <a:lstStyle>
            <a:lvl1pPr marL="0" indent="0" algn="r">
              <a:buNone/>
              <a:defRPr sz="2400" b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(Arial 24pt)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2F7201-0FDA-CE47-A9F3-7594A2B9A9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4404" y="2574295"/>
            <a:ext cx="5133724" cy="1237410"/>
          </a:xfrm>
        </p:spPr>
        <p:txBody>
          <a:bodyPr lIns="91440" tIns="45720" rIns="91440" bIns="45720" anchor="b">
            <a:noAutofit/>
          </a:bodyPr>
          <a:lstStyle>
            <a:lvl1pPr algn="r">
              <a:defRPr sz="4000" b="0" i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40pt)</a:t>
            </a:r>
            <a:endParaRPr lang="x-none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701A952A-CF5D-B981-4A5B-9F40CFA091C3}"/>
              </a:ext>
            </a:extLst>
          </p:cNvPr>
          <p:cNvGrpSpPr/>
          <p:nvPr userDrawn="1"/>
        </p:nvGrpSpPr>
        <p:grpSpPr>
          <a:xfrm>
            <a:off x="9387557" y="3323005"/>
            <a:ext cx="2184530" cy="319082"/>
            <a:chOff x="9387557" y="3323005"/>
            <a:chExt cx="2184530" cy="319082"/>
          </a:xfrm>
        </p:grpSpPr>
        <p:grpSp>
          <p:nvGrpSpPr>
            <p:cNvPr id="6" name="Picture 7">
              <a:extLst>
                <a:ext uri="{FF2B5EF4-FFF2-40B4-BE49-F238E27FC236}">
                  <a16:creationId xmlns:a16="http://schemas.microsoft.com/office/drawing/2014/main" xmlns="" id="{DB975A9B-A016-B521-403A-710C814FB8EC}"/>
                </a:ext>
              </a:extLst>
            </p:cNvPr>
            <p:cNvGrpSpPr/>
            <p:nvPr/>
          </p:nvGrpSpPr>
          <p:grpSpPr>
            <a:xfrm>
              <a:off x="9387557" y="3323005"/>
              <a:ext cx="2184530" cy="314756"/>
              <a:chOff x="9387557" y="3323005"/>
              <a:chExt cx="2184530" cy="314756"/>
            </a:xfrm>
            <a:solidFill>
              <a:srgbClr val="28509C"/>
            </a:solidFill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AC0137AD-36E3-F9EB-0995-6A8627239953}"/>
                  </a:ext>
                </a:extLst>
              </p:cNvPr>
              <p:cNvSpPr/>
              <p:nvPr/>
            </p:nvSpPr>
            <p:spPr>
              <a:xfrm>
                <a:off x="10500022" y="3323005"/>
                <a:ext cx="270122" cy="308340"/>
              </a:xfrm>
              <a:custGeom>
                <a:avLst/>
                <a:gdLst>
                  <a:gd name="connsiteX0" fmla="*/ 135025 w 270122"/>
                  <a:gd name="connsiteY0" fmla="*/ 0 h 308340"/>
                  <a:gd name="connsiteX1" fmla="*/ 0 w 270122"/>
                  <a:gd name="connsiteY1" fmla="*/ 308341 h 308340"/>
                  <a:gd name="connsiteX2" fmla="*/ 28949 w 270122"/>
                  <a:gd name="connsiteY2" fmla="*/ 308341 h 308340"/>
                  <a:gd name="connsiteX3" fmla="*/ 76262 w 270122"/>
                  <a:gd name="connsiteY3" fmla="*/ 200274 h 308340"/>
                  <a:gd name="connsiteX4" fmla="*/ 193933 w 270122"/>
                  <a:gd name="connsiteY4" fmla="*/ 200274 h 308340"/>
                  <a:gd name="connsiteX5" fmla="*/ 241533 w 270122"/>
                  <a:gd name="connsiteY5" fmla="*/ 308341 h 308340"/>
                  <a:gd name="connsiteX6" fmla="*/ 270123 w 270122"/>
                  <a:gd name="connsiteY6" fmla="*/ 308341 h 308340"/>
                  <a:gd name="connsiteX7" fmla="*/ 135025 w 270122"/>
                  <a:gd name="connsiteY7" fmla="*/ 0 h 308340"/>
                  <a:gd name="connsiteX8" fmla="*/ 87640 w 270122"/>
                  <a:gd name="connsiteY8" fmla="*/ 174104 h 308340"/>
                  <a:gd name="connsiteX9" fmla="*/ 134809 w 270122"/>
                  <a:gd name="connsiteY9" fmla="*/ 66181 h 308340"/>
                  <a:gd name="connsiteX10" fmla="*/ 182338 w 270122"/>
                  <a:gd name="connsiteY10" fmla="*/ 174104 h 308340"/>
                  <a:gd name="connsiteX11" fmla="*/ 87568 w 270122"/>
                  <a:gd name="connsiteY11" fmla="*/ 174104 h 30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0122" h="308340">
                    <a:moveTo>
                      <a:pt x="135025" y="0"/>
                    </a:moveTo>
                    <a:lnTo>
                      <a:pt x="0" y="308341"/>
                    </a:lnTo>
                    <a:lnTo>
                      <a:pt x="28949" y="308341"/>
                    </a:lnTo>
                    <a:lnTo>
                      <a:pt x="76262" y="200274"/>
                    </a:lnTo>
                    <a:lnTo>
                      <a:pt x="193933" y="200274"/>
                    </a:lnTo>
                    <a:lnTo>
                      <a:pt x="241533" y="308341"/>
                    </a:lnTo>
                    <a:lnTo>
                      <a:pt x="270123" y="308341"/>
                    </a:lnTo>
                    <a:lnTo>
                      <a:pt x="135025" y="0"/>
                    </a:lnTo>
                    <a:close/>
                    <a:moveTo>
                      <a:pt x="87640" y="174104"/>
                    </a:moveTo>
                    <a:lnTo>
                      <a:pt x="134809" y="66181"/>
                    </a:lnTo>
                    <a:lnTo>
                      <a:pt x="182338" y="174104"/>
                    </a:lnTo>
                    <a:lnTo>
                      <a:pt x="87568" y="174104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xmlns="" id="{612D183E-9905-85DD-8663-19D1EE2A0630}"/>
                  </a:ext>
                </a:extLst>
              </p:cNvPr>
              <p:cNvSpPr/>
              <p:nvPr/>
            </p:nvSpPr>
            <p:spPr>
              <a:xfrm>
                <a:off x="11126107" y="3329421"/>
                <a:ext cx="26140" cy="301852"/>
              </a:xfrm>
              <a:custGeom>
                <a:avLst/>
                <a:gdLst>
                  <a:gd name="connsiteX0" fmla="*/ 0 w 26140"/>
                  <a:gd name="connsiteY0" fmla="*/ 0 h 301852"/>
                  <a:gd name="connsiteX1" fmla="*/ 26141 w 26140"/>
                  <a:gd name="connsiteY1" fmla="*/ 0 h 301852"/>
                  <a:gd name="connsiteX2" fmla="*/ 26141 w 26140"/>
                  <a:gd name="connsiteY2" fmla="*/ 301852 h 301852"/>
                  <a:gd name="connsiteX3" fmla="*/ 0 w 26140"/>
                  <a:gd name="connsiteY3" fmla="*/ 301852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40" h="301852">
                    <a:moveTo>
                      <a:pt x="0" y="0"/>
                    </a:moveTo>
                    <a:lnTo>
                      <a:pt x="26141" y="0"/>
                    </a:lnTo>
                    <a:lnTo>
                      <a:pt x="26141" y="301852"/>
                    </a:lnTo>
                    <a:lnTo>
                      <a:pt x="0" y="30185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D9816B13-1F10-9CC7-96AC-2B8041F3917A}"/>
                  </a:ext>
                </a:extLst>
              </p:cNvPr>
              <p:cNvSpPr/>
              <p:nvPr/>
            </p:nvSpPr>
            <p:spPr>
              <a:xfrm>
                <a:off x="10168471" y="3323509"/>
                <a:ext cx="276820" cy="307763"/>
              </a:xfrm>
              <a:custGeom>
                <a:avLst/>
                <a:gdLst>
                  <a:gd name="connsiteX0" fmla="*/ 137762 w 276820"/>
                  <a:gd name="connsiteY0" fmla="*/ 139139 h 307763"/>
                  <a:gd name="connsiteX1" fmla="*/ 0 w 276820"/>
                  <a:gd name="connsiteY1" fmla="*/ 144 h 307763"/>
                  <a:gd name="connsiteX2" fmla="*/ 144 w 276820"/>
                  <a:gd name="connsiteY2" fmla="*/ 307764 h 307763"/>
                  <a:gd name="connsiteX3" fmla="*/ 26285 w 276820"/>
                  <a:gd name="connsiteY3" fmla="*/ 307764 h 307763"/>
                  <a:gd name="connsiteX4" fmla="*/ 26285 w 276820"/>
                  <a:gd name="connsiteY4" fmla="*/ 63946 h 307763"/>
                  <a:gd name="connsiteX5" fmla="*/ 137474 w 276820"/>
                  <a:gd name="connsiteY5" fmla="*/ 176555 h 307763"/>
                  <a:gd name="connsiteX6" fmla="*/ 250679 w 276820"/>
                  <a:gd name="connsiteY6" fmla="*/ 63370 h 307763"/>
                  <a:gd name="connsiteX7" fmla="*/ 250679 w 276820"/>
                  <a:gd name="connsiteY7" fmla="*/ 307764 h 307763"/>
                  <a:gd name="connsiteX8" fmla="*/ 276820 w 276820"/>
                  <a:gd name="connsiteY8" fmla="*/ 307764 h 307763"/>
                  <a:gd name="connsiteX9" fmla="*/ 276820 w 276820"/>
                  <a:gd name="connsiteY9" fmla="*/ 0 h 307763"/>
                  <a:gd name="connsiteX10" fmla="*/ 137762 w 276820"/>
                  <a:gd name="connsiteY10" fmla="*/ 139139 h 30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6820" h="307763">
                    <a:moveTo>
                      <a:pt x="137762" y="139139"/>
                    </a:moveTo>
                    <a:lnTo>
                      <a:pt x="0" y="144"/>
                    </a:lnTo>
                    <a:lnTo>
                      <a:pt x="144" y="307764"/>
                    </a:lnTo>
                    <a:lnTo>
                      <a:pt x="26285" y="307764"/>
                    </a:lnTo>
                    <a:lnTo>
                      <a:pt x="26285" y="63946"/>
                    </a:lnTo>
                    <a:lnTo>
                      <a:pt x="137474" y="176555"/>
                    </a:lnTo>
                    <a:lnTo>
                      <a:pt x="250679" y="63370"/>
                    </a:lnTo>
                    <a:lnTo>
                      <a:pt x="250679" y="307764"/>
                    </a:lnTo>
                    <a:lnTo>
                      <a:pt x="276820" y="307764"/>
                    </a:lnTo>
                    <a:lnTo>
                      <a:pt x="276820" y="0"/>
                    </a:lnTo>
                    <a:lnTo>
                      <a:pt x="137762" y="13913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7BE25172-29DE-324A-12BF-05D095018AFD}"/>
                  </a:ext>
                </a:extLst>
              </p:cNvPr>
              <p:cNvSpPr/>
              <p:nvPr/>
            </p:nvSpPr>
            <p:spPr>
              <a:xfrm>
                <a:off x="11259260" y="3324302"/>
                <a:ext cx="228210" cy="313459"/>
              </a:xfrm>
              <a:custGeom>
                <a:avLst/>
                <a:gdLst>
                  <a:gd name="connsiteX0" fmla="*/ 201998 w 228210"/>
                  <a:gd name="connsiteY0" fmla="*/ 5119 h 313459"/>
                  <a:gd name="connsiteX1" fmla="*/ 201998 w 228210"/>
                  <a:gd name="connsiteY1" fmla="*/ 240213 h 313459"/>
                  <a:gd name="connsiteX2" fmla="*/ 0 w 228210"/>
                  <a:gd name="connsiteY2" fmla="*/ 0 h 313459"/>
                  <a:gd name="connsiteX3" fmla="*/ 0 w 228210"/>
                  <a:gd name="connsiteY3" fmla="*/ 41814 h 313459"/>
                  <a:gd name="connsiteX4" fmla="*/ 0 w 228210"/>
                  <a:gd name="connsiteY4" fmla="*/ 306971 h 313459"/>
                  <a:gd name="connsiteX5" fmla="*/ 26141 w 228210"/>
                  <a:gd name="connsiteY5" fmla="*/ 306971 h 313459"/>
                  <a:gd name="connsiteX6" fmla="*/ 26141 w 228210"/>
                  <a:gd name="connsiteY6" fmla="*/ 72958 h 313459"/>
                  <a:gd name="connsiteX7" fmla="*/ 228211 w 228210"/>
                  <a:gd name="connsiteY7" fmla="*/ 313459 h 313459"/>
                  <a:gd name="connsiteX8" fmla="*/ 228211 w 228210"/>
                  <a:gd name="connsiteY8" fmla="*/ 5119 h 313459"/>
                  <a:gd name="connsiteX9" fmla="*/ 201998 w 228210"/>
                  <a:gd name="connsiteY9" fmla="*/ 5119 h 31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210" h="313459">
                    <a:moveTo>
                      <a:pt x="201998" y="5119"/>
                    </a:moveTo>
                    <a:lnTo>
                      <a:pt x="201998" y="240213"/>
                    </a:lnTo>
                    <a:lnTo>
                      <a:pt x="0" y="0"/>
                    </a:lnTo>
                    <a:lnTo>
                      <a:pt x="0" y="41814"/>
                    </a:lnTo>
                    <a:lnTo>
                      <a:pt x="0" y="306971"/>
                    </a:lnTo>
                    <a:lnTo>
                      <a:pt x="26141" y="306971"/>
                    </a:lnTo>
                    <a:lnTo>
                      <a:pt x="26141" y="72958"/>
                    </a:lnTo>
                    <a:lnTo>
                      <a:pt x="228211" y="313459"/>
                    </a:lnTo>
                    <a:lnTo>
                      <a:pt x="228211" y="5119"/>
                    </a:lnTo>
                    <a:lnTo>
                      <a:pt x="201998" y="511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5CB19575-1D51-1960-753B-D34443044AEB}"/>
                  </a:ext>
                </a:extLst>
              </p:cNvPr>
              <p:cNvSpPr/>
              <p:nvPr/>
            </p:nvSpPr>
            <p:spPr>
              <a:xfrm>
                <a:off x="10827179" y="3329637"/>
                <a:ext cx="218993" cy="301780"/>
              </a:xfrm>
              <a:custGeom>
                <a:avLst/>
                <a:gdLst>
                  <a:gd name="connsiteX0" fmla="*/ 189468 w 218993"/>
                  <a:gd name="connsiteY0" fmla="*/ 301780 h 301780"/>
                  <a:gd name="connsiteX1" fmla="*/ 218993 w 218993"/>
                  <a:gd name="connsiteY1" fmla="*/ 301780 h 301780"/>
                  <a:gd name="connsiteX2" fmla="*/ 146692 w 218993"/>
                  <a:gd name="connsiteY2" fmla="*/ 160478 h 301780"/>
                  <a:gd name="connsiteX3" fmla="*/ 206319 w 218993"/>
                  <a:gd name="connsiteY3" fmla="*/ 89467 h 301780"/>
                  <a:gd name="connsiteX4" fmla="*/ 206391 w 218993"/>
                  <a:gd name="connsiteY4" fmla="*/ 89467 h 301780"/>
                  <a:gd name="connsiteX5" fmla="*/ 206391 w 218993"/>
                  <a:gd name="connsiteY5" fmla="*/ 87809 h 301780"/>
                  <a:gd name="connsiteX6" fmla="*/ 206679 w 218993"/>
                  <a:gd name="connsiteY6" fmla="*/ 82979 h 301780"/>
                  <a:gd name="connsiteX7" fmla="*/ 206391 w 218993"/>
                  <a:gd name="connsiteY7" fmla="*/ 82979 h 301780"/>
                  <a:gd name="connsiteX8" fmla="*/ 206391 w 218993"/>
                  <a:gd name="connsiteY8" fmla="*/ 80167 h 301780"/>
                  <a:gd name="connsiteX9" fmla="*/ 206679 w 218993"/>
                  <a:gd name="connsiteY9" fmla="*/ 80167 h 301780"/>
                  <a:gd name="connsiteX10" fmla="*/ 206391 w 218993"/>
                  <a:gd name="connsiteY10" fmla="*/ 75265 h 301780"/>
                  <a:gd name="connsiteX11" fmla="*/ 206391 w 218993"/>
                  <a:gd name="connsiteY11" fmla="*/ 75265 h 301780"/>
                  <a:gd name="connsiteX12" fmla="*/ 126600 w 218993"/>
                  <a:gd name="connsiteY12" fmla="*/ 0 h 301780"/>
                  <a:gd name="connsiteX13" fmla="*/ 0 w 218993"/>
                  <a:gd name="connsiteY13" fmla="*/ 0 h 301780"/>
                  <a:gd name="connsiteX14" fmla="*/ 0 w 218993"/>
                  <a:gd name="connsiteY14" fmla="*/ 301708 h 301780"/>
                  <a:gd name="connsiteX15" fmla="*/ 26141 w 218993"/>
                  <a:gd name="connsiteY15" fmla="*/ 301708 h 301780"/>
                  <a:gd name="connsiteX16" fmla="*/ 26141 w 218993"/>
                  <a:gd name="connsiteY16" fmla="*/ 163002 h 301780"/>
                  <a:gd name="connsiteX17" fmla="*/ 118390 w 218993"/>
                  <a:gd name="connsiteY17" fmla="*/ 163002 h 301780"/>
                  <a:gd name="connsiteX18" fmla="*/ 189468 w 218993"/>
                  <a:gd name="connsiteY18" fmla="*/ 301780 h 301780"/>
                  <a:gd name="connsiteX19" fmla="*/ 26141 w 218993"/>
                  <a:gd name="connsiteY19" fmla="*/ 26242 h 301780"/>
                  <a:gd name="connsiteX20" fmla="*/ 126600 w 218993"/>
                  <a:gd name="connsiteY20" fmla="*/ 26242 h 301780"/>
                  <a:gd name="connsiteX21" fmla="*/ 180250 w 218993"/>
                  <a:gd name="connsiteY21" fmla="*/ 79014 h 301780"/>
                  <a:gd name="connsiteX22" fmla="*/ 180250 w 218993"/>
                  <a:gd name="connsiteY22" fmla="*/ 83988 h 301780"/>
                  <a:gd name="connsiteX23" fmla="*/ 126600 w 218993"/>
                  <a:gd name="connsiteY23" fmla="*/ 136688 h 301780"/>
                  <a:gd name="connsiteX24" fmla="*/ 126600 w 218993"/>
                  <a:gd name="connsiteY24" fmla="*/ 136688 h 301780"/>
                  <a:gd name="connsiteX25" fmla="*/ 26141 w 218993"/>
                  <a:gd name="connsiteY25" fmla="*/ 136760 h 301780"/>
                  <a:gd name="connsiteX26" fmla="*/ 26141 w 218993"/>
                  <a:gd name="connsiteY26" fmla="*/ 26242 h 301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8993" h="301780">
                    <a:moveTo>
                      <a:pt x="189468" y="301780"/>
                    </a:moveTo>
                    <a:lnTo>
                      <a:pt x="218993" y="301780"/>
                    </a:lnTo>
                    <a:cubicBezTo>
                      <a:pt x="218993" y="301780"/>
                      <a:pt x="146692" y="160478"/>
                      <a:pt x="146692" y="160478"/>
                    </a:cubicBezTo>
                    <a:cubicBezTo>
                      <a:pt x="179098" y="152044"/>
                      <a:pt x="203582" y="123855"/>
                      <a:pt x="206319" y="89467"/>
                    </a:cubicBezTo>
                    <a:lnTo>
                      <a:pt x="206391" y="89467"/>
                    </a:lnTo>
                    <a:lnTo>
                      <a:pt x="206391" y="87809"/>
                    </a:lnTo>
                    <a:cubicBezTo>
                      <a:pt x="206463" y="86223"/>
                      <a:pt x="206679" y="84565"/>
                      <a:pt x="206679" y="82979"/>
                    </a:cubicBezTo>
                    <a:lnTo>
                      <a:pt x="206391" y="82979"/>
                    </a:lnTo>
                    <a:lnTo>
                      <a:pt x="206391" y="80167"/>
                    </a:lnTo>
                    <a:lnTo>
                      <a:pt x="206679" y="80167"/>
                    </a:lnTo>
                    <a:cubicBezTo>
                      <a:pt x="206679" y="78509"/>
                      <a:pt x="206535" y="76923"/>
                      <a:pt x="206391" y="75265"/>
                    </a:cubicBezTo>
                    <a:lnTo>
                      <a:pt x="206391" y="75265"/>
                    </a:lnTo>
                    <a:cubicBezTo>
                      <a:pt x="203798" y="33235"/>
                      <a:pt x="169160" y="0"/>
                      <a:pt x="126600" y="0"/>
                    </a:cubicBezTo>
                    <a:lnTo>
                      <a:pt x="0" y="0"/>
                    </a:lnTo>
                    <a:lnTo>
                      <a:pt x="0" y="301708"/>
                    </a:lnTo>
                    <a:lnTo>
                      <a:pt x="26141" y="301708"/>
                    </a:lnTo>
                    <a:lnTo>
                      <a:pt x="26141" y="163002"/>
                    </a:lnTo>
                    <a:lnTo>
                      <a:pt x="118390" y="163002"/>
                    </a:lnTo>
                    <a:lnTo>
                      <a:pt x="189468" y="301780"/>
                    </a:lnTo>
                    <a:close/>
                    <a:moveTo>
                      <a:pt x="26141" y="26242"/>
                    </a:moveTo>
                    <a:lnTo>
                      <a:pt x="126600" y="26242"/>
                    </a:lnTo>
                    <a:cubicBezTo>
                      <a:pt x="155909" y="26242"/>
                      <a:pt x="179674" y="49816"/>
                      <a:pt x="180250" y="79014"/>
                    </a:cubicBezTo>
                    <a:lnTo>
                      <a:pt x="180250" y="83988"/>
                    </a:lnTo>
                    <a:cubicBezTo>
                      <a:pt x="179674" y="113186"/>
                      <a:pt x="155909" y="136688"/>
                      <a:pt x="126600" y="136688"/>
                    </a:cubicBezTo>
                    <a:lnTo>
                      <a:pt x="126600" y="136688"/>
                    </a:lnTo>
                    <a:cubicBezTo>
                      <a:pt x="126600" y="136688"/>
                      <a:pt x="26141" y="136760"/>
                      <a:pt x="26141" y="136760"/>
                    </a:cubicBezTo>
                    <a:lnTo>
                      <a:pt x="26141" y="2624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6999C5C8-051C-7E39-E8BD-BAC6BD60B12B}"/>
                  </a:ext>
                </a:extLst>
              </p:cNvPr>
              <p:cNvSpPr/>
              <p:nvPr/>
            </p:nvSpPr>
            <p:spPr>
              <a:xfrm>
                <a:off x="9387557" y="3329493"/>
                <a:ext cx="212944" cy="301852"/>
              </a:xfrm>
              <a:custGeom>
                <a:avLst/>
                <a:gdLst>
                  <a:gd name="connsiteX0" fmla="*/ 212656 w 212944"/>
                  <a:gd name="connsiteY0" fmla="*/ 212818 h 301852"/>
                  <a:gd name="connsiteX1" fmla="*/ 201422 w 212944"/>
                  <a:gd name="connsiteY1" fmla="*/ 173455 h 301852"/>
                  <a:gd name="connsiteX2" fmla="*/ 174273 w 212944"/>
                  <a:gd name="connsiteY2" fmla="*/ 147358 h 301852"/>
                  <a:gd name="connsiteX3" fmla="*/ 206247 w 212944"/>
                  <a:gd name="connsiteY3" fmla="*/ 89539 h 301852"/>
                  <a:gd name="connsiteX4" fmla="*/ 206319 w 212944"/>
                  <a:gd name="connsiteY4" fmla="*/ 89539 h 301852"/>
                  <a:gd name="connsiteX5" fmla="*/ 206319 w 212944"/>
                  <a:gd name="connsiteY5" fmla="*/ 87881 h 301852"/>
                  <a:gd name="connsiteX6" fmla="*/ 206535 w 212944"/>
                  <a:gd name="connsiteY6" fmla="*/ 83051 h 301852"/>
                  <a:gd name="connsiteX7" fmla="*/ 206319 w 212944"/>
                  <a:gd name="connsiteY7" fmla="*/ 83051 h 301852"/>
                  <a:gd name="connsiteX8" fmla="*/ 206319 w 212944"/>
                  <a:gd name="connsiteY8" fmla="*/ 80239 h 301852"/>
                  <a:gd name="connsiteX9" fmla="*/ 206535 w 212944"/>
                  <a:gd name="connsiteY9" fmla="*/ 80239 h 301852"/>
                  <a:gd name="connsiteX10" fmla="*/ 206319 w 212944"/>
                  <a:gd name="connsiteY10" fmla="*/ 75337 h 301852"/>
                  <a:gd name="connsiteX11" fmla="*/ 206319 w 212944"/>
                  <a:gd name="connsiteY11" fmla="*/ 75337 h 301852"/>
                  <a:gd name="connsiteX12" fmla="*/ 206319 w 212944"/>
                  <a:gd name="connsiteY12" fmla="*/ 75265 h 301852"/>
                  <a:gd name="connsiteX13" fmla="*/ 126456 w 212944"/>
                  <a:gd name="connsiteY13" fmla="*/ 72 h 301852"/>
                  <a:gd name="connsiteX14" fmla="*/ 126456 w 212944"/>
                  <a:gd name="connsiteY14" fmla="*/ 216 h 301852"/>
                  <a:gd name="connsiteX15" fmla="*/ 0 w 212944"/>
                  <a:gd name="connsiteY15" fmla="*/ 0 h 301852"/>
                  <a:gd name="connsiteX16" fmla="*/ 0 w 212944"/>
                  <a:gd name="connsiteY16" fmla="*/ 301852 h 301852"/>
                  <a:gd name="connsiteX17" fmla="*/ 131425 w 212944"/>
                  <a:gd name="connsiteY17" fmla="*/ 301852 h 301852"/>
                  <a:gd name="connsiteX18" fmla="*/ 212800 w 212944"/>
                  <a:gd name="connsiteY18" fmla="*/ 221541 h 301852"/>
                  <a:gd name="connsiteX19" fmla="*/ 212944 w 212944"/>
                  <a:gd name="connsiteY19" fmla="*/ 221541 h 301852"/>
                  <a:gd name="connsiteX20" fmla="*/ 212944 w 212944"/>
                  <a:gd name="connsiteY20" fmla="*/ 212818 h 301852"/>
                  <a:gd name="connsiteX21" fmla="*/ 212800 w 212944"/>
                  <a:gd name="connsiteY21" fmla="*/ 212818 h 301852"/>
                  <a:gd name="connsiteX22" fmla="*/ 126528 w 212944"/>
                  <a:gd name="connsiteY22" fmla="*/ 26386 h 301852"/>
                  <a:gd name="connsiteX23" fmla="*/ 126528 w 212944"/>
                  <a:gd name="connsiteY23" fmla="*/ 26386 h 301852"/>
                  <a:gd name="connsiteX24" fmla="*/ 180250 w 212944"/>
                  <a:gd name="connsiteY24" fmla="*/ 79302 h 301852"/>
                  <a:gd name="connsiteX25" fmla="*/ 180250 w 212944"/>
                  <a:gd name="connsiteY25" fmla="*/ 83988 h 301852"/>
                  <a:gd name="connsiteX26" fmla="*/ 126528 w 212944"/>
                  <a:gd name="connsiteY26" fmla="*/ 137048 h 301852"/>
                  <a:gd name="connsiteX27" fmla="*/ 26141 w 212944"/>
                  <a:gd name="connsiteY27" fmla="*/ 137048 h 301852"/>
                  <a:gd name="connsiteX28" fmla="*/ 26141 w 212944"/>
                  <a:gd name="connsiteY28" fmla="*/ 26386 h 301852"/>
                  <a:gd name="connsiteX29" fmla="*/ 126528 w 212944"/>
                  <a:gd name="connsiteY29" fmla="*/ 26386 h 301852"/>
                  <a:gd name="connsiteX30" fmla="*/ 186659 w 212944"/>
                  <a:gd name="connsiteY30" fmla="*/ 220171 h 301852"/>
                  <a:gd name="connsiteX31" fmla="*/ 186443 w 212944"/>
                  <a:gd name="connsiteY31" fmla="*/ 220171 h 301852"/>
                  <a:gd name="connsiteX32" fmla="*/ 130921 w 212944"/>
                  <a:gd name="connsiteY32" fmla="*/ 275755 h 301852"/>
                  <a:gd name="connsiteX33" fmla="*/ 130921 w 212944"/>
                  <a:gd name="connsiteY33" fmla="*/ 275755 h 301852"/>
                  <a:gd name="connsiteX34" fmla="*/ 26141 w 212944"/>
                  <a:gd name="connsiteY34" fmla="*/ 275755 h 301852"/>
                  <a:gd name="connsiteX35" fmla="*/ 26141 w 212944"/>
                  <a:gd name="connsiteY35" fmla="*/ 163362 h 301852"/>
                  <a:gd name="connsiteX36" fmla="*/ 134593 w 212944"/>
                  <a:gd name="connsiteY36" fmla="*/ 163795 h 301852"/>
                  <a:gd name="connsiteX37" fmla="*/ 134593 w 212944"/>
                  <a:gd name="connsiteY37" fmla="*/ 163795 h 301852"/>
                  <a:gd name="connsiteX38" fmla="*/ 179458 w 212944"/>
                  <a:gd name="connsiteY38" fmla="*/ 187946 h 301852"/>
                  <a:gd name="connsiteX39" fmla="*/ 186515 w 212944"/>
                  <a:gd name="connsiteY39" fmla="*/ 214836 h 301852"/>
                  <a:gd name="connsiteX40" fmla="*/ 186731 w 212944"/>
                  <a:gd name="connsiteY40" fmla="*/ 214836 h 301852"/>
                  <a:gd name="connsiteX41" fmla="*/ 186731 w 212944"/>
                  <a:gd name="connsiteY41" fmla="*/ 220171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12944" h="301852">
                    <a:moveTo>
                      <a:pt x="212656" y="212818"/>
                    </a:moveTo>
                    <a:cubicBezTo>
                      <a:pt x="212296" y="198183"/>
                      <a:pt x="208623" y="185134"/>
                      <a:pt x="201422" y="173455"/>
                    </a:cubicBezTo>
                    <a:cubicBezTo>
                      <a:pt x="194509" y="162425"/>
                      <a:pt x="185219" y="153558"/>
                      <a:pt x="174273" y="147358"/>
                    </a:cubicBezTo>
                    <a:cubicBezTo>
                      <a:pt x="192204" y="133948"/>
                      <a:pt x="204374" y="113186"/>
                      <a:pt x="206247" y="89539"/>
                    </a:cubicBezTo>
                    <a:lnTo>
                      <a:pt x="206319" y="89539"/>
                    </a:lnTo>
                    <a:lnTo>
                      <a:pt x="206319" y="87881"/>
                    </a:lnTo>
                    <a:cubicBezTo>
                      <a:pt x="206391" y="86295"/>
                      <a:pt x="206535" y="84637"/>
                      <a:pt x="206535" y="83051"/>
                    </a:cubicBezTo>
                    <a:lnTo>
                      <a:pt x="206319" y="83051"/>
                    </a:lnTo>
                    <a:lnTo>
                      <a:pt x="206319" y="80239"/>
                    </a:lnTo>
                    <a:lnTo>
                      <a:pt x="206535" y="80239"/>
                    </a:lnTo>
                    <a:cubicBezTo>
                      <a:pt x="206535" y="78581"/>
                      <a:pt x="206391" y="76995"/>
                      <a:pt x="206319" y="75337"/>
                    </a:cubicBezTo>
                    <a:lnTo>
                      <a:pt x="206319" y="75337"/>
                    </a:lnTo>
                    <a:cubicBezTo>
                      <a:pt x="206319" y="75337"/>
                      <a:pt x="206319" y="75265"/>
                      <a:pt x="206319" y="75265"/>
                    </a:cubicBezTo>
                    <a:cubicBezTo>
                      <a:pt x="203726" y="33307"/>
                      <a:pt x="169016" y="72"/>
                      <a:pt x="126456" y="72"/>
                    </a:cubicBezTo>
                    <a:lnTo>
                      <a:pt x="126456" y="216"/>
                    </a:lnTo>
                    <a:lnTo>
                      <a:pt x="0" y="0"/>
                    </a:lnTo>
                    <a:lnTo>
                      <a:pt x="0" y="301852"/>
                    </a:lnTo>
                    <a:lnTo>
                      <a:pt x="131425" y="301852"/>
                    </a:lnTo>
                    <a:cubicBezTo>
                      <a:pt x="175857" y="301564"/>
                      <a:pt x="211864" y="265878"/>
                      <a:pt x="212800" y="221541"/>
                    </a:cubicBezTo>
                    <a:lnTo>
                      <a:pt x="212944" y="221541"/>
                    </a:lnTo>
                    <a:lnTo>
                      <a:pt x="212944" y="212818"/>
                    </a:lnTo>
                    <a:lnTo>
                      <a:pt x="212800" y="212818"/>
                    </a:lnTo>
                    <a:close/>
                    <a:moveTo>
                      <a:pt x="126528" y="26386"/>
                    </a:moveTo>
                    <a:lnTo>
                      <a:pt x="126528" y="26386"/>
                    </a:lnTo>
                    <a:cubicBezTo>
                      <a:pt x="155909" y="26386"/>
                      <a:pt x="179746" y="50032"/>
                      <a:pt x="180250" y="79302"/>
                    </a:cubicBezTo>
                    <a:lnTo>
                      <a:pt x="180250" y="83988"/>
                    </a:lnTo>
                    <a:cubicBezTo>
                      <a:pt x="179746" y="113258"/>
                      <a:pt x="155909" y="137048"/>
                      <a:pt x="126528" y="137048"/>
                    </a:cubicBezTo>
                    <a:lnTo>
                      <a:pt x="26141" y="137048"/>
                    </a:lnTo>
                    <a:lnTo>
                      <a:pt x="26141" y="26386"/>
                    </a:lnTo>
                    <a:lnTo>
                      <a:pt x="126528" y="26386"/>
                    </a:lnTo>
                    <a:close/>
                    <a:moveTo>
                      <a:pt x="186659" y="220171"/>
                    </a:moveTo>
                    <a:lnTo>
                      <a:pt x="186443" y="220171"/>
                    </a:lnTo>
                    <a:cubicBezTo>
                      <a:pt x="186443" y="250883"/>
                      <a:pt x="161598" y="275755"/>
                      <a:pt x="130921" y="275755"/>
                    </a:cubicBezTo>
                    <a:lnTo>
                      <a:pt x="130921" y="275755"/>
                    </a:lnTo>
                    <a:cubicBezTo>
                      <a:pt x="130921" y="275755"/>
                      <a:pt x="26141" y="275755"/>
                      <a:pt x="26141" y="275755"/>
                    </a:cubicBezTo>
                    <a:lnTo>
                      <a:pt x="26141" y="163362"/>
                    </a:lnTo>
                    <a:lnTo>
                      <a:pt x="134593" y="163795"/>
                    </a:lnTo>
                    <a:lnTo>
                      <a:pt x="134593" y="163795"/>
                    </a:lnTo>
                    <a:cubicBezTo>
                      <a:pt x="153461" y="163795"/>
                      <a:pt x="169880" y="173095"/>
                      <a:pt x="179458" y="187946"/>
                    </a:cubicBezTo>
                    <a:cubicBezTo>
                      <a:pt x="183490" y="196381"/>
                      <a:pt x="186515" y="204888"/>
                      <a:pt x="186515" y="214836"/>
                    </a:cubicBezTo>
                    <a:lnTo>
                      <a:pt x="186731" y="214836"/>
                    </a:lnTo>
                    <a:lnTo>
                      <a:pt x="186731" y="220171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46761B77-6601-D63E-1BF5-BC479616C95F}"/>
                  </a:ext>
                </a:extLst>
              </p:cNvPr>
              <p:cNvSpPr/>
              <p:nvPr/>
            </p:nvSpPr>
            <p:spPr>
              <a:xfrm>
                <a:off x="9791480" y="3324302"/>
                <a:ext cx="311818" cy="312017"/>
              </a:xfrm>
              <a:custGeom>
                <a:avLst/>
                <a:gdLst>
                  <a:gd name="connsiteX0" fmla="*/ 1368 w 311818"/>
                  <a:gd name="connsiteY0" fmla="*/ 175618 h 312017"/>
                  <a:gd name="connsiteX1" fmla="*/ 155981 w 311818"/>
                  <a:gd name="connsiteY1" fmla="*/ 312017 h 312017"/>
                  <a:gd name="connsiteX2" fmla="*/ 310594 w 311818"/>
                  <a:gd name="connsiteY2" fmla="*/ 175546 h 312017"/>
                  <a:gd name="connsiteX3" fmla="*/ 311819 w 311818"/>
                  <a:gd name="connsiteY3" fmla="*/ 156513 h 312017"/>
                  <a:gd name="connsiteX4" fmla="*/ 310954 w 311818"/>
                  <a:gd name="connsiteY4" fmla="*/ 139499 h 312017"/>
                  <a:gd name="connsiteX5" fmla="*/ 155981 w 311818"/>
                  <a:gd name="connsiteY5" fmla="*/ 0 h 312017"/>
                  <a:gd name="connsiteX6" fmla="*/ 1008 w 311818"/>
                  <a:gd name="connsiteY6" fmla="*/ 139499 h 312017"/>
                  <a:gd name="connsiteX7" fmla="*/ 864 w 311818"/>
                  <a:gd name="connsiteY7" fmla="*/ 139499 h 312017"/>
                  <a:gd name="connsiteX8" fmla="*/ 0 w 311818"/>
                  <a:gd name="connsiteY8" fmla="*/ 156513 h 312017"/>
                  <a:gd name="connsiteX9" fmla="*/ 1224 w 311818"/>
                  <a:gd name="connsiteY9" fmla="*/ 175546 h 312017"/>
                  <a:gd name="connsiteX10" fmla="*/ 155981 w 311818"/>
                  <a:gd name="connsiteY10" fmla="*/ 285487 h 312017"/>
                  <a:gd name="connsiteX11" fmla="*/ 28085 w 311818"/>
                  <a:gd name="connsiteY11" fmla="*/ 175618 h 312017"/>
                  <a:gd name="connsiteX12" fmla="*/ 27941 w 311818"/>
                  <a:gd name="connsiteY12" fmla="*/ 175618 h 312017"/>
                  <a:gd name="connsiteX13" fmla="*/ 26501 w 311818"/>
                  <a:gd name="connsiteY13" fmla="*/ 156513 h 312017"/>
                  <a:gd name="connsiteX14" fmla="*/ 27509 w 311818"/>
                  <a:gd name="connsiteY14" fmla="*/ 140004 h 312017"/>
                  <a:gd name="connsiteX15" fmla="*/ 27581 w 311818"/>
                  <a:gd name="connsiteY15" fmla="*/ 140004 h 312017"/>
                  <a:gd name="connsiteX16" fmla="*/ 155909 w 311818"/>
                  <a:gd name="connsiteY16" fmla="*/ 26530 h 312017"/>
                  <a:gd name="connsiteX17" fmla="*/ 284165 w 311818"/>
                  <a:gd name="connsiteY17" fmla="*/ 139788 h 312017"/>
                  <a:gd name="connsiteX18" fmla="*/ 285246 w 311818"/>
                  <a:gd name="connsiteY18" fmla="*/ 156585 h 312017"/>
                  <a:gd name="connsiteX19" fmla="*/ 283805 w 311818"/>
                  <a:gd name="connsiteY19" fmla="*/ 175906 h 312017"/>
                  <a:gd name="connsiteX20" fmla="*/ 155909 w 311818"/>
                  <a:gd name="connsiteY20" fmla="*/ 285559 h 312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1818" h="312017">
                    <a:moveTo>
                      <a:pt x="1368" y="175618"/>
                    </a:moveTo>
                    <a:cubicBezTo>
                      <a:pt x="11018" y="252541"/>
                      <a:pt x="76550" y="312017"/>
                      <a:pt x="155981" y="312017"/>
                    </a:cubicBezTo>
                    <a:cubicBezTo>
                      <a:pt x="235412" y="312017"/>
                      <a:pt x="300945" y="252469"/>
                      <a:pt x="310594" y="175546"/>
                    </a:cubicBezTo>
                    <a:cubicBezTo>
                      <a:pt x="311315" y="169346"/>
                      <a:pt x="311819" y="162930"/>
                      <a:pt x="311819" y="156513"/>
                    </a:cubicBezTo>
                    <a:cubicBezTo>
                      <a:pt x="311819" y="150602"/>
                      <a:pt x="311603" y="145267"/>
                      <a:pt x="310954" y="139499"/>
                    </a:cubicBezTo>
                    <a:cubicBezTo>
                      <a:pt x="302889" y="60846"/>
                      <a:pt x="236636" y="0"/>
                      <a:pt x="155981" y="0"/>
                    </a:cubicBezTo>
                    <a:cubicBezTo>
                      <a:pt x="75326" y="0"/>
                      <a:pt x="9218" y="61135"/>
                      <a:pt x="1008" y="139499"/>
                    </a:cubicBezTo>
                    <a:lnTo>
                      <a:pt x="864" y="139499"/>
                    </a:lnTo>
                    <a:cubicBezTo>
                      <a:pt x="216" y="145267"/>
                      <a:pt x="0" y="150602"/>
                      <a:pt x="0" y="156513"/>
                    </a:cubicBezTo>
                    <a:cubicBezTo>
                      <a:pt x="0" y="162930"/>
                      <a:pt x="432" y="169346"/>
                      <a:pt x="1224" y="175546"/>
                    </a:cubicBezTo>
                    <a:moveTo>
                      <a:pt x="155981" y="285487"/>
                    </a:moveTo>
                    <a:cubicBezTo>
                      <a:pt x="91169" y="285487"/>
                      <a:pt x="37519" y="237834"/>
                      <a:pt x="28085" y="175618"/>
                    </a:cubicBezTo>
                    <a:lnTo>
                      <a:pt x="27941" y="175618"/>
                    </a:lnTo>
                    <a:cubicBezTo>
                      <a:pt x="27005" y="169346"/>
                      <a:pt x="26501" y="163074"/>
                      <a:pt x="26501" y="156513"/>
                    </a:cubicBezTo>
                    <a:cubicBezTo>
                      <a:pt x="26501" y="150818"/>
                      <a:pt x="26789" y="145483"/>
                      <a:pt x="27509" y="140004"/>
                    </a:cubicBezTo>
                    <a:lnTo>
                      <a:pt x="27581" y="140004"/>
                    </a:lnTo>
                    <a:cubicBezTo>
                      <a:pt x="35431" y="76058"/>
                      <a:pt x="89873" y="26530"/>
                      <a:pt x="155909" y="26530"/>
                    </a:cubicBezTo>
                    <a:cubicBezTo>
                      <a:pt x="221946" y="26530"/>
                      <a:pt x="276316" y="75769"/>
                      <a:pt x="284165" y="139788"/>
                    </a:cubicBezTo>
                    <a:cubicBezTo>
                      <a:pt x="284886" y="145411"/>
                      <a:pt x="285246" y="150818"/>
                      <a:pt x="285246" y="156585"/>
                    </a:cubicBezTo>
                    <a:cubicBezTo>
                      <a:pt x="285246" y="163218"/>
                      <a:pt x="284741" y="169562"/>
                      <a:pt x="283805" y="175906"/>
                    </a:cubicBezTo>
                    <a:cubicBezTo>
                      <a:pt x="274372" y="238122"/>
                      <a:pt x="220721" y="285559"/>
                      <a:pt x="155909" y="285559"/>
                    </a:cubicBez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A11FA8FA-8919-65D4-DA91-EA82AFB4BC10}"/>
                  </a:ext>
                </a:extLst>
              </p:cNvPr>
              <p:cNvSpPr/>
              <p:nvPr/>
            </p:nvSpPr>
            <p:spPr>
              <a:xfrm>
                <a:off x="11529743" y="3323653"/>
                <a:ext cx="42343" cy="42390"/>
              </a:xfrm>
              <a:custGeom>
                <a:avLst/>
                <a:gdLst>
                  <a:gd name="connsiteX0" fmla="*/ 0 w 42343"/>
                  <a:gd name="connsiteY0" fmla="*/ 21123 h 42390"/>
                  <a:gd name="connsiteX1" fmla="*/ 21244 w 42343"/>
                  <a:gd name="connsiteY1" fmla="*/ 0 h 42390"/>
                  <a:gd name="connsiteX2" fmla="*/ 42344 w 42343"/>
                  <a:gd name="connsiteY2" fmla="*/ 21123 h 42390"/>
                  <a:gd name="connsiteX3" fmla="*/ 21244 w 42343"/>
                  <a:gd name="connsiteY3" fmla="*/ 42391 h 42390"/>
                  <a:gd name="connsiteX4" fmla="*/ 0 w 42343"/>
                  <a:gd name="connsiteY4" fmla="*/ 21123 h 42390"/>
                  <a:gd name="connsiteX5" fmla="*/ 38959 w 42343"/>
                  <a:gd name="connsiteY5" fmla="*/ 21123 h 42390"/>
                  <a:gd name="connsiteX6" fmla="*/ 21244 w 42343"/>
                  <a:gd name="connsiteY6" fmla="*/ 2812 h 42390"/>
                  <a:gd name="connsiteX7" fmla="*/ 3385 w 42343"/>
                  <a:gd name="connsiteY7" fmla="*/ 21123 h 42390"/>
                  <a:gd name="connsiteX8" fmla="*/ 21244 w 42343"/>
                  <a:gd name="connsiteY8" fmla="*/ 39579 h 42390"/>
                  <a:gd name="connsiteX9" fmla="*/ 38959 w 42343"/>
                  <a:gd name="connsiteY9" fmla="*/ 21123 h 42390"/>
                  <a:gd name="connsiteX10" fmla="*/ 31758 w 42343"/>
                  <a:gd name="connsiteY10" fmla="*/ 32946 h 42390"/>
                  <a:gd name="connsiteX11" fmla="*/ 28301 w 42343"/>
                  <a:gd name="connsiteY11" fmla="*/ 32946 h 42390"/>
                  <a:gd name="connsiteX12" fmla="*/ 21532 w 42343"/>
                  <a:gd name="connsiteY12" fmla="*/ 22060 h 42390"/>
                  <a:gd name="connsiteX13" fmla="*/ 16203 w 42343"/>
                  <a:gd name="connsiteY13" fmla="*/ 22060 h 42390"/>
                  <a:gd name="connsiteX14" fmla="*/ 16203 w 42343"/>
                  <a:gd name="connsiteY14" fmla="*/ 32946 h 42390"/>
                  <a:gd name="connsiteX15" fmla="*/ 13323 w 42343"/>
                  <a:gd name="connsiteY15" fmla="*/ 32946 h 42390"/>
                  <a:gd name="connsiteX16" fmla="*/ 13323 w 42343"/>
                  <a:gd name="connsiteY16" fmla="*/ 9300 h 42390"/>
                  <a:gd name="connsiteX17" fmla="*/ 23693 w 42343"/>
                  <a:gd name="connsiteY17" fmla="*/ 9300 h 42390"/>
                  <a:gd name="connsiteX18" fmla="*/ 32046 w 42343"/>
                  <a:gd name="connsiteY18" fmla="*/ 15572 h 42390"/>
                  <a:gd name="connsiteX19" fmla="*/ 24629 w 42343"/>
                  <a:gd name="connsiteY19" fmla="*/ 22060 h 42390"/>
                  <a:gd name="connsiteX20" fmla="*/ 31758 w 42343"/>
                  <a:gd name="connsiteY20" fmla="*/ 32946 h 42390"/>
                  <a:gd name="connsiteX21" fmla="*/ 20668 w 42343"/>
                  <a:gd name="connsiteY21" fmla="*/ 19753 h 42390"/>
                  <a:gd name="connsiteX22" fmla="*/ 28949 w 42343"/>
                  <a:gd name="connsiteY22" fmla="*/ 15500 h 42390"/>
                  <a:gd name="connsiteX23" fmla="*/ 23044 w 42343"/>
                  <a:gd name="connsiteY23" fmla="*/ 11391 h 42390"/>
                  <a:gd name="connsiteX24" fmla="*/ 16275 w 42343"/>
                  <a:gd name="connsiteY24" fmla="*/ 11391 h 42390"/>
                  <a:gd name="connsiteX25" fmla="*/ 16275 w 42343"/>
                  <a:gd name="connsiteY25" fmla="*/ 19753 h 42390"/>
                  <a:gd name="connsiteX26" fmla="*/ 20668 w 42343"/>
                  <a:gd name="connsiteY26" fmla="*/ 19753 h 4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2343" h="42390">
                    <a:moveTo>
                      <a:pt x="0" y="21123"/>
                    </a:moveTo>
                    <a:cubicBezTo>
                      <a:pt x="0" y="9516"/>
                      <a:pt x="9506" y="0"/>
                      <a:pt x="21244" y="0"/>
                    </a:cubicBezTo>
                    <a:cubicBezTo>
                      <a:pt x="32982" y="0"/>
                      <a:pt x="42344" y="9516"/>
                      <a:pt x="42344" y="21123"/>
                    </a:cubicBezTo>
                    <a:cubicBezTo>
                      <a:pt x="42344" y="32730"/>
                      <a:pt x="32910" y="42391"/>
                      <a:pt x="21244" y="42391"/>
                    </a:cubicBezTo>
                    <a:cubicBezTo>
                      <a:pt x="9578" y="42391"/>
                      <a:pt x="0" y="32874"/>
                      <a:pt x="0" y="21123"/>
                    </a:cubicBezTo>
                    <a:close/>
                    <a:moveTo>
                      <a:pt x="38959" y="21123"/>
                    </a:moveTo>
                    <a:cubicBezTo>
                      <a:pt x="38959" y="10814"/>
                      <a:pt x="31470" y="2812"/>
                      <a:pt x="21244" y="2812"/>
                    </a:cubicBezTo>
                    <a:cubicBezTo>
                      <a:pt x="11018" y="2812"/>
                      <a:pt x="3385" y="10886"/>
                      <a:pt x="3385" y="21123"/>
                    </a:cubicBezTo>
                    <a:cubicBezTo>
                      <a:pt x="3385" y="31360"/>
                      <a:pt x="10946" y="39579"/>
                      <a:pt x="21244" y="39579"/>
                    </a:cubicBezTo>
                    <a:cubicBezTo>
                      <a:pt x="31542" y="39579"/>
                      <a:pt x="38959" y="31505"/>
                      <a:pt x="38959" y="21123"/>
                    </a:cubicBezTo>
                    <a:close/>
                    <a:moveTo>
                      <a:pt x="31758" y="32946"/>
                    </a:moveTo>
                    <a:lnTo>
                      <a:pt x="28301" y="32946"/>
                    </a:lnTo>
                    <a:lnTo>
                      <a:pt x="21532" y="22060"/>
                    </a:lnTo>
                    <a:lnTo>
                      <a:pt x="16203" y="22060"/>
                    </a:lnTo>
                    <a:lnTo>
                      <a:pt x="16203" y="32946"/>
                    </a:lnTo>
                    <a:lnTo>
                      <a:pt x="13323" y="32946"/>
                    </a:lnTo>
                    <a:lnTo>
                      <a:pt x="13323" y="9300"/>
                    </a:lnTo>
                    <a:lnTo>
                      <a:pt x="23693" y="9300"/>
                    </a:lnTo>
                    <a:cubicBezTo>
                      <a:pt x="29958" y="9300"/>
                      <a:pt x="32046" y="11679"/>
                      <a:pt x="32046" y="15572"/>
                    </a:cubicBezTo>
                    <a:cubicBezTo>
                      <a:pt x="32046" y="20186"/>
                      <a:pt x="28805" y="21916"/>
                      <a:pt x="24629" y="22060"/>
                    </a:cubicBezTo>
                    <a:lnTo>
                      <a:pt x="31758" y="32946"/>
                    </a:lnTo>
                    <a:close/>
                    <a:moveTo>
                      <a:pt x="20668" y="19753"/>
                    </a:moveTo>
                    <a:cubicBezTo>
                      <a:pt x="24052" y="19753"/>
                      <a:pt x="28949" y="20330"/>
                      <a:pt x="28949" y="15500"/>
                    </a:cubicBezTo>
                    <a:cubicBezTo>
                      <a:pt x="28949" y="11823"/>
                      <a:pt x="25925" y="11391"/>
                      <a:pt x="23044" y="11391"/>
                    </a:cubicBezTo>
                    <a:lnTo>
                      <a:pt x="16275" y="11391"/>
                    </a:lnTo>
                    <a:lnTo>
                      <a:pt x="16275" y="19753"/>
                    </a:lnTo>
                    <a:lnTo>
                      <a:pt x="20668" y="19753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E0161F78-8290-7B9B-9E68-E314FEB3B9EE}"/>
                </a:ext>
              </a:extLst>
            </p:cNvPr>
            <p:cNvSpPr/>
            <p:nvPr/>
          </p:nvSpPr>
          <p:spPr>
            <a:xfrm>
              <a:off x="9662576" y="3326249"/>
              <a:ext cx="70213" cy="41020"/>
            </a:xfrm>
            <a:custGeom>
              <a:avLst/>
              <a:gdLst>
                <a:gd name="connsiteX0" fmla="*/ 15267 w 70213"/>
                <a:gd name="connsiteY0" fmla="*/ 4398 h 41020"/>
                <a:gd name="connsiteX1" fmla="*/ 9434 w 70213"/>
                <a:gd name="connsiteY1" fmla="*/ 7714 h 41020"/>
                <a:gd name="connsiteX2" fmla="*/ 4321 w 70213"/>
                <a:gd name="connsiteY2" fmla="*/ 11607 h 41020"/>
                <a:gd name="connsiteX3" fmla="*/ 2737 w 70213"/>
                <a:gd name="connsiteY3" fmla="*/ 15139 h 41020"/>
                <a:gd name="connsiteX4" fmla="*/ 648 w 70213"/>
                <a:gd name="connsiteY4" fmla="*/ 18167 h 41020"/>
                <a:gd name="connsiteX5" fmla="*/ 144 w 70213"/>
                <a:gd name="connsiteY5" fmla="*/ 19249 h 41020"/>
                <a:gd name="connsiteX6" fmla="*/ 0 w 70213"/>
                <a:gd name="connsiteY6" fmla="*/ 20330 h 41020"/>
                <a:gd name="connsiteX7" fmla="*/ 288 w 70213"/>
                <a:gd name="connsiteY7" fmla="*/ 21556 h 41020"/>
                <a:gd name="connsiteX8" fmla="*/ 2232 w 70213"/>
                <a:gd name="connsiteY8" fmla="*/ 26891 h 41020"/>
                <a:gd name="connsiteX9" fmla="*/ 5617 w 70213"/>
                <a:gd name="connsiteY9" fmla="*/ 28981 h 41020"/>
                <a:gd name="connsiteX10" fmla="*/ 9506 w 70213"/>
                <a:gd name="connsiteY10" fmla="*/ 33379 h 41020"/>
                <a:gd name="connsiteX11" fmla="*/ 12314 w 70213"/>
                <a:gd name="connsiteY11" fmla="*/ 36046 h 41020"/>
                <a:gd name="connsiteX12" fmla="*/ 16347 w 70213"/>
                <a:gd name="connsiteY12" fmla="*/ 37993 h 41020"/>
                <a:gd name="connsiteX13" fmla="*/ 20380 w 70213"/>
                <a:gd name="connsiteY13" fmla="*/ 39218 h 41020"/>
                <a:gd name="connsiteX14" fmla="*/ 26069 w 70213"/>
                <a:gd name="connsiteY14" fmla="*/ 39218 h 41020"/>
                <a:gd name="connsiteX15" fmla="*/ 29814 w 70213"/>
                <a:gd name="connsiteY15" fmla="*/ 39939 h 41020"/>
                <a:gd name="connsiteX16" fmla="*/ 33846 w 70213"/>
                <a:gd name="connsiteY16" fmla="*/ 40300 h 41020"/>
                <a:gd name="connsiteX17" fmla="*/ 39319 w 70213"/>
                <a:gd name="connsiteY17" fmla="*/ 40660 h 41020"/>
                <a:gd name="connsiteX18" fmla="*/ 44576 w 70213"/>
                <a:gd name="connsiteY18" fmla="*/ 41021 h 41020"/>
                <a:gd name="connsiteX19" fmla="*/ 51130 w 70213"/>
                <a:gd name="connsiteY19" fmla="*/ 40516 h 41020"/>
                <a:gd name="connsiteX20" fmla="*/ 56099 w 70213"/>
                <a:gd name="connsiteY20" fmla="*/ 39074 h 41020"/>
                <a:gd name="connsiteX21" fmla="*/ 62076 w 70213"/>
                <a:gd name="connsiteY21" fmla="*/ 36623 h 41020"/>
                <a:gd name="connsiteX22" fmla="*/ 64740 w 70213"/>
                <a:gd name="connsiteY22" fmla="*/ 33595 h 41020"/>
                <a:gd name="connsiteX23" fmla="*/ 67765 w 70213"/>
                <a:gd name="connsiteY23" fmla="*/ 30784 h 41020"/>
                <a:gd name="connsiteX24" fmla="*/ 70213 w 70213"/>
                <a:gd name="connsiteY24" fmla="*/ 26891 h 41020"/>
                <a:gd name="connsiteX25" fmla="*/ 70069 w 70213"/>
                <a:gd name="connsiteY25" fmla="*/ 22853 h 41020"/>
                <a:gd name="connsiteX26" fmla="*/ 68989 w 70213"/>
                <a:gd name="connsiteY26" fmla="*/ 17014 h 41020"/>
                <a:gd name="connsiteX27" fmla="*/ 62652 w 70213"/>
                <a:gd name="connsiteY27" fmla="*/ 7786 h 41020"/>
                <a:gd name="connsiteX28" fmla="*/ 57035 w 70213"/>
                <a:gd name="connsiteY28" fmla="*/ 3533 h 41020"/>
                <a:gd name="connsiteX29" fmla="*/ 54226 w 70213"/>
                <a:gd name="connsiteY29" fmla="*/ 2163 h 41020"/>
                <a:gd name="connsiteX30" fmla="*/ 52138 w 70213"/>
                <a:gd name="connsiteY30" fmla="*/ 1370 h 41020"/>
                <a:gd name="connsiteX31" fmla="*/ 50121 w 70213"/>
                <a:gd name="connsiteY31" fmla="*/ 1081 h 41020"/>
                <a:gd name="connsiteX32" fmla="*/ 43568 w 70213"/>
                <a:gd name="connsiteY32" fmla="*/ 1586 h 41020"/>
                <a:gd name="connsiteX33" fmla="*/ 37015 w 70213"/>
                <a:gd name="connsiteY33" fmla="*/ 505 h 41020"/>
                <a:gd name="connsiteX34" fmla="*/ 33846 w 70213"/>
                <a:gd name="connsiteY34" fmla="*/ 0 h 41020"/>
                <a:gd name="connsiteX35" fmla="*/ 29814 w 70213"/>
                <a:gd name="connsiteY35" fmla="*/ 865 h 41020"/>
                <a:gd name="connsiteX36" fmla="*/ 24485 w 70213"/>
                <a:gd name="connsiteY36" fmla="*/ 1586 h 41020"/>
                <a:gd name="connsiteX37" fmla="*/ 21100 w 70213"/>
                <a:gd name="connsiteY37" fmla="*/ 2812 h 41020"/>
                <a:gd name="connsiteX38" fmla="*/ 15267 w 70213"/>
                <a:gd name="connsiteY38" fmla="*/ 4398 h 4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0213" h="41020">
                  <a:moveTo>
                    <a:pt x="15267" y="4398"/>
                  </a:moveTo>
                  <a:lnTo>
                    <a:pt x="9434" y="7714"/>
                  </a:lnTo>
                  <a:lnTo>
                    <a:pt x="4321" y="11607"/>
                  </a:lnTo>
                  <a:lnTo>
                    <a:pt x="2737" y="15139"/>
                  </a:lnTo>
                  <a:lnTo>
                    <a:pt x="648" y="18167"/>
                  </a:lnTo>
                  <a:lnTo>
                    <a:pt x="144" y="19249"/>
                  </a:lnTo>
                  <a:lnTo>
                    <a:pt x="0" y="20330"/>
                  </a:lnTo>
                  <a:lnTo>
                    <a:pt x="288" y="21556"/>
                  </a:lnTo>
                  <a:lnTo>
                    <a:pt x="2232" y="26891"/>
                  </a:lnTo>
                  <a:lnTo>
                    <a:pt x="5617" y="28981"/>
                  </a:lnTo>
                  <a:lnTo>
                    <a:pt x="9506" y="33379"/>
                  </a:lnTo>
                  <a:lnTo>
                    <a:pt x="12314" y="36046"/>
                  </a:lnTo>
                  <a:lnTo>
                    <a:pt x="16347" y="37993"/>
                  </a:lnTo>
                  <a:lnTo>
                    <a:pt x="20380" y="39218"/>
                  </a:lnTo>
                  <a:lnTo>
                    <a:pt x="26069" y="39218"/>
                  </a:lnTo>
                  <a:lnTo>
                    <a:pt x="29814" y="39939"/>
                  </a:lnTo>
                  <a:lnTo>
                    <a:pt x="33846" y="40300"/>
                  </a:lnTo>
                  <a:lnTo>
                    <a:pt x="39319" y="40660"/>
                  </a:lnTo>
                  <a:lnTo>
                    <a:pt x="44576" y="41021"/>
                  </a:lnTo>
                  <a:lnTo>
                    <a:pt x="51130" y="40516"/>
                  </a:lnTo>
                  <a:lnTo>
                    <a:pt x="56099" y="39074"/>
                  </a:lnTo>
                  <a:lnTo>
                    <a:pt x="62076" y="36623"/>
                  </a:lnTo>
                  <a:lnTo>
                    <a:pt x="64740" y="33595"/>
                  </a:lnTo>
                  <a:lnTo>
                    <a:pt x="67765" y="30784"/>
                  </a:lnTo>
                  <a:lnTo>
                    <a:pt x="70213" y="26891"/>
                  </a:lnTo>
                  <a:lnTo>
                    <a:pt x="70069" y="22853"/>
                  </a:lnTo>
                  <a:lnTo>
                    <a:pt x="68989" y="17014"/>
                  </a:lnTo>
                  <a:lnTo>
                    <a:pt x="62652" y="7786"/>
                  </a:lnTo>
                  <a:lnTo>
                    <a:pt x="57035" y="3533"/>
                  </a:lnTo>
                  <a:lnTo>
                    <a:pt x="54226" y="2163"/>
                  </a:lnTo>
                  <a:lnTo>
                    <a:pt x="52138" y="1370"/>
                  </a:lnTo>
                  <a:lnTo>
                    <a:pt x="50121" y="1081"/>
                  </a:lnTo>
                  <a:lnTo>
                    <a:pt x="43568" y="1586"/>
                  </a:lnTo>
                  <a:lnTo>
                    <a:pt x="37015" y="505"/>
                  </a:lnTo>
                  <a:lnTo>
                    <a:pt x="33846" y="0"/>
                  </a:lnTo>
                  <a:lnTo>
                    <a:pt x="29814" y="865"/>
                  </a:lnTo>
                  <a:lnTo>
                    <a:pt x="24485" y="1586"/>
                  </a:lnTo>
                  <a:lnTo>
                    <a:pt x="21100" y="2812"/>
                  </a:lnTo>
                  <a:lnTo>
                    <a:pt x="15267" y="4398"/>
                  </a:lnTo>
                </a:path>
              </a:pathLst>
            </a:custGeom>
            <a:solidFill>
              <a:srgbClr val="F26531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5C8F7B4A-428D-B515-684C-1ECAA637B72B}"/>
                </a:ext>
              </a:extLst>
            </p:cNvPr>
            <p:cNvSpPr/>
            <p:nvPr/>
          </p:nvSpPr>
          <p:spPr>
            <a:xfrm>
              <a:off x="9668265" y="3427034"/>
              <a:ext cx="59915" cy="15932"/>
            </a:xfrm>
            <a:custGeom>
              <a:avLst/>
              <a:gdLst>
                <a:gd name="connsiteX0" fmla="*/ 1224 w 59915"/>
                <a:gd name="connsiteY0" fmla="*/ 360 h 15932"/>
                <a:gd name="connsiteX1" fmla="*/ 32694 w 59915"/>
                <a:gd name="connsiteY1" fmla="*/ 1081 h 15932"/>
                <a:gd name="connsiteX2" fmla="*/ 37375 w 59915"/>
                <a:gd name="connsiteY2" fmla="*/ 144 h 15932"/>
                <a:gd name="connsiteX3" fmla="*/ 43424 w 59915"/>
                <a:gd name="connsiteY3" fmla="*/ 0 h 15932"/>
                <a:gd name="connsiteX4" fmla="*/ 49473 w 59915"/>
                <a:gd name="connsiteY4" fmla="*/ 649 h 15932"/>
                <a:gd name="connsiteX5" fmla="*/ 54082 w 59915"/>
                <a:gd name="connsiteY5" fmla="*/ 1947 h 15932"/>
                <a:gd name="connsiteX6" fmla="*/ 57611 w 59915"/>
                <a:gd name="connsiteY6" fmla="*/ 4326 h 15932"/>
                <a:gd name="connsiteX7" fmla="*/ 58907 w 59915"/>
                <a:gd name="connsiteY7" fmla="*/ 5984 h 15932"/>
                <a:gd name="connsiteX8" fmla="*/ 59699 w 59915"/>
                <a:gd name="connsiteY8" fmla="*/ 7714 h 15932"/>
                <a:gd name="connsiteX9" fmla="*/ 59915 w 59915"/>
                <a:gd name="connsiteY9" fmla="*/ 9588 h 15932"/>
                <a:gd name="connsiteX10" fmla="*/ 59339 w 59915"/>
                <a:gd name="connsiteY10" fmla="*/ 11535 h 15932"/>
                <a:gd name="connsiteX11" fmla="*/ 57971 w 59915"/>
                <a:gd name="connsiteY11" fmla="*/ 13409 h 15932"/>
                <a:gd name="connsiteX12" fmla="*/ 55522 w 59915"/>
                <a:gd name="connsiteY12" fmla="*/ 15212 h 15932"/>
                <a:gd name="connsiteX13" fmla="*/ 51922 w 59915"/>
                <a:gd name="connsiteY13" fmla="*/ 15932 h 15932"/>
                <a:gd name="connsiteX14" fmla="*/ 45513 w 59915"/>
                <a:gd name="connsiteY14" fmla="*/ 15932 h 15932"/>
                <a:gd name="connsiteX15" fmla="*/ 28229 w 59915"/>
                <a:gd name="connsiteY15" fmla="*/ 14635 h 15932"/>
                <a:gd name="connsiteX16" fmla="*/ 1872 w 59915"/>
                <a:gd name="connsiteY16" fmla="*/ 11607 h 15932"/>
                <a:gd name="connsiteX17" fmla="*/ 864 w 59915"/>
                <a:gd name="connsiteY17" fmla="*/ 11174 h 15932"/>
                <a:gd name="connsiteX18" fmla="*/ 288 w 59915"/>
                <a:gd name="connsiteY18" fmla="*/ 10165 h 15932"/>
                <a:gd name="connsiteX19" fmla="*/ 0 w 59915"/>
                <a:gd name="connsiteY19" fmla="*/ 6921 h 15932"/>
                <a:gd name="connsiteX20" fmla="*/ 1224 w 59915"/>
                <a:gd name="connsiteY20" fmla="*/ 360 h 1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9915" h="15932">
                  <a:moveTo>
                    <a:pt x="1224" y="360"/>
                  </a:moveTo>
                  <a:lnTo>
                    <a:pt x="32694" y="1081"/>
                  </a:lnTo>
                  <a:lnTo>
                    <a:pt x="37375" y="144"/>
                  </a:lnTo>
                  <a:lnTo>
                    <a:pt x="43424" y="0"/>
                  </a:lnTo>
                  <a:lnTo>
                    <a:pt x="49473" y="649"/>
                  </a:lnTo>
                  <a:lnTo>
                    <a:pt x="54082" y="1947"/>
                  </a:lnTo>
                  <a:lnTo>
                    <a:pt x="57611" y="4326"/>
                  </a:lnTo>
                  <a:lnTo>
                    <a:pt x="58907" y="5984"/>
                  </a:lnTo>
                  <a:lnTo>
                    <a:pt x="59699" y="7714"/>
                  </a:lnTo>
                  <a:lnTo>
                    <a:pt x="59915" y="9588"/>
                  </a:lnTo>
                  <a:lnTo>
                    <a:pt x="59339" y="11535"/>
                  </a:lnTo>
                  <a:lnTo>
                    <a:pt x="57971" y="13409"/>
                  </a:lnTo>
                  <a:lnTo>
                    <a:pt x="55522" y="15212"/>
                  </a:lnTo>
                  <a:lnTo>
                    <a:pt x="51922" y="15932"/>
                  </a:lnTo>
                  <a:lnTo>
                    <a:pt x="45513" y="15932"/>
                  </a:lnTo>
                  <a:lnTo>
                    <a:pt x="28229" y="14635"/>
                  </a:lnTo>
                  <a:lnTo>
                    <a:pt x="1872" y="11607"/>
                  </a:lnTo>
                  <a:lnTo>
                    <a:pt x="864" y="11174"/>
                  </a:lnTo>
                  <a:lnTo>
                    <a:pt x="288" y="10165"/>
                  </a:lnTo>
                  <a:lnTo>
                    <a:pt x="0" y="6921"/>
                  </a:lnTo>
                  <a:lnTo>
                    <a:pt x="1224" y="360"/>
                  </a:lnTo>
                </a:path>
              </a:pathLst>
            </a:custGeom>
            <a:solidFill>
              <a:srgbClr val="ED1849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155BE972-7811-D2C5-4E89-55103C0568B6}"/>
                </a:ext>
              </a:extLst>
            </p:cNvPr>
            <p:cNvSpPr/>
            <p:nvPr/>
          </p:nvSpPr>
          <p:spPr>
            <a:xfrm>
              <a:off x="9671290" y="3456448"/>
              <a:ext cx="57754" cy="15644"/>
            </a:xfrm>
            <a:custGeom>
              <a:avLst/>
              <a:gdLst>
                <a:gd name="connsiteX0" fmla="*/ 7057 w 57754"/>
                <a:gd name="connsiteY0" fmla="*/ 0 h 15644"/>
                <a:gd name="connsiteX1" fmla="*/ 9794 w 57754"/>
                <a:gd name="connsiteY1" fmla="*/ 1658 h 15644"/>
                <a:gd name="connsiteX2" fmla="*/ 11522 w 57754"/>
                <a:gd name="connsiteY2" fmla="*/ 2667 h 15644"/>
                <a:gd name="connsiteX3" fmla="*/ 13467 w 57754"/>
                <a:gd name="connsiteY3" fmla="*/ 3172 h 15644"/>
                <a:gd name="connsiteX4" fmla="*/ 14835 w 57754"/>
                <a:gd name="connsiteY4" fmla="*/ 2884 h 15644"/>
                <a:gd name="connsiteX5" fmla="*/ 16419 w 57754"/>
                <a:gd name="connsiteY5" fmla="*/ 2163 h 15644"/>
                <a:gd name="connsiteX6" fmla="*/ 18003 w 57754"/>
                <a:gd name="connsiteY6" fmla="*/ 1370 h 15644"/>
                <a:gd name="connsiteX7" fmla="*/ 19588 w 57754"/>
                <a:gd name="connsiteY7" fmla="*/ 1009 h 15644"/>
                <a:gd name="connsiteX8" fmla="*/ 22324 w 57754"/>
                <a:gd name="connsiteY8" fmla="*/ 2019 h 15644"/>
                <a:gd name="connsiteX9" fmla="*/ 25277 w 57754"/>
                <a:gd name="connsiteY9" fmla="*/ 3028 h 15644"/>
                <a:gd name="connsiteX10" fmla="*/ 27725 w 57754"/>
                <a:gd name="connsiteY10" fmla="*/ 2235 h 15644"/>
                <a:gd name="connsiteX11" fmla="*/ 30246 w 57754"/>
                <a:gd name="connsiteY11" fmla="*/ 1514 h 15644"/>
                <a:gd name="connsiteX12" fmla="*/ 33198 w 57754"/>
                <a:gd name="connsiteY12" fmla="*/ 2595 h 15644"/>
                <a:gd name="connsiteX13" fmla="*/ 34638 w 57754"/>
                <a:gd name="connsiteY13" fmla="*/ 3172 h 15644"/>
                <a:gd name="connsiteX14" fmla="*/ 36079 w 57754"/>
                <a:gd name="connsiteY14" fmla="*/ 3172 h 15644"/>
                <a:gd name="connsiteX15" fmla="*/ 45224 w 57754"/>
                <a:gd name="connsiteY15" fmla="*/ 1947 h 15644"/>
                <a:gd name="connsiteX16" fmla="*/ 52210 w 57754"/>
                <a:gd name="connsiteY16" fmla="*/ 3100 h 15644"/>
                <a:gd name="connsiteX17" fmla="*/ 52642 w 57754"/>
                <a:gd name="connsiteY17" fmla="*/ 3388 h 15644"/>
                <a:gd name="connsiteX18" fmla="*/ 52858 w 57754"/>
                <a:gd name="connsiteY18" fmla="*/ 3749 h 15644"/>
                <a:gd name="connsiteX19" fmla="*/ 52642 w 57754"/>
                <a:gd name="connsiteY19" fmla="*/ 4614 h 15644"/>
                <a:gd name="connsiteX20" fmla="*/ 52354 w 57754"/>
                <a:gd name="connsiteY20" fmla="*/ 5551 h 15644"/>
                <a:gd name="connsiteX21" fmla="*/ 52642 w 57754"/>
                <a:gd name="connsiteY21" fmla="*/ 6416 h 15644"/>
                <a:gd name="connsiteX22" fmla="*/ 54370 w 57754"/>
                <a:gd name="connsiteY22" fmla="*/ 7426 h 15644"/>
                <a:gd name="connsiteX23" fmla="*/ 56315 w 57754"/>
                <a:gd name="connsiteY23" fmla="*/ 8219 h 15644"/>
                <a:gd name="connsiteX24" fmla="*/ 57107 w 57754"/>
                <a:gd name="connsiteY24" fmla="*/ 8795 h 15644"/>
                <a:gd name="connsiteX25" fmla="*/ 57611 w 57754"/>
                <a:gd name="connsiteY25" fmla="*/ 9660 h 15644"/>
                <a:gd name="connsiteX26" fmla="*/ 57755 w 57754"/>
                <a:gd name="connsiteY26" fmla="*/ 10958 h 15644"/>
                <a:gd name="connsiteX27" fmla="*/ 57395 w 57754"/>
                <a:gd name="connsiteY27" fmla="*/ 12760 h 15644"/>
                <a:gd name="connsiteX28" fmla="*/ 56819 w 57754"/>
                <a:gd name="connsiteY28" fmla="*/ 13626 h 15644"/>
                <a:gd name="connsiteX29" fmla="*/ 55522 w 57754"/>
                <a:gd name="connsiteY29" fmla="*/ 14346 h 15644"/>
                <a:gd name="connsiteX30" fmla="*/ 51562 w 57754"/>
                <a:gd name="connsiteY30" fmla="*/ 15212 h 15644"/>
                <a:gd name="connsiteX31" fmla="*/ 39031 w 57754"/>
                <a:gd name="connsiteY31" fmla="*/ 15644 h 15644"/>
                <a:gd name="connsiteX32" fmla="*/ 21100 w 57754"/>
                <a:gd name="connsiteY32" fmla="*/ 13337 h 15644"/>
                <a:gd name="connsiteX33" fmla="*/ 5545 w 57754"/>
                <a:gd name="connsiteY33" fmla="*/ 10453 h 15644"/>
                <a:gd name="connsiteX34" fmla="*/ 3241 w 57754"/>
                <a:gd name="connsiteY34" fmla="*/ 9516 h 15644"/>
                <a:gd name="connsiteX35" fmla="*/ 1512 w 57754"/>
                <a:gd name="connsiteY35" fmla="*/ 7426 h 15644"/>
                <a:gd name="connsiteX36" fmla="*/ 360 w 57754"/>
                <a:gd name="connsiteY36" fmla="*/ 4974 h 15644"/>
                <a:gd name="connsiteX37" fmla="*/ 0 w 57754"/>
                <a:gd name="connsiteY37" fmla="*/ 2812 h 15644"/>
                <a:gd name="connsiteX38" fmla="*/ 7057 w 57754"/>
                <a:gd name="connsiteY38" fmla="*/ 0 h 1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754" h="15644">
                  <a:moveTo>
                    <a:pt x="7057" y="0"/>
                  </a:moveTo>
                  <a:lnTo>
                    <a:pt x="9794" y="1658"/>
                  </a:lnTo>
                  <a:lnTo>
                    <a:pt x="11522" y="2667"/>
                  </a:lnTo>
                  <a:lnTo>
                    <a:pt x="13467" y="3172"/>
                  </a:lnTo>
                  <a:lnTo>
                    <a:pt x="14835" y="2884"/>
                  </a:lnTo>
                  <a:lnTo>
                    <a:pt x="16419" y="2163"/>
                  </a:lnTo>
                  <a:lnTo>
                    <a:pt x="18003" y="1370"/>
                  </a:lnTo>
                  <a:lnTo>
                    <a:pt x="19588" y="1009"/>
                  </a:lnTo>
                  <a:lnTo>
                    <a:pt x="22324" y="2019"/>
                  </a:lnTo>
                  <a:lnTo>
                    <a:pt x="25277" y="3028"/>
                  </a:lnTo>
                  <a:lnTo>
                    <a:pt x="27725" y="2235"/>
                  </a:lnTo>
                  <a:lnTo>
                    <a:pt x="30246" y="1514"/>
                  </a:lnTo>
                  <a:lnTo>
                    <a:pt x="33198" y="2595"/>
                  </a:lnTo>
                  <a:lnTo>
                    <a:pt x="34638" y="3172"/>
                  </a:lnTo>
                  <a:lnTo>
                    <a:pt x="36079" y="3172"/>
                  </a:lnTo>
                  <a:lnTo>
                    <a:pt x="45224" y="1947"/>
                  </a:lnTo>
                  <a:lnTo>
                    <a:pt x="52210" y="3100"/>
                  </a:lnTo>
                  <a:lnTo>
                    <a:pt x="52642" y="3388"/>
                  </a:lnTo>
                  <a:lnTo>
                    <a:pt x="52858" y="3749"/>
                  </a:lnTo>
                  <a:lnTo>
                    <a:pt x="52642" y="4614"/>
                  </a:lnTo>
                  <a:lnTo>
                    <a:pt x="52354" y="5551"/>
                  </a:lnTo>
                  <a:lnTo>
                    <a:pt x="52642" y="6416"/>
                  </a:lnTo>
                  <a:lnTo>
                    <a:pt x="54370" y="7426"/>
                  </a:lnTo>
                  <a:lnTo>
                    <a:pt x="56315" y="8219"/>
                  </a:lnTo>
                  <a:lnTo>
                    <a:pt x="57107" y="8795"/>
                  </a:lnTo>
                  <a:lnTo>
                    <a:pt x="57611" y="9660"/>
                  </a:lnTo>
                  <a:lnTo>
                    <a:pt x="57755" y="10958"/>
                  </a:lnTo>
                  <a:lnTo>
                    <a:pt x="57395" y="12760"/>
                  </a:lnTo>
                  <a:lnTo>
                    <a:pt x="56819" y="13626"/>
                  </a:lnTo>
                  <a:lnTo>
                    <a:pt x="55522" y="14346"/>
                  </a:lnTo>
                  <a:lnTo>
                    <a:pt x="51562" y="15212"/>
                  </a:lnTo>
                  <a:lnTo>
                    <a:pt x="39031" y="15644"/>
                  </a:lnTo>
                  <a:lnTo>
                    <a:pt x="21100" y="13337"/>
                  </a:lnTo>
                  <a:lnTo>
                    <a:pt x="5545" y="10453"/>
                  </a:lnTo>
                  <a:lnTo>
                    <a:pt x="3241" y="9516"/>
                  </a:lnTo>
                  <a:lnTo>
                    <a:pt x="1512" y="7426"/>
                  </a:lnTo>
                  <a:lnTo>
                    <a:pt x="360" y="4974"/>
                  </a:lnTo>
                  <a:lnTo>
                    <a:pt x="0" y="2812"/>
                  </a:lnTo>
                  <a:lnTo>
                    <a:pt x="705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1B752FEC-4105-07C1-386A-C9CC6619B53B}"/>
                </a:ext>
              </a:extLst>
            </p:cNvPr>
            <p:cNvSpPr/>
            <p:nvPr/>
          </p:nvSpPr>
          <p:spPr>
            <a:xfrm>
              <a:off x="9668481" y="3473390"/>
              <a:ext cx="59771" cy="17013"/>
            </a:xfrm>
            <a:custGeom>
              <a:avLst/>
              <a:gdLst>
                <a:gd name="connsiteX0" fmla="*/ 5617 w 59771"/>
                <a:gd name="connsiteY0" fmla="*/ 0 h 17013"/>
                <a:gd name="connsiteX1" fmla="*/ 10442 w 59771"/>
                <a:gd name="connsiteY1" fmla="*/ 1874 h 17013"/>
                <a:gd name="connsiteX2" fmla="*/ 12818 w 59771"/>
                <a:gd name="connsiteY2" fmla="*/ 2740 h 17013"/>
                <a:gd name="connsiteX3" fmla="*/ 15195 w 59771"/>
                <a:gd name="connsiteY3" fmla="*/ 2667 h 17013"/>
                <a:gd name="connsiteX4" fmla="*/ 36583 w 59771"/>
                <a:gd name="connsiteY4" fmla="*/ 1658 h 17013"/>
                <a:gd name="connsiteX5" fmla="*/ 45152 w 59771"/>
                <a:gd name="connsiteY5" fmla="*/ 2451 h 17013"/>
                <a:gd name="connsiteX6" fmla="*/ 51850 w 59771"/>
                <a:gd name="connsiteY6" fmla="*/ 4109 h 17013"/>
                <a:gd name="connsiteX7" fmla="*/ 54874 w 59771"/>
                <a:gd name="connsiteY7" fmla="*/ 4902 h 17013"/>
                <a:gd name="connsiteX8" fmla="*/ 56603 w 59771"/>
                <a:gd name="connsiteY8" fmla="*/ 5623 h 17013"/>
                <a:gd name="connsiteX9" fmla="*/ 57971 w 59771"/>
                <a:gd name="connsiteY9" fmla="*/ 6633 h 17013"/>
                <a:gd name="connsiteX10" fmla="*/ 59483 w 59771"/>
                <a:gd name="connsiteY10" fmla="*/ 9300 h 17013"/>
                <a:gd name="connsiteX11" fmla="*/ 59771 w 59771"/>
                <a:gd name="connsiteY11" fmla="*/ 11895 h 17013"/>
                <a:gd name="connsiteX12" fmla="*/ 59123 w 59771"/>
                <a:gd name="connsiteY12" fmla="*/ 14130 h 17013"/>
                <a:gd name="connsiteX13" fmla="*/ 57971 w 59771"/>
                <a:gd name="connsiteY13" fmla="*/ 15572 h 17013"/>
                <a:gd name="connsiteX14" fmla="*/ 57971 w 59771"/>
                <a:gd name="connsiteY14" fmla="*/ 17014 h 17013"/>
                <a:gd name="connsiteX15" fmla="*/ 37015 w 59771"/>
                <a:gd name="connsiteY15" fmla="*/ 16942 h 17013"/>
                <a:gd name="connsiteX16" fmla="*/ 30030 w 59771"/>
                <a:gd name="connsiteY16" fmla="*/ 17014 h 17013"/>
                <a:gd name="connsiteX17" fmla="*/ 23116 w 59771"/>
                <a:gd name="connsiteY17" fmla="*/ 16437 h 17013"/>
                <a:gd name="connsiteX18" fmla="*/ 16203 w 59771"/>
                <a:gd name="connsiteY18" fmla="*/ 15212 h 17013"/>
                <a:gd name="connsiteX19" fmla="*/ 10010 w 59771"/>
                <a:gd name="connsiteY19" fmla="*/ 14202 h 17013"/>
                <a:gd name="connsiteX20" fmla="*/ 5545 w 59771"/>
                <a:gd name="connsiteY20" fmla="*/ 13481 h 17013"/>
                <a:gd name="connsiteX21" fmla="*/ 3745 w 59771"/>
                <a:gd name="connsiteY21" fmla="*/ 13049 h 17013"/>
                <a:gd name="connsiteX22" fmla="*/ 2520 w 59771"/>
                <a:gd name="connsiteY22" fmla="*/ 11895 h 17013"/>
                <a:gd name="connsiteX23" fmla="*/ 792 w 59771"/>
                <a:gd name="connsiteY23" fmla="*/ 8219 h 17013"/>
                <a:gd name="connsiteX24" fmla="*/ 0 w 59771"/>
                <a:gd name="connsiteY24" fmla="*/ 4253 h 17013"/>
                <a:gd name="connsiteX25" fmla="*/ 5617 w 59771"/>
                <a:gd name="connsiteY25" fmla="*/ 0 h 17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9771" h="17013">
                  <a:moveTo>
                    <a:pt x="5617" y="0"/>
                  </a:moveTo>
                  <a:lnTo>
                    <a:pt x="10442" y="1874"/>
                  </a:lnTo>
                  <a:lnTo>
                    <a:pt x="12818" y="2740"/>
                  </a:lnTo>
                  <a:lnTo>
                    <a:pt x="15195" y="2667"/>
                  </a:lnTo>
                  <a:lnTo>
                    <a:pt x="36583" y="1658"/>
                  </a:lnTo>
                  <a:lnTo>
                    <a:pt x="45152" y="2451"/>
                  </a:lnTo>
                  <a:lnTo>
                    <a:pt x="51850" y="4109"/>
                  </a:lnTo>
                  <a:lnTo>
                    <a:pt x="54874" y="4902"/>
                  </a:lnTo>
                  <a:lnTo>
                    <a:pt x="56603" y="5623"/>
                  </a:lnTo>
                  <a:lnTo>
                    <a:pt x="57971" y="6633"/>
                  </a:lnTo>
                  <a:lnTo>
                    <a:pt x="59483" y="9300"/>
                  </a:lnTo>
                  <a:lnTo>
                    <a:pt x="59771" y="11895"/>
                  </a:lnTo>
                  <a:lnTo>
                    <a:pt x="59123" y="14130"/>
                  </a:lnTo>
                  <a:lnTo>
                    <a:pt x="57971" y="15572"/>
                  </a:lnTo>
                  <a:lnTo>
                    <a:pt x="57971" y="17014"/>
                  </a:lnTo>
                  <a:lnTo>
                    <a:pt x="37015" y="16942"/>
                  </a:lnTo>
                  <a:lnTo>
                    <a:pt x="30030" y="17014"/>
                  </a:lnTo>
                  <a:lnTo>
                    <a:pt x="23116" y="16437"/>
                  </a:lnTo>
                  <a:lnTo>
                    <a:pt x="16203" y="15212"/>
                  </a:lnTo>
                  <a:lnTo>
                    <a:pt x="10010" y="14202"/>
                  </a:lnTo>
                  <a:lnTo>
                    <a:pt x="5545" y="13481"/>
                  </a:lnTo>
                  <a:lnTo>
                    <a:pt x="3745" y="13049"/>
                  </a:lnTo>
                  <a:lnTo>
                    <a:pt x="2520" y="11895"/>
                  </a:lnTo>
                  <a:lnTo>
                    <a:pt x="792" y="8219"/>
                  </a:lnTo>
                  <a:lnTo>
                    <a:pt x="0" y="4253"/>
                  </a:lnTo>
                  <a:lnTo>
                    <a:pt x="561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33BE866E-6F4C-F335-DB7B-2D9EE69D57BA}"/>
                </a:ext>
              </a:extLst>
            </p:cNvPr>
            <p:cNvSpPr/>
            <p:nvPr/>
          </p:nvSpPr>
          <p:spPr>
            <a:xfrm>
              <a:off x="9668553" y="3498406"/>
              <a:ext cx="60779" cy="27899"/>
            </a:xfrm>
            <a:custGeom>
              <a:avLst/>
              <a:gdLst>
                <a:gd name="connsiteX0" fmla="*/ 7129 w 60779"/>
                <a:gd name="connsiteY0" fmla="*/ 0 h 27899"/>
                <a:gd name="connsiteX1" fmla="*/ 16635 w 60779"/>
                <a:gd name="connsiteY1" fmla="*/ 1226 h 27899"/>
                <a:gd name="connsiteX2" fmla="*/ 19804 w 60779"/>
                <a:gd name="connsiteY2" fmla="*/ 1586 h 27899"/>
                <a:gd name="connsiteX3" fmla="*/ 22540 w 60779"/>
                <a:gd name="connsiteY3" fmla="*/ 1081 h 27899"/>
                <a:gd name="connsiteX4" fmla="*/ 26213 w 60779"/>
                <a:gd name="connsiteY4" fmla="*/ 721 h 27899"/>
                <a:gd name="connsiteX5" fmla="*/ 31974 w 60779"/>
                <a:gd name="connsiteY5" fmla="*/ 1153 h 27899"/>
                <a:gd name="connsiteX6" fmla="*/ 40256 w 60779"/>
                <a:gd name="connsiteY6" fmla="*/ 1298 h 27899"/>
                <a:gd name="connsiteX7" fmla="*/ 48609 w 60779"/>
                <a:gd name="connsiteY7" fmla="*/ 865 h 27899"/>
                <a:gd name="connsiteX8" fmla="*/ 51490 w 60779"/>
                <a:gd name="connsiteY8" fmla="*/ 793 h 27899"/>
                <a:gd name="connsiteX9" fmla="*/ 53938 w 60779"/>
                <a:gd name="connsiteY9" fmla="*/ 1802 h 27899"/>
                <a:gd name="connsiteX10" fmla="*/ 58259 w 60779"/>
                <a:gd name="connsiteY10" fmla="*/ 5407 h 27899"/>
                <a:gd name="connsiteX11" fmla="*/ 59699 w 60779"/>
                <a:gd name="connsiteY11" fmla="*/ 7209 h 27899"/>
                <a:gd name="connsiteX12" fmla="*/ 60563 w 60779"/>
                <a:gd name="connsiteY12" fmla="*/ 9300 h 27899"/>
                <a:gd name="connsiteX13" fmla="*/ 60779 w 60779"/>
                <a:gd name="connsiteY13" fmla="*/ 11607 h 27899"/>
                <a:gd name="connsiteX14" fmla="*/ 60203 w 60779"/>
                <a:gd name="connsiteY14" fmla="*/ 13914 h 27899"/>
                <a:gd name="connsiteX15" fmla="*/ 57683 w 60779"/>
                <a:gd name="connsiteY15" fmla="*/ 20979 h 27899"/>
                <a:gd name="connsiteX16" fmla="*/ 56243 w 60779"/>
                <a:gd name="connsiteY16" fmla="*/ 24079 h 27899"/>
                <a:gd name="connsiteX17" fmla="*/ 54154 w 60779"/>
                <a:gd name="connsiteY17" fmla="*/ 26602 h 27899"/>
                <a:gd name="connsiteX18" fmla="*/ 52930 w 60779"/>
                <a:gd name="connsiteY18" fmla="*/ 27179 h 27899"/>
                <a:gd name="connsiteX19" fmla="*/ 51490 w 60779"/>
                <a:gd name="connsiteY19" fmla="*/ 27251 h 27899"/>
                <a:gd name="connsiteX20" fmla="*/ 47961 w 60779"/>
                <a:gd name="connsiteY20" fmla="*/ 26602 h 27899"/>
                <a:gd name="connsiteX21" fmla="*/ 44288 w 60779"/>
                <a:gd name="connsiteY21" fmla="*/ 25593 h 27899"/>
                <a:gd name="connsiteX22" fmla="*/ 41120 w 60779"/>
                <a:gd name="connsiteY22" fmla="*/ 25160 h 27899"/>
                <a:gd name="connsiteX23" fmla="*/ 38815 w 60779"/>
                <a:gd name="connsiteY23" fmla="*/ 25737 h 27899"/>
                <a:gd name="connsiteX24" fmla="*/ 36799 w 60779"/>
                <a:gd name="connsiteY24" fmla="*/ 26746 h 27899"/>
                <a:gd name="connsiteX25" fmla="*/ 34711 w 60779"/>
                <a:gd name="connsiteY25" fmla="*/ 27612 h 27899"/>
                <a:gd name="connsiteX26" fmla="*/ 32334 w 60779"/>
                <a:gd name="connsiteY26" fmla="*/ 27900 h 27899"/>
                <a:gd name="connsiteX27" fmla="*/ 25565 w 60779"/>
                <a:gd name="connsiteY27" fmla="*/ 26098 h 27899"/>
                <a:gd name="connsiteX28" fmla="*/ 21748 w 60779"/>
                <a:gd name="connsiteY28" fmla="*/ 25593 h 27899"/>
                <a:gd name="connsiteX29" fmla="*/ 17355 w 60779"/>
                <a:gd name="connsiteY29" fmla="*/ 26314 h 27899"/>
                <a:gd name="connsiteX30" fmla="*/ 16203 w 60779"/>
                <a:gd name="connsiteY30" fmla="*/ 26458 h 27899"/>
                <a:gd name="connsiteX31" fmla="*/ 15123 w 60779"/>
                <a:gd name="connsiteY31" fmla="*/ 25953 h 27899"/>
                <a:gd name="connsiteX32" fmla="*/ 13971 w 60779"/>
                <a:gd name="connsiteY32" fmla="*/ 25377 h 27899"/>
                <a:gd name="connsiteX33" fmla="*/ 12746 w 60779"/>
                <a:gd name="connsiteY33" fmla="*/ 25088 h 27899"/>
                <a:gd name="connsiteX34" fmla="*/ 10082 w 60779"/>
                <a:gd name="connsiteY34" fmla="*/ 25016 h 27899"/>
                <a:gd name="connsiteX35" fmla="*/ 9074 w 60779"/>
                <a:gd name="connsiteY35" fmla="*/ 24656 h 27899"/>
                <a:gd name="connsiteX36" fmla="*/ 8570 w 60779"/>
                <a:gd name="connsiteY36" fmla="*/ 24079 h 27899"/>
                <a:gd name="connsiteX37" fmla="*/ 5329 w 60779"/>
                <a:gd name="connsiteY37" fmla="*/ 19105 h 27899"/>
                <a:gd name="connsiteX38" fmla="*/ 1872 w 60779"/>
                <a:gd name="connsiteY38" fmla="*/ 14995 h 27899"/>
                <a:gd name="connsiteX39" fmla="*/ 432 w 60779"/>
                <a:gd name="connsiteY39" fmla="*/ 13121 h 27899"/>
                <a:gd name="connsiteX40" fmla="*/ 0 w 60779"/>
                <a:gd name="connsiteY40" fmla="*/ 10958 h 27899"/>
                <a:gd name="connsiteX41" fmla="*/ 792 w 60779"/>
                <a:gd name="connsiteY41" fmla="*/ 8363 h 27899"/>
                <a:gd name="connsiteX42" fmla="*/ 2664 w 60779"/>
                <a:gd name="connsiteY42" fmla="*/ 5623 h 27899"/>
                <a:gd name="connsiteX43" fmla="*/ 7129 w 60779"/>
                <a:gd name="connsiteY43" fmla="*/ 0 h 27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0779" h="27899">
                  <a:moveTo>
                    <a:pt x="7129" y="0"/>
                  </a:moveTo>
                  <a:lnTo>
                    <a:pt x="16635" y="1226"/>
                  </a:lnTo>
                  <a:lnTo>
                    <a:pt x="19804" y="1586"/>
                  </a:lnTo>
                  <a:lnTo>
                    <a:pt x="22540" y="1081"/>
                  </a:lnTo>
                  <a:lnTo>
                    <a:pt x="26213" y="721"/>
                  </a:lnTo>
                  <a:lnTo>
                    <a:pt x="31974" y="1153"/>
                  </a:lnTo>
                  <a:lnTo>
                    <a:pt x="40256" y="1298"/>
                  </a:lnTo>
                  <a:lnTo>
                    <a:pt x="48609" y="865"/>
                  </a:lnTo>
                  <a:lnTo>
                    <a:pt x="51490" y="793"/>
                  </a:lnTo>
                  <a:lnTo>
                    <a:pt x="53938" y="1802"/>
                  </a:lnTo>
                  <a:lnTo>
                    <a:pt x="58259" y="5407"/>
                  </a:lnTo>
                  <a:lnTo>
                    <a:pt x="59699" y="7209"/>
                  </a:lnTo>
                  <a:lnTo>
                    <a:pt x="60563" y="9300"/>
                  </a:lnTo>
                  <a:lnTo>
                    <a:pt x="60779" y="11607"/>
                  </a:lnTo>
                  <a:lnTo>
                    <a:pt x="60203" y="13914"/>
                  </a:lnTo>
                  <a:lnTo>
                    <a:pt x="57683" y="20979"/>
                  </a:lnTo>
                  <a:lnTo>
                    <a:pt x="56243" y="24079"/>
                  </a:lnTo>
                  <a:lnTo>
                    <a:pt x="54154" y="26602"/>
                  </a:lnTo>
                  <a:lnTo>
                    <a:pt x="52930" y="27179"/>
                  </a:lnTo>
                  <a:lnTo>
                    <a:pt x="51490" y="27251"/>
                  </a:lnTo>
                  <a:lnTo>
                    <a:pt x="47961" y="26602"/>
                  </a:lnTo>
                  <a:lnTo>
                    <a:pt x="44288" y="25593"/>
                  </a:lnTo>
                  <a:lnTo>
                    <a:pt x="41120" y="25160"/>
                  </a:lnTo>
                  <a:lnTo>
                    <a:pt x="38815" y="25737"/>
                  </a:lnTo>
                  <a:lnTo>
                    <a:pt x="36799" y="26746"/>
                  </a:lnTo>
                  <a:lnTo>
                    <a:pt x="34711" y="27612"/>
                  </a:lnTo>
                  <a:lnTo>
                    <a:pt x="32334" y="27900"/>
                  </a:lnTo>
                  <a:lnTo>
                    <a:pt x="25565" y="26098"/>
                  </a:lnTo>
                  <a:lnTo>
                    <a:pt x="21748" y="25593"/>
                  </a:lnTo>
                  <a:lnTo>
                    <a:pt x="17355" y="26314"/>
                  </a:lnTo>
                  <a:lnTo>
                    <a:pt x="16203" y="26458"/>
                  </a:lnTo>
                  <a:lnTo>
                    <a:pt x="15123" y="25953"/>
                  </a:lnTo>
                  <a:lnTo>
                    <a:pt x="13971" y="25377"/>
                  </a:lnTo>
                  <a:lnTo>
                    <a:pt x="12746" y="25088"/>
                  </a:lnTo>
                  <a:lnTo>
                    <a:pt x="10082" y="25016"/>
                  </a:lnTo>
                  <a:lnTo>
                    <a:pt x="9074" y="24656"/>
                  </a:lnTo>
                  <a:lnTo>
                    <a:pt x="8570" y="24079"/>
                  </a:lnTo>
                  <a:lnTo>
                    <a:pt x="5329" y="19105"/>
                  </a:lnTo>
                  <a:lnTo>
                    <a:pt x="1872" y="14995"/>
                  </a:lnTo>
                  <a:lnTo>
                    <a:pt x="432" y="13121"/>
                  </a:lnTo>
                  <a:lnTo>
                    <a:pt x="0" y="10958"/>
                  </a:lnTo>
                  <a:lnTo>
                    <a:pt x="792" y="8363"/>
                  </a:lnTo>
                  <a:lnTo>
                    <a:pt x="2664" y="5623"/>
                  </a:lnTo>
                  <a:lnTo>
                    <a:pt x="7129" y="0"/>
                  </a:lnTo>
                </a:path>
              </a:pathLst>
            </a:custGeom>
            <a:solidFill>
              <a:srgbClr val="A9218E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BD867E1D-DAEC-90B1-A43B-807455B97A71}"/>
                </a:ext>
              </a:extLst>
            </p:cNvPr>
            <p:cNvSpPr/>
            <p:nvPr/>
          </p:nvSpPr>
          <p:spPr>
            <a:xfrm>
              <a:off x="9664305" y="3546780"/>
              <a:ext cx="69565" cy="39506"/>
            </a:xfrm>
            <a:custGeom>
              <a:avLst/>
              <a:gdLst>
                <a:gd name="connsiteX0" fmla="*/ 22180 w 69565"/>
                <a:gd name="connsiteY0" fmla="*/ 216 h 39506"/>
                <a:gd name="connsiteX1" fmla="*/ 25709 w 69565"/>
                <a:gd name="connsiteY1" fmla="*/ 0 h 39506"/>
                <a:gd name="connsiteX2" fmla="*/ 29238 w 69565"/>
                <a:gd name="connsiteY2" fmla="*/ 360 h 39506"/>
                <a:gd name="connsiteX3" fmla="*/ 49545 w 69565"/>
                <a:gd name="connsiteY3" fmla="*/ 2379 h 39506"/>
                <a:gd name="connsiteX4" fmla="*/ 55234 w 69565"/>
                <a:gd name="connsiteY4" fmla="*/ 3244 h 39506"/>
                <a:gd name="connsiteX5" fmla="*/ 60635 w 69565"/>
                <a:gd name="connsiteY5" fmla="*/ 4758 h 39506"/>
                <a:gd name="connsiteX6" fmla="*/ 63084 w 69565"/>
                <a:gd name="connsiteY6" fmla="*/ 6272 h 39506"/>
                <a:gd name="connsiteX7" fmla="*/ 65244 w 69565"/>
                <a:gd name="connsiteY7" fmla="*/ 8435 h 39506"/>
                <a:gd name="connsiteX8" fmla="*/ 67045 w 69565"/>
                <a:gd name="connsiteY8" fmla="*/ 11679 h 39506"/>
                <a:gd name="connsiteX9" fmla="*/ 68485 w 69565"/>
                <a:gd name="connsiteY9" fmla="*/ 16005 h 39506"/>
                <a:gd name="connsiteX10" fmla="*/ 69565 w 69565"/>
                <a:gd name="connsiteY10" fmla="*/ 23358 h 39506"/>
                <a:gd name="connsiteX11" fmla="*/ 69205 w 69565"/>
                <a:gd name="connsiteY11" fmla="*/ 27035 h 39506"/>
                <a:gd name="connsiteX12" fmla="*/ 67837 w 69565"/>
                <a:gd name="connsiteY12" fmla="*/ 30423 h 39506"/>
                <a:gd name="connsiteX13" fmla="*/ 65964 w 69565"/>
                <a:gd name="connsiteY13" fmla="*/ 32586 h 39506"/>
                <a:gd name="connsiteX14" fmla="*/ 63516 w 69565"/>
                <a:gd name="connsiteY14" fmla="*/ 34460 h 39506"/>
                <a:gd name="connsiteX15" fmla="*/ 56963 w 69565"/>
                <a:gd name="connsiteY15" fmla="*/ 37272 h 39506"/>
                <a:gd name="connsiteX16" fmla="*/ 39751 w 69565"/>
                <a:gd name="connsiteY16" fmla="*/ 39507 h 39506"/>
                <a:gd name="connsiteX17" fmla="*/ 34278 w 69565"/>
                <a:gd name="connsiteY17" fmla="*/ 38786 h 39506"/>
                <a:gd name="connsiteX18" fmla="*/ 29021 w 69565"/>
                <a:gd name="connsiteY18" fmla="*/ 37272 h 39506"/>
                <a:gd name="connsiteX19" fmla="*/ 23764 w 69565"/>
                <a:gd name="connsiteY19" fmla="*/ 35830 h 39506"/>
                <a:gd name="connsiteX20" fmla="*/ 18652 w 69565"/>
                <a:gd name="connsiteY20" fmla="*/ 35253 h 39506"/>
                <a:gd name="connsiteX21" fmla="*/ 11450 w 69565"/>
                <a:gd name="connsiteY21" fmla="*/ 34388 h 39506"/>
                <a:gd name="connsiteX22" fmla="*/ 6049 w 69565"/>
                <a:gd name="connsiteY22" fmla="*/ 31721 h 39506"/>
                <a:gd name="connsiteX23" fmla="*/ 2448 w 69565"/>
                <a:gd name="connsiteY23" fmla="*/ 27900 h 39506"/>
                <a:gd name="connsiteX24" fmla="*/ 504 w 69565"/>
                <a:gd name="connsiteY24" fmla="*/ 23574 h 39506"/>
                <a:gd name="connsiteX25" fmla="*/ 0 w 69565"/>
                <a:gd name="connsiteY25" fmla="*/ 18816 h 39506"/>
                <a:gd name="connsiteX26" fmla="*/ 1152 w 69565"/>
                <a:gd name="connsiteY26" fmla="*/ 14707 h 39506"/>
                <a:gd name="connsiteX27" fmla="*/ 3529 w 69565"/>
                <a:gd name="connsiteY27" fmla="*/ 11246 h 39506"/>
                <a:gd name="connsiteX28" fmla="*/ 6625 w 69565"/>
                <a:gd name="connsiteY28" fmla="*/ 8507 h 39506"/>
                <a:gd name="connsiteX29" fmla="*/ 13395 w 69565"/>
                <a:gd name="connsiteY29" fmla="*/ 4758 h 39506"/>
                <a:gd name="connsiteX30" fmla="*/ 18003 w 69565"/>
                <a:gd name="connsiteY30" fmla="*/ 3100 h 39506"/>
                <a:gd name="connsiteX31" fmla="*/ 19156 w 69565"/>
                <a:gd name="connsiteY31" fmla="*/ 2523 h 39506"/>
                <a:gd name="connsiteX32" fmla="*/ 19948 w 69565"/>
                <a:gd name="connsiteY32" fmla="*/ 1730 h 39506"/>
                <a:gd name="connsiteX33" fmla="*/ 20812 w 69565"/>
                <a:gd name="connsiteY33" fmla="*/ 865 h 39506"/>
                <a:gd name="connsiteX34" fmla="*/ 22180 w 69565"/>
                <a:gd name="connsiteY34" fmla="*/ 216 h 3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9565" h="39506">
                  <a:moveTo>
                    <a:pt x="22180" y="216"/>
                  </a:moveTo>
                  <a:lnTo>
                    <a:pt x="25709" y="0"/>
                  </a:lnTo>
                  <a:lnTo>
                    <a:pt x="29238" y="360"/>
                  </a:lnTo>
                  <a:lnTo>
                    <a:pt x="49545" y="2379"/>
                  </a:lnTo>
                  <a:lnTo>
                    <a:pt x="55234" y="3244"/>
                  </a:lnTo>
                  <a:lnTo>
                    <a:pt x="60635" y="4758"/>
                  </a:lnTo>
                  <a:lnTo>
                    <a:pt x="63084" y="6272"/>
                  </a:lnTo>
                  <a:lnTo>
                    <a:pt x="65244" y="8435"/>
                  </a:lnTo>
                  <a:lnTo>
                    <a:pt x="67045" y="11679"/>
                  </a:lnTo>
                  <a:lnTo>
                    <a:pt x="68485" y="16005"/>
                  </a:lnTo>
                  <a:lnTo>
                    <a:pt x="69565" y="23358"/>
                  </a:lnTo>
                  <a:lnTo>
                    <a:pt x="69205" y="27035"/>
                  </a:lnTo>
                  <a:lnTo>
                    <a:pt x="67837" y="30423"/>
                  </a:lnTo>
                  <a:lnTo>
                    <a:pt x="65964" y="32586"/>
                  </a:lnTo>
                  <a:lnTo>
                    <a:pt x="63516" y="34460"/>
                  </a:lnTo>
                  <a:lnTo>
                    <a:pt x="56963" y="37272"/>
                  </a:lnTo>
                  <a:lnTo>
                    <a:pt x="39751" y="39507"/>
                  </a:lnTo>
                  <a:lnTo>
                    <a:pt x="34278" y="38786"/>
                  </a:lnTo>
                  <a:lnTo>
                    <a:pt x="29021" y="37272"/>
                  </a:lnTo>
                  <a:lnTo>
                    <a:pt x="23764" y="35830"/>
                  </a:lnTo>
                  <a:lnTo>
                    <a:pt x="18652" y="35253"/>
                  </a:lnTo>
                  <a:lnTo>
                    <a:pt x="11450" y="34388"/>
                  </a:lnTo>
                  <a:lnTo>
                    <a:pt x="6049" y="31721"/>
                  </a:lnTo>
                  <a:lnTo>
                    <a:pt x="2448" y="27900"/>
                  </a:lnTo>
                  <a:lnTo>
                    <a:pt x="504" y="23574"/>
                  </a:lnTo>
                  <a:lnTo>
                    <a:pt x="0" y="18816"/>
                  </a:lnTo>
                  <a:lnTo>
                    <a:pt x="1152" y="14707"/>
                  </a:lnTo>
                  <a:lnTo>
                    <a:pt x="3529" y="11246"/>
                  </a:lnTo>
                  <a:lnTo>
                    <a:pt x="6625" y="8507"/>
                  </a:lnTo>
                  <a:lnTo>
                    <a:pt x="13395" y="4758"/>
                  </a:lnTo>
                  <a:lnTo>
                    <a:pt x="18003" y="3100"/>
                  </a:lnTo>
                  <a:lnTo>
                    <a:pt x="19156" y="2523"/>
                  </a:lnTo>
                  <a:lnTo>
                    <a:pt x="19948" y="1730"/>
                  </a:lnTo>
                  <a:lnTo>
                    <a:pt x="20812" y="865"/>
                  </a:lnTo>
                  <a:lnTo>
                    <a:pt x="22180" y="216"/>
                  </a:lnTo>
                </a:path>
              </a:pathLst>
            </a:custGeom>
            <a:solidFill>
              <a:srgbClr val="353D98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27743211-EBA6-EB3A-097E-60D734C5C6A5}"/>
                </a:ext>
              </a:extLst>
            </p:cNvPr>
            <p:cNvSpPr/>
            <p:nvPr/>
          </p:nvSpPr>
          <p:spPr>
            <a:xfrm>
              <a:off x="9669201" y="3603950"/>
              <a:ext cx="58186" cy="38137"/>
            </a:xfrm>
            <a:custGeom>
              <a:avLst/>
              <a:gdLst>
                <a:gd name="connsiteX0" fmla="*/ 32838 w 58186"/>
                <a:gd name="connsiteY0" fmla="*/ 0 h 38137"/>
                <a:gd name="connsiteX1" fmla="*/ 39463 w 58186"/>
                <a:gd name="connsiteY1" fmla="*/ 577 h 38137"/>
                <a:gd name="connsiteX2" fmla="*/ 46377 w 58186"/>
                <a:gd name="connsiteY2" fmla="*/ 3100 h 38137"/>
                <a:gd name="connsiteX3" fmla="*/ 48393 w 58186"/>
                <a:gd name="connsiteY3" fmla="*/ 5046 h 38137"/>
                <a:gd name="connsiteX4" fmla="*/ 50049 w 58186"/>
                <a:gd name="connsiteY4" fmla="*/ 6560 h 38137"/>
                <a:gd name="connsiteX5" fmla="*/ 53506 w 58186"/>
                <a:gd name="connsiteY5" fmla="*/ 7281 h 38137"/>
                <a:gd name="connsiteX6" fmla="*/ 55162 w 58186"/>
                <a:gd name="connsiteY6" fmla="*/ 7786 h 38137"/>
                <a:gd name="connsiteX7" fmla="*/ 56243 w 58186"/>
                <a:gd name="connsiteY7" fmla="*/ 8723 h 38137"/>
                <a:gd name="connsiteX8" fmla="*/ 58043 w 58186"/>
                <a:gd name="connsiteY8" fmla="*/ 16653 h 38137"/>
                <a:gd name="connsiteX9" fmla="*/ 58187 w 58186"/>
                <a:gd name="connsiteY9" fmla="*/ 21700 h 38137"/>
                <a:gd name="connsiteX10" fmla="*/ 57395 w 58186"/>
                <a:gd name="connsiteY10" fmla="*/ 25881 h 38137"/>
                <a:gd name="connsiteX11" fmla="*/ 55882 w 58186"/>
                <a:gd name="connsiteY11" fmla="*/ 28477 h 38137"/>
                <a:gd name="connsiteX12" fmla="*/ 53722 w 58186"/>
                <a:gd name="connsiteY12" fmla="*/ 30784 h 38137"/>
                <a:gd name="connsiteX13" fmla="*/ 48033 w 58186"/>
                <a:gd name="connsiteY13" fmla="*/ 34388 h 38137"/>
                <a:gd name="connsiteX14" fmla="*/ 40904 w 58186"/>
                <a:gd name="connsiteY14" fmla="*/ 36767 h 38137"/>
                <a:gd name="connsiteX15" fmla="*/ 32910 w 58186"/>
                <a:gd name="connsiteY15" fmla="*/ 37993 h 38137"/>
                <a:gd name="connsiteX16" fmla="*/ 24701 w 58186"/>
                <a:gd name="connsiteY16" fmla="*/ 38137 h 38137"/>
                <a:gd name="connsiteX17" fmla="*/ 16851 w 58186"/>
                <a:gd name="connsiteY17" fmla="*/ 37200 h 38137"/>
                <a:gd name="connsiteX18" fmla="*/ 9938 w 58186"/>
                <a:gd name="connsiteY18" fmla="*/ 35398 h 38137"/>
                <a:gd name="connsiteX19" fmla="*/ 4681 w 58186"/>
                <a:gd name="connsiteY19" fmla="*/ 32730 h 38137"/>
                <a:gd name="connsiteX20" fmla="*/ 3025 w 58186"/>
                <a:gd name="connsiteY20" fmla="*/ 31144 h 38137"/>
                <a:gd name="connsiteX21" fmla="*/ 1872 w 58186"/>
                <a:gd name="connsiteY21" fmla="*/ 29270 h 38137"/>
                <a:gd name="connsiteX22" fmla="*/ 432 w 58186"/>
                <a:gd name="connsiteY22" fmla="*/ 25016 h 38137"/>
                <a:gd name="connsiteX23" fmla="*/ 0 w 58186"/>
                <a:gd name="connsiteY23" fmla="*/ 20330 h 38137"/>
                <a:gd name="connsiteX24" fmla="*/ 936 w 58186"/>
                <a:gd name="connsiteY24" fmla="*/ 16221 h 38137"/>
                <a:gd name="connsiteX25" fmla="*/ 3097 w 58186"/>
                <a:gd name="connsiteY25" fmla="*/ 12688 h 38137"/>
                <a:gd name="connsiteX26" fmla="*/ 5977 w 58186"/>
                <a:gd name="connsiteY26" fmla="*/ 9733 h 38137"/>
                <a:gd name="connsiteX27" fmla="*/ 13106 w 58186"/>
                <a:gd name="connsiteY27" fmla="*/ 5623 h 38137"/>
                <a:gd name="connsiteX28" fmla="*/ 19732 w 58186"/>
                <a:gd name="connsiteY28" fmla="*/ 3821 h 38137"/>
                <a:gd name="connsiteX29" fmla="*/ 26429 w 58186"/>
                <a:gd name="connsiteY29" fmla="*/ 1802 h 38137"/>
                <a:gd name="connsiteX30" fmla="*/ 32838 w 58186"/>
                <a:gd name="connsiteY30" fmla="*/ 0 h 3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8186" h="38137">
                  <a:moveTo>
                    <a:pt x="32838" y="0"/>
                  </a:moveTo>
                  <a:lnTo>
                    <a:pt x="39463" y="577"/>
                  </a:lnTo>
                  <a:lnTo>
                    <a:pt x="46377" y="3100"/>
                  </a:lnTo>
                  <a:lnTo>
                    <a:pt x="48393" y="5046"/>
                  </a:lnTo>
                  <a:lnTo>
                    <a:pt x="50049" y="6560"/>
                  </a:lnTo>
                  <a:lnTo>
                    <a:pt x="53506" y="7281"/>
                  </a:lnTo>
                  <a:lnTo>
                    <a:pt x="55162" y="7786"/>
                  </a:lnTo>
                  <a:lnTo>
                    <a:pt x="56243" y="8723"/>
                  </a:lnTo>
                  <a:lnTo>
                    <a:pt x="58043" y="16653"/>
                  </a:lnTo>
                  <a:lnTo>
                    <a:pt x="58187" y="21700"/>
                  </a:lnTo>
                  <a:lnTo>
                    <a:pt x="57395" y="25881"/>
                  </a:lnTo>
                  <a:lnTo>
                    <a:pt x="55882" y="28477"/>
                  </a:lnTo>
                  <a:lnTo>
                    <a:pt x="53722" y="30784"/>
                  </a:lnTo>
                  <a:lnTo>
                    <a:pt x="48033" y="34388"/>
                  </a:lnTo>
                  <a:lnTo>
                    <a:pt x="40904" y="36767"/>
                  </a:lnTo>
                  <a:lnTo>
                    <a:pt x="32910" y="37993"/>
                  </a:lnTo>
                  <a:lnTo>
                    <a:pt x="24701" y="38137"/>
                  </a:lnTo>
                  <a:lnTo>
                    <a:pt x="16851" y="37200"/>
                  </a:lnTo>
                  <a:lnTo>
                    <a:pt x="9938" y="35398"/>
                  </a:lnTo>
                  <a:lnTo>
                    <a:pt x="4681" y="32730"/>
                  </a:lnTo>
                  <a:lnTo>
                    <a:pt x="3025" y="31144"/>
                  </a:lnTo>
                  <a:lnTo>
                    <a:pt x="1872" y="29270"/>
                  </a:lnTo>
                  <a:lnTo>
                    <a:pt x="432" y="25016"/>
                  </a:lnTo>
                  <a:lnTo>
                    <a:pt x="0" y="20330"/>
                  </a:lnTo>
                  <a:lnTo>
                    <a:pt x="936" y="16221"/>
                  </a:lnTo>
                  <a:lnTo>
                    <a:pt x="3097" y="12688"/>
                  </a:lnTo>
                  <a:lnTo>
                    <a:pt x="5977" y="9733"/>
                  </a:lnTo>
                  <a:lnTo>
                    <a:pt x="13106" y="5623"/>
                  </a:lnTo>
                  <a:lnTo>
                    <a:pt x="19732" y="3821"/>
                  </a:lnTo>
                  <a:lnTo>
                    <a:pt x="26429" y="1802"/>
                  </a:lnTo>
                  <a:lnTo>
                    <a:pt x="32838" y="0"/>
                  </a:lnTo>
                </a:path>
              </a:pathLst>
            </a:custGeom>
            <a:solidFill>
              <a:srgbClr val="002E56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535996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olec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hape&#10;&#10;Description automatically generated with medium confidence">
            <a:extLst>
              <a:ext uri="{FF2B5EF4-FFF2-40B4-BE49-F238E27FC236}">
                <a16:creationId xmlns:a16="http://schemas.microsoft.com/office/drawing/2014/main" xmlns="" id="{363EA736-4DEE-9B70-4AB9-AE8DF3D188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30269DC-591D-B944-A479-80E360E756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4404" y="3834884"/>
            <a:ext cx="5133724" cy="658717"/>
          </a:xfrm>
        </p:spPr>
        <p:txBody>
          <a:bodyPr lIns="91440" tIns="45720" rIns="91440" bIns="45720">
            <a:noAutofit/>
          </a:bodyPr>
          <a:lstStyle>
            <a:lvl1pPr marL="0" indent="0" algn="r">
              <a:buNone/>
              <a:defRPr sz="2400" b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(Arial 24pt)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2F7201-0FDA-CE47-A9F3-7594A2B9A9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4404" y="2574295"/>
            <a:ext cx="5133724" cy="1237410"/>
          </a:xfrm>
        </p:spPr>
        <p:txBody>
          <a:bodyPr lIns="91440" tIns="45720" rIns="91440" bIns="45720" anchor="b">
            <a:noAutofit/>
          </a:bodyPr>
          <a:lstStyle>
            <a:lvl1pPr algn="r">
              <a:defRPr sz="4000" b="0" i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40pt)</a:t>
            </a:r>
            <a:endParaRPr lang="x-none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7BA34013-BB2E-88C6-06DC-A4B756B19EEA}"/>
              </a:ext>
            </a:extLst>
          </p:cNvPr>
          <p:cNvGrpSpPr/>
          <p:nvPr userDrawn="1"/>
        </p:nvGrpSpPr>
        <p:grpSpPr>
          <a:xfrm>
            <a:off x="9387557" y="3323005"/>
            <a:ext cx="2184530" cy="319082"/>
            <a:chOff x="9387557" y="3323005"/>
            <a:chExt cx="2184530" cy="319082"/>
          </a:xfrm>
        </p:grpSpPr>
        <p:grpSp>
          <p:nvGrpSpPr>
            <p:cNvPr id="8" name="Picture 7">
              <a:extLst>
                <a:ext uri="{FF2B5EF4-FFF2-40B4-BE49-F238E27FC236}">
                  <a16:creationId xmlns:a16="http://schemas.microsoft.com/office/drawing/2014/main" xmlns="" id="{8869AB66-C37F-7DA3-F84A-39CA7A3CD79F}"/>
                </a:ext>
              </a:extLst>
            </p:cNvPr>
            <p:cNvGrpSpPr/>
            <p:nvPr/>
          </p:nvGrpSpPr>
          <p:grpSpPr>
            <a:xfrm>
              <a:off x="9387557" y="3323005"/>
              <a:ext cx="2184530" cy="314756"/>
              <a:chOff x="9387557" y="3323005"/>
              <a:chExt cx="2184530" cy="314756"/>
            </a:xfrm>
            <a:solidFill>
              <a:srgbClr val="28509C"/>
            </a:solidFill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CF9AE9DF-527B-A824-4353-B4E65BD96643}"/>
                  </a:ext>
                </a:extLst>
              </p:cNvPr>
              <p:cNvSpPr/>
              <p:nvPr/>
            </p:nvSpPr>
            <p:spPr>
              <a:xfrm>
                <a:off x="10500022" y="3323005"/>
                <a:ext cx="270122" cy="308340"/>
              </a:xfrm>
              <a:custGeom>
                <a:avLst/>
                <a:gdLst>
                  <a:gd name="connsiteX0" fmla="*/ 135025 w 270122"/>
                  <a:gd name="connsiteY0" fmla="*/ 0 h 308340"/>
                  <a:gd name="connsiteX1" fmla="*/ 0 w 270122"/>
                  <a:gd name="connsiteY1" fmla="*/ 308341 h 308340"/>
                  <a:gd name="connsiteX2" fmla="*/ 28949 w 270122"/>
                  <a:gd name="connsiteY2" fmla="*/ 308341 h 308340"/>
                  <a:gd name="connsiteX3" fmla="*/ 76262 w 270122"/>
                  <a:gd name="connsiteY3" fmla="*/ 200274 h 308340"/>
                  <a:gd name="connsiteX4" fmla="*/ 193933 w 270122"/>
                  <a:gd name="connsiteY4" fmla="*/ 200274 h 308340"/>
                  <a:gd name="connsiteX5" fmla="*/ 241533 w 270122"/>
                  <a:gd name="connsiteY5" fmla="*/ 308341 h 308340"/>
                  <a:gd name="connsiteX6" fmla="*/ 270123 w 270122"/>
                  <a:gd name="connsiteY6" fmla="*/ 308341 h 308340"/>
                  <a:gd name="connsiteX7" fmla="*/ 135025 w 270122"/>
                  <a:gd name="connsiteY7" fmla="*/ 0 h 308340"/>
                  <a:gd name="connsiteX8" fmla="*/ 87640 w 270122"/>
                  <a:gd name="connsiteY8" fmla="*/ 174104 h 308340"/>
                  <a:gd name="connsiteX9" fmla="*/ 134809 w 270122"/>
                  <a:gd name="connsiteY9" fmla="*/ 66181 h 308340"/>
                  <a:gd name="connsiteX10" fmla="*/ 182338 w 270122"/>
                  <a:gd name="connsiteY10" fmla="*/ 174104 h 308340"/>
                  <a:gd name="connsiteX11" fmla="*/ 87568 w 270122"/>
                  <a:gd name="connsiteY11" fmla="*/ 174104 h 30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0122" h="308340">
                    <a:moveTo>
                      <a:pt x="135025" y="0"/>
                    </a:moveTo>
                    <a:lnTo>
                      <a:pt x="0" y="308341"/>
                    </a:lnTo>
                    <a:lnTo>
                      <a:pt x="28949" y="308341"/>
                    </a:lnTo>
                    <a:lnTo>
                      <a:pt x="76262" y="200274"/>
                    </a:lnTo>
                    <a:lnTo>
                      <a:pt x="193933" y="200274"/>
                    </a:lnTo>
                    <a:lnTo>
                      <a:pt x="241533" y="308341"/>
                    </a:lnTo>
                    <a:lnTo>
                      <a:pt x="270123" y="308341"/>
                    </a:lnTo>
                    <a:lnTo>
                      <a:pt x="135025" y="0"/>
                    </a:lnTo>
                    <a:close/>
                    <a:moveTo>
                      <a:pt x="87640" y="174104"/>
                    </a:moveTo>
                    <a:lnTo>
                      <a:pt x="134809" y="66181"/>
                    </a:lnTo>
                    <a:lnTo>
                      <a:pt x="182338" y="174104"/>
                    </a:lnTo>
                    <a:lnTo>
                      <a:pt x="87568" y="174104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xmlns="" id="{699C5C5A-CE54-8824-375C-006F4AE00D06}"/>
                  </a:ext>
                </a:extLst>
              </p:cNvPr>
              <p:cNvSpPr/>
              <p:nvPr/>
            </p:nvSpPr>
            <p:spPr>
              <a:xfrm>
                <a:off x="11126107" y="3329421"/>
                <a:ext cx="26140" cy="301852"/>
              </a:xfrm>
              <a:custGeom>
                <a:avLst/>
                <a:gdLst>
                  <a:gd name="connsiteX0" fmla="*/ 0 w 26140"/>
                  <a:gd name="connsiteY0" fmla="*/ 0 h 301852"/>
                  <a:gd name="connsiteX1" fmla="*/ 26141 w 26140"/>
                  <a:gd name="connsiteY1" fmla="*/ 0 h 301852"/>
                  <a:gd name="connsiteX2" fmla="*/ 26141 w 26140"/>
                  <a:gd name="connsiteY2" fmla="*/ 301852 h 301852"/>
                  <a:gd name="connsiteX3" fmla="*/ 0 w 26140"/>
                  <a:gd name="connsiteY3" fmla="*/ 301852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40" h="301852">
                    <a:moveTo>
                      <a:pt x="0" y="0"/>
                    </a:moveTo>
                    <a:lnTo>
                      <a:pt x="26141" y="0"/>
                    </a:lnTo>
                    <a:lnTo>
                      <a:pt x="26141" y="301852"/>
                    </a:lnTo>
                    <a:lnTo>
                      <a:pt x="0" y="30185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4CA911FA-3884-5F54-4AF0-BB5A162491E0}"/>
                  </a:ext>
                </a:extLst>
              </p:cNvPr>
              <p:cNvSpPr/>
              <p:nvPr/>
            </p:nvSpPr>
            <p:spPr>
              <a:xfrm>
                <a:off x="10168471" y="3323509"/>
                <a:ext cx="276820" cy="307763"/>
              </a:xfrm>
              <a:custGeom>
                <a:avLst/>
                <a:gdLst>
                  <a:gd name="connsiteX0" fmla="*/ 137762 w 276820"/>
                  <a:gd name="connsiteY0" fmla="*/ 139139 h 307763"/>
                  <a:gd name="connsiteX1" fmla="*/ 0 w 276820"/>
                  <a:gd name="connsiteY1" fmla="*/ 144 h 307763"/>
                  <a:gd name="connsiteX2" fmla="*/ 144 w 276820"/>
                  <a:gd name="connsiteY2" fmla="*/ 307764 h 307763"/>
                  <a:gd name="connsiteX3" fmla="*/ 26285 w 276820"/>
                  <a:gd name="connsiteY3" fmla="*/ 307764 h 307763"/>
                  <a:gd name="connsiteX4" fmla="*/ 26285 w 276820"/>
                  <a:gd name="connsiteY4" fmla="*/ 63946 h 307763"/>
                  <a:gd name="connsiteX5" fmla="*/ 137474 w 276820"/>
                  <a:gd name="connsiteY5" fmla="*/ 176555 h 307763"/>
                  <a:gd name="connsiteX6" fmla="*/ 250679 w 276820"/>
                  <a:gd name="connsiteY6" fmla="*/ 63370 h 307763"/>
                  <a:gd name="connsiteX7" fmla="*/ 250679 w 276820"/>
                  <a:gd name="connsiteY7" fmla="*/ 307764 h 307763"/>
                  <a:gd name="connsiteX8" fmla="*/ 276820 w 276820"/>
                  <a:gd name="connsiteY8" fmla="*/ 307764 h 307763"/>
                  <a:gd name="connsiteX9" fmla="*/ 276820 w 276820"/>
                  <a:gd name="connsiteY9" fmla="*/ 0 h 307763"/>
                  <a:gd name="connsiteX10" fmla="*/ 137762 w 276820"/>
                  <a:gd name="connsiteY10" fmla="*/ 139139 h 30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6820" h="307763">
                    <a:moveTo>
                      <a:pt x="137762" y="139139"/>
                    </a:moveTo>
                    <a:lnTo>
                      <a:pt x="0" y="144"/>
                    </a:lnTo>
                    <a:lnTo>
                      <a:pt x="144" y="307764"/>
                    </a:lnTo>
                    <a:lnTo>
                      <a:pt x="26285" y="307764"/>
                    </a:lnTo>
                    <a:lnTo>
                      <a:pt x="26285" y="63946"/>
                    </a:lnTo>
                    <a:lnTo>
                      <a:pt x="137474" y="176555"/>
                    </a:lnTo>
                    <a:lnTo>
                      <a:pt x="250679" y="63370"/>
                    </a:lnTo>
                    <a:lnTo>
                      <a:pt x="250679" y="307764"/>
                    </a:lnTo>
                    <a:lnTo>
                      <a:pt x="276820" y="307764"/>
                    </a:lnTo>
                    <a:lnTo>
                      <a:pt x="276820" y="0"/>
                    </a:lnTo>
                    <a:lnTo>
                      <a:pt x="137762" y="13913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37EAA81A-2068-80D2-5D49-728AAF404AB2}"/>
                  </a:ext>
                </a:extLst>
              </p:cNvPr>
              <p:cNvSpPr/>
              <p:nvPr/>
            </p:nvSpPr>
            <p:spPr>
              <a:xfrm>
                <a:off x="11259260" y="3324302"/>
                <a:ext cx="228210" cy="313459"/>
              </a:xfrm>
              <a:custGeom>
                <a:avLst/>
                <a:gdLst>
                  <a:gd name="connsiteX0" fmla="*/ 201998 w 228210"/>
                  <a:gd name="connsiteY0" fmla="*/ 5119 h 313459"/>
                  <a:gd name="connsiteX1" fmla="*/ 201998 w 228210"/>
                  <a:gd name="connsiteY1" fmla="*/ 240213 h 313459"/>
                  <a:gd name="connsiteX2" fmla="*/ 0 w 228210"/>
                  <a:gd name="connsiteY2" fmla="*/ 0 h 313459"/>
                  <a:gd name="connsiteX3" fmla="*/ 0 w 228210"/>
                  <a:gd name="connsiteY3" fmla="*/ 41814 h 313459"/>
                  <a:gd name="connsiteX4" fmla="*/ 0 w 228210"/>
                  <a:gd name="connsiteY4" fmla="*/ 306971 h 313459"/>
                  <a:gd name="connsiteX5" fmla="*/ 26141 w 228210"/>
                  <a:gd name="connsiteY5" fmla="*/ 306971 h 313459"/>
                  <a:gd name="connsiteX6" fmla="*/ 26141 w 228210"/>
                  <a:gd name="connsiteY6" fmla="*/ 72958 h 313459"/>
                  <a:gd name="connsiteX7" fmla="*/ 228211 w 228210"/>
                  <a:gd name="connsiteY7" fmla="*/ 313459 h 313459"/>
                  <a:gd name="connsiteX8" fmla="*/ 228211 w 228210"/>
                  <a:gd name="connsiteY8" fmla="*/ 5119 h 313459"/>
                  <a:gd name="connsiteX9" fmla="*/ 201998 w 228210"/>
                  <a:gd name="connsiteY9" fmla="*/ 5119 h 31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210" h="313459">
                    <a:moveTo>
                      <a:pt x="201998" y="5119"/>
                    </a:moveTo>
                    <a:lnTo>
                      <a:pt x="201998" y="240213"/>
                    </a:lnTo>
                    <a:lnTo>
                      <a:pt x="0" y="0"/>
                    </a:lnTo>
                    <a:lnTo>
                      <a:pt x="0" y="41814"/>
                    </a:lnTo>
                    <a:lnTo>
                      <a:pt x="0" y="306971"/>
                    </a:lnTo>
                    <a:lnTo>
                      <a:pt x="26141" y="306971"/>
                    </a:lnTo>
                    <a:lnTo>
                      <a:pt x="26141" y="72958"/>
                    </a:lnTo>
                    <a:lnTo>
                      <a:pt x="228211" y="313459"/>
                    </a:lnTo>
                    <a:lnTo>
                      <a:pt x="228211" y="5119"/>
                    </a:lnTo>
                    <a:lnTo>
                      <a:pt x="201998" y="511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E74E4898-46FF-569A-920B-1AD289B5754E}"/>
                  </a:ext>
                </a:extLst>
              </p:cNvPr>
              <p:cNvSpPr/>
              <p:nvPr/>
            </p:nvSpPr>
            <p:spPr>
              <a:xfrm>
                <a:off x="10827179" y="3329637"/>
                <a:ext cx="218993" cy="301780"/>
              </a:xfrm>
              <a:custGeom>
                <a:avLst/>
                <a:gdLst>
                  <a:gd name="connsiteX0" fmla="*/ 189468 w 218993"/>
                  <a:gd name="connsiteY0" fmla="*/ 301780 h 301780"/>
                  <a:gd name="connsiteX1" fmla="*/ 218993 w 218993"/>
                  <a:gd name="connsiteY1" fmla="*/ 301780 h 301780"/>
                  <a:gd name="connsiteX2" fmla="*/ 146692 w 218993"/>
                  <a:gd name="connsiteY2" fmla="*/ 160478 h 301780"/>
                  <a:gd name="connsiteX3" fmla="*/ 206319 w 218993"/>
                  <a:gd name="connsiteY3" fmla="*/ 89467 h 301780"/>
                  <a:gd name="connsiteX4" fmla="*/ 206391 w 218993"/>
                  <a:gd name="connsiteY4" fmla="*/ 89467 h 301780"/>
                  <a:gd name="connsiteX5" fmla="*/ 206391 w 218993"/>
                  <a:gd name="connsiteY5" fmla="*/ 87809 h 301780"/>
                  <a:gd name="connsiteX6" fmla="*/ 206679 w 218993"/>
                  <a:gd name="connsiteY6" fmla="*/ 82979 h 301780"/>
                  <a:gd name="connsiteX7" fmla="*/ 206391 w 218993"/>
                  <a:gd name="connsiteY7" fmla="*/ 82979 h 301780"/>
                  <a:gd name="connsiteX8" fmla="*/ 206391 w 218993"/>
                  <a:gd name="connsiteY8" fmla="*/ 80167 h 301780"/>
                  <a:gd name="connsiteX9" fmla="*/ 206679 w 218993"/>
                  <a:gd name="connsiteY9" fmla="*/ 80167 h 301780"/>
                  <a:gd name="connsiteX10" fmla="*/ 206391 w 218993"/>
                  <a:gd name="connsiteY10" fmla="*/ 75265 h 301780"/>
                  <a:gd name="connsiteX11" fmla="*/ 206391 w 218993"/>
                  <a:gd name="connsiteY11" fmla="*/ 75265 h 301780"/>
                  <a:gd name="connsiteX12" fmla="*/ 126600 w 218993"/>
                  <a:gd name="connsiteY12" fmla="*/ 0 h 301780"/>
                  <a:gd name="connsiteX13" fmla="*/ 0 w 218993"/>
                  <a:gd name="connsiteY13" fmla="*/ 0 h 301780"/>
                  <a:gd name="connsiteX14" fmla="*/ 0 w 218993"/>
                  <a:gd name="connsiteY14" fmla="*/ 301708 h 301780"/>
                  <a:gd name="connsiteX15" fmla="*/ 26141 w 218993"/>
                  <a:gd name="connsiteY15" fmla="*/ 301708 h 301780"/>
                  <a:gd name="connsiteX16" fmla="*/ 26141 w 218993"/>
                  <a:gd name="connsiteY16" fmla="*/ 163002 h 301780"/>
                  <a:gd name="connsiteX17" fmla="*/ 118390 w 218993"/>
                  <a:gd name="connsiteY17" fmla="*/ 163002 h 301780"/>
                  <a:gd name="connsiteX18" fmla="*/ 189468 w 218993"/>
                  <a:gd name="connsiteY18" fmla="*/ 301780 h 301780"/>
                  <a:gd name="connsiteX19" fmla="*/ 26141 w 218993"/>
                  <a:gd name="connsiteY19" fmla="*/ 26242 h 301780"/>
                  <a:gd name="connsiteX20" fmla="*/ 126600 w 218993"/>
                  <a:gd name="connsiteY20" fmla="*/ 26242 h 301780"/>
                  <a:gd name="connsiteX21" fmla="*/ 180250 w 218993"/>
                  <a:gd name="connsiteY21" fmla="*/ 79014 h 301780"/>
                  <a:gd name="connsiteX22" fmla="*/ 180250 w 218993"/>
                  <a:gd name="connsiteY22" fmla="*/ 83988 h 301780"/>
                  <a:gd name="connsiteX23" fmla="*/ 126600 w 218993"/>
                  <a:gd name="connsiteY23" fmla="*/ 136688 h 301780"/>
                  <a:gd name="connsiteX24" fmla="*/ 126600 w 218993"/>
                  <a:gd name="connsiteY24" fmla="*/ 136688 h 301780"/>
                  <a:gd name="connsiteX25" fmla="*/ 26141 w 218993"/>
                  <a:gd name="connsiteY25" fmla="*/ 136760 h 301780"/>
                  <a:gd name="connsiteX26" fmla="*/ 26141 w 218993"/>
                  <a:gd name="connsiteY26" fmla="*/ 26242 h 301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8993" h="301780">
                    <a:moveTo>
                      <a:pt x="189468" y="301780"/>
                    </a:moveTo>
                    <a:lnTo>
                      <a:pt x="218993" y="301780"/>
                    </a:lnTo>
                    <a:cubicBezTo>
                      <a:pt x="218993" y="301780"/>
                      <a:pt x="146692" y="160478"/>
                      <a:pt x="146692" y="160478"/>
                    </a:cubicBezTo>
                    <a:cubicBezTo>
                      <a:pt x="179098" y="152044"/>
                      <a:pt x="203582" y="123855"/>
                      <a:pt x="206319" y="89467"/>
                    </a:cubicBezTo>
                    <a:lnTo>
                      <a:pt x="206391" y="89467"/>
                    </a:lnTo>
                    <a:lnTo>
                      <a:pt x="206391" y="87809"/>
                    </a:lnTo>
                    <a:cubicBezTo>
                      <a:pt x="206463" y="86223"/>
                      <a:pt x="206679" y="84565"/>
                      <a:pt x="206679" y="82979"/>
                    </a:cubicBezTo>
                    <a:lnTo>
                      <a:pt x="206391" y="82979"/>
                    </a:lnTo>
                    <a:lnTo>
                      <a:pt x="206391" y="80167"/>
                    </a:lnTo>
                    <a:lnTo>
                      <a:pt x="206679" y="80167"/>
                    </a:lnTo>
                    <a:cubicBezTo>
                      <a:pt x="206679" y="78509"/>
                      <a:pt x="206535" y="76923"/>
                      <a:pt x="206391" y="75265"/>
                    </a:cubicBezTo>
                    <a:lnTo>
                      <a:pt x="206391" y="75265"/>
                    </a:lnTo>
                    <a:cubicBezTo>
                      <a:pt x="203798" y="33235"/>
                      <a:pt x="169160" y="0"/>
                      <a:pt x="126600" y="0"/>
                    </a:cubicBezTo>
                    <a:lnTo>
                      <a:pt x="0" y="0"/>
                    </a:lnTo>
                    <a:lnTo>
                      <a:pt x="0" y="301708"/>
                    </a:lnTo>
                    <a:lnTo>
                      <a:pt x="26141" y="301708"/>
                    </a:lnTo>
                    <a:lnTo>
                      <a:pt x="26141" y="163002"/>
                    </a:lnTo>
                    <a:lnTo>
                      <a:pt x="118390" y="163002"/>
                    </a:lnTo>
                    <a:lnTo>
                      <a:pt x="189468" y="301780"/>
                    </a:lnTo>
                    <a:close/>
                    <a:moveTo>
                      <a:pt x="26141" y="26242"/>
                    </a:moveTo>
                    <a:lnTo>
                      <a:pt x="126600" y="26242"/>
                    </a:lnTo>
                    <a:cubicBezTo>
                      <a:pt x="155909" y="26242"/>
                      <a:pt x="179674" y="49816"/>
                      <a:pt x="180250" y="79014"/>
                    </a:cubicBezTo>
                    <a:lnTo>
                      <a:pt x="180250" y="83988"/>
                    </a:lnTo>
                    <a:cubicBezTo>
                      <a:pt x="179674" y="113186"/>
                      <a:pt x="155909" y="136688"/>
                      <a:pt x="126600" y="136688"/>
                    </a:cubicBezTo>
                    <a:lnTo>
                      <a:pt x="126600" y="136688"/>
                    </a:lnTo>
                    <a:cubicBezTo>
                      <a:pt x="126600" y="136688"/>
                      <a:pt x="26141" y="136760"/>
                      <a:pt x="26141" y="136760"/>
                    </a:cubicBezTo>
                    <a:lnTo>
                      <a:pt x="26141" y="2624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4EB8C0C2-F927-5C57-FD8E-9B1D6FF3398B}"/>
                  </a:ext>
                </a:extLst>
              </p:cNvPr>
              <p:cNvSpPr/>
              <p:nvPr/>
            </p:nvSpPr>
            <p:spPr>
              <a:xfrm>
                <a:off x="9387557" y="3329493"/>
                <a:ext cx="212944" cy="301852"/>
              </a:xfrm>
              <a:custGeom>
                <a:avLst/>
                <a:gdLst>
                  <a:gd name="connsiteX0" fmla="*/ 212656 w 212944"/>
                  <a:gd name="connsiteY0" fmla="*/ 212818 h 301852"/>
                  <a:gd name="connsiteX1" fmla="*/ 201422 w 212944"/>
                  <a:gd name="connsiteY1" fmla="*/ 173455 h 301852"/>
                  <a:gd name="connsiteX2" fmla="*/ 174273 w 212944"/>
                  <a:gd name="connsiteY2" fmla="*/ 147358 h 301852"/>
                  <a:gd name="connsiteX3" fmla="*/ 206247 w 212944"/>
                  <a:gd name="connsiteY3" fmla="*/ 89539 h 301852"/>
                  <a:gd name="connsiteX4" fmla="*/ 206319 w 212944"/>
                  <a:gd name="connsiteY4" fmla="*/ 89539 h 301852"/>
                  <a:gd name="connsiteX5" fmla="*/ 206319 w 212944"/>
                  <a:gd name="connsiteY5" fmla="*/ 87881 h 301852"/>
                  <a:gd name="connsiteX6" fmla="*/ 206535 w 212944"/>
                  <a:gd name="connsiteY6" fmla="*/ 83051 h 301852"/>
                  <a:gd name="connsiteX7" fmla="*/ 206319 w 212944"/>
                  <a:gd name="connsiteY7" fmla="*/ 83051 h 301852"/>
                  <a:gd name="connsiteX8" fmla="*/ 206319 w 212944"/>
                  <a:gd name="connsiteY8" fmla="*/ 80239 h 301852"/>
                  <a:gd name="connsiteX9" fmla="*/ 206535 w 212944"/>
                  <a:gd name="connsiteY9" fmla="*/ 80239 h 301852"/>
                  <a:gd name="connsiteX10" fmla="*/ 206319 w 212944"/>
                  <a:gd name="connsiteY10" fmla="*/ 75337 h 301852"/>
                  <a:gd name="connsiteX11" fmla="*/ 206319 w 212944"/>
                  <a:gd name="connsiteY11" fmla="*/ 75337 h 301852"/>
                  <a:gd name="connsiteX12" fmla="*/ 206319 w 212944"/>
                  <a:gd name="connsiteY12" fmla="*/ 75265 h 301852"/>
                  <a:gd name="connsiteX13" fmla="*/ 126456 w 212944"/>
                  <a:gd name="connsiteY13" fmla="*/ 72 h 301852"/>
                  <a:gd name="connsiteX14" fmla="*/ 126456 w 212944"/>
                  <a:gd name="connsiteY14" fmla="*/ 216 h 301852"/>
                  <a:gd name="connsiteX15" fmla="*/ 0 w 212944"/>
                  <a:gd name="connsiteY15" fmla="*/ 0 h 301852"/>
                  <a:gd name="connsiteX16" fmla="*/ 0 w 212944"/>
                  <a:gd name="connsiteY16" fmla="*/ 301852 h 301852"/>
                  <a:gd name="connsiteX17" fmla="*/ 131425 w 212944"/>
                  <a:gd name="connsiteY17" fmla="*/ 301852 h 301852"/>
                  <a:gd name="connsiteX18" fmla="*/ 212800 w 212944"/>
                  <a:gd name="connsiteY18" fmla="*/ 221541 h 301852"/>
                  <a:gd name="connsiteX19" fmla="*/ 212944 w 212944"/>
                  <a:gd name="connsiteY19" fmla="*/ 221541 h 301852"/>
                  <a:gd name="connsiteX20" fmla="*/ 212944 w 212944"/>
                  <a:gd name="connsiteY20" fmla="*/ 212818 h 301852"/>
                  <a:gd name="connsiteX21" fmla="*/ 212800 w 212944"/>
                  <a:gd name="connsiteY21" fmla="*/ 212818 h 301852"/>
                  <a:gd name="connsiteX22" fmla="*/ 126528 w 212944"/>
                  <a:gd name="connsiteY22" fmla="*/ 26386 h 301852"/>
                  <a:gd name="connsiteX23" fmla="*/ 126528 w 212944"/>
                  <a:gd name="connsiteY23" fmla="*/ 26386 h 301852"/>
                  <a:gd name="connsiteX24" fmla="*/ 180250 w 212944"/>
                  <a:gd name="connsiteY24" fmla="*/ 79302 h 301852"/>
                  <a:gd name="connsiteX25" fmla="*/ 180250 w 212944"/>
                  <a:gd name="connsiteY25" fmla="*/ 83988 h 301852"/>
                  <a:gd name="connsiteX26" fmla="*/ 126528 w 212944"/>
                  <a:gd name="connsiteY26" fmla="*/ 137048 h 301852"/>
                  <a:gd name="connsiteX27" fmla="*/ 26141 w 212944"/>
                  <a:gd name="connsiteY27" fmla="*/ 137048 h 301852"/>
                  <a:gd name="connsiteX28" fmla="*/ 26141 w 212944"/>
                  <a:gd name="connsiteY28" fmla="*/ 26386 h 301852"/>
                  <a:gd name="connsiteX29" fmla="*/ 126528 w 212944"/>
                  <a:gd name="connsiteY29" fmla="*/ 26386 h 301852"/>
                  <a:gd name="connsiteX30" fmla="*/ 186659 w 212944"/>
                  <a:gd name="connsiteY30" fmla="*/ 220171 h 301852"/>
                  <a:gd name="connsiteX31" fmla="*/ 186443 w 212944"/>
                  <a:gd name="connsiteY31" fmla="*/ 220171 h 301852"/>
                  <a:gd name="connsiteX32" fmla="*/ 130921 w 212944"/>
                  <a:gd name="connsiteY32" fmla="*/ 275755 h 301852"/>
                  <a:gd name="connsiteX33" fmla="*/ 130921 w 212944"/>
                  <a:gd name="connsiteY33" fmla="*/ 275755 h 301852"/>
                  <a:gd name="connsiteX34" fmla="*/ 26141 w 212944"/>
                  <a:gd name="connsiteY34" fmla="*/ 275755 h 301852"/>
                  <a:gd name="connsiteX35" fmla="*/ 26141 w 212944"/>
                  <a:gd name="connsiteY35" fmla="*/ 163362 h 301852"/>
                  <a:gd name="connsiteX36" fmla="*/ 134593 w 212944"/>
                  <a:gd name="connsiteY36" fmla="*/ 163795 h 301852"/>
                  <a:gd name="connsiteX37" fmla="*/ 134593 w 212944"/>
                  <a:gd name="connsiteY37" fmla="*/ 163795 h 301852"/>
                  <a:gd name="connsiteX38" fmla="*/ 179458 w 212944"/>
                  <a:gd name="connsiteY38" fmla="*/ 187946 h 301852"/>
                  <a:gd name="connsiteX39" fmla="*/ 186515 w 212944"/>
                  <a:gd name="connsiteY39" fmla="*/ 214836 h 301852"/>
                  <a:gd name="connsiteX40" fmla="*/ 186731 w 212944"/>
                  <a:gd name="connsiteY40" fmla="*/ 214836 h 301852"/>
                  <a:gd name="connsiteX41" fmla="*/ 186731 w 212944"/>
                  <a:gd name="connsiteY41" fmla="*/ 220171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12944" h="301852">
                    <a:moveTo>
                      <a:pt x="212656" y="212818"/>
                    </a:moveTo>
                    <a:cubicBezTo>
                      <a:pt x="212296" y="198183"/>
                      <a:pt x="208623" y="185134"/>
                      <a:pt x="201422" y="173455"/>
                    </a:cubicBezTo>
                    <a:cubicBezTo>
                      <a:pt x="194509" y="162425"/>
                      <a:pt x="185219" y="153558"/>
                      <a:pt x="174273" y="147358"/>
                    </a:cubicBezTo>
                    <a:cubicBezTo>
                      <a:pt x="192204" y="133948"/>
                      <a:pt x="204374" y="113186"/>
                      <a:pt x="206247" y="89539"/>
                    </a:cubicBezTo>
                    <a:lnTo>
                      <a:pt x="206319" y="89539"/>
                    </a:lnTo>
                    <a:lnTo>
                      <a:pt x="206319" y="87881"/>
                    </a:lnTo>
                    <a:cubicBezTo>
                      <a:pt x="206391" y="86295"/>
                      <a:pt x="206535" y="84637"/>
                      <a:pt x="206535" y="83051"/>
                    </a:cubicBezTo>
                    <a:lnTo>
                      <a:pt x="206319" y="83051"/>
                    </a:lnTo>
                    <a:lnTo>
                      <a:pt x="206319" y="80239"/>
                    </a:lnTo>
                    <a:lnTo>
                      <a:pt x="206535" y="80239"/>
                    </a:lnTo>
                    <a:cubicBezTo>
                      <a:pt x="206535" y="78581"/>
                      <a:pt x="206391" y="76995"/>
                      <a:pt x="206319" y="75337"/>
                    </a:cubicBezTo>
                    <a:lnTo>
                      <a:pt x="206319" y="75337"/>
                    </a:lnTo>
                    <a:cubicBezTo>
                      <a:pt x="206319" y="75337"/>
                      <a:pt x="206319" y="75265"/>
                      <a:pt x="206319" y="75265"/>
                    </a:cubicBezTo>
                    <a:cubicBezTo>
                      <a:pt x="203726" y="33307"/>
                      <a:pt x="169016" y="72"/>
                      <a:pt x="126456" y="72"/>
                    </a:cubicBezTo>
                    <a:lnTo>
                      <a:pt x="126456" y="216"/>
                    </a:lnTo>
                    <a:lnTo>
                      <a:pt x="0" y="0"/>
                    </a:lnTo>
                    <a:lnTo>
                      <a:pt x="0" y="301852"/>
                    </a:lnTo>
                    <a:lnTo>
                      <a:pt x="131425" y="301852"/>
                    </a:lnTo>
                    <a:cubicBezTo>
                      <a:pt x="175857" y="301564"/>
                      <a:pt x="211864" y="265878"/>
                      <a:pt x="212800" y="221541"/>
                    </a:cubicBezTo>
                    <a:lnTo>
                      <a:pt x="212944" y="221541"/>
                    </a:lnTo>
                    <a:lnTo>
                      <a:pt x="212944" y="212818"/>
                    </a:lnTo>
                    <a:lnTo>
                      <a:pt x="212800" y="212818"/>
                    </a:lnTo>
                    <a:close/>
                    <a:moveTo>
                      <a:pt x="126528" y="26386"/>
                    </a:moveTo>
                    <a:lnTo>
                      <a:pt x="126528" y="26386"/>
                    </a:lnTo>
                    <a:cubicBezTo>
                      <a:pt x="155909" y="26386"/>
                      <a:pt x="179746" y="50032"/>
                      <a:pt x="180250" y="79302"/>
                    </a:cubicBezTo>
                    <a:lnTo>
                      <a:pt x="180250" y="83988"/>
                    </a:lnTo>
                    <a:cubicBezTo>
                      <a:pt x="179746" y="113258"/>
                      <a:pt x="155909" y="137048"/>
                      <a:pt x="126528" y="137048"/>
                    </a:cubicBezTo>
                    <a:lnTo>
                      <a:pt x="26141" y="137048"/>
                    </a:lnTo>
                    <a:lnTo>
                      <a:pt x="26141" y="26386"/>
                    </a:lnTo>
                    <a:lnTo>
                      <a:pt x="126528" y="26386"/>
                    </a:lnTo>
                    <a:close/>
                    <a:moveTo>
                      <a:pt x="186659" y="220171"/>
                    </a:moveTo>
                    <a:lnTo>
                      <a:pt x="186443" y="220171"/>
                    </a:lnTo>
                    <a:cubicBezTo>
                      <a:pt x="186443" y="250883"/>
                      <a:pt x="161598" y="275755"/>
                      <a:pt x="130921" y="275755"/>
                    </a:cubicBezTo>
                    <a:lnTo>
                      <a:pt x="130921" y="275755"/>
                    </a:lnTo>
                    <a:cubicBezTo>
                      <a:pt x="130921" y="275755"/>
                      <a:pt x="26141" y="275755"/>
                      <a:pt x="26141" y="275755"/>
                    </a:cubicBezTo>
                    <a:lnTo>
                      <a:pt x="26141" y="163362"/>
                    </a:lnTo>
                    <a:lnTo>
                      <a:pt x="134593" y="163795"/>
                    </a:lnTo>
                    <a:lnTo>
                      <a:pt x="134593" y="163795"/>
                    </a:lnTo>
                    <a:cubicBezTo>
                      <a:pt x="153461" y="163795"/>
                      <a:pt x="169880" y="173095"/>
                      <a:pt x="179458" y="187946"/>
                    </a:cubicBezTo>
                    <a:cubicBezTo>
                      <a:pt x="183490" y="196381"/>
                      <a:pt x="186515" y="204888"/>
                      <a:pt x="186515" y="214836"/>
                    </a:cubicBezTo>
                    <a:lnTo>
                      <a:pt x="186731" y="214836"/>
                    </a:lnTo>
                    <a:lnTo>
                      <a:pt x="186731" y="220171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C6127228-185B-3EB8-7C51-0F38FC2C725F}"/>
                  </a:ext>
                </a:extLst>
              </p:cNvPr>
              <p:cNvSpPr/>
              <p:nvPr/>
            </p:nvSpPr>
            <p:spPr>
              <a:xfrm>
                <a:off x="9791480" y="3324302"/>
                <a:ext cx="311818" cy="312017"/>
              </a:xfrm>
              <a:custGeom>
                <a:avLst/>
                <a:gdLst>
                  <a:gd name="connsiteX0" fmla="*/ 1368 w 311818"/>
                  <a:gd name="connsiteY0" fmla="*/ 175618 h 312017"/>
                  <a:gd name="connsiteX1" fmla="*/ 155981 w 311818"/>
                  <a:gd name="connsiteY1" fmla="*/ 312017 h 312017"/>
                  <a:gd name="connsiteX2" fmla="*/ 310594 w 311818"/>
                  <a:gd name="connsiteY2" fmla="*/ 175546 h 312017"/>
                  <a:gd name="connsiteX3" fmla="*/ 311819 w 311818"/>
                  <a:gd name="connsiteY3" fmla="*/ 156513 h 312017"/>
                  <a:gd name="connsiteX4" fmla="*/ 310954 w 311818"/>
                  <a:gd name="connsiteY4" fmla="*/ 139499 h 312017"/>
                  <a:gd name="connsiteX5" fmla="*/ 155981 w 311818"/>
                  <a:gd name="connsiteY5" fmla="*/ 0 h 312017"/>
                  <a:gd name="connsiteX6" fmla="*/ 1008 w 311818"/>
                  <a:gd name="connsiteY6" fmla="*/ 139499 h 312017"/>
                  <a:gd name="connsiteX7" fmla="*/ 864 w 311818"/>
                  <a:gd name="connsiteY7" fmla="*/ 139499 h 312017"/>
                  <a:gd name="connsiteX8" fmla="*/ 0 w 311818"/>
                  <a:gd name="connsiteY8" fmla="*/ 156513 h 312017"/>
                  <a:gd name="connsiteX9" fmla="*/ 1224 w 311818"/>
                  <a:gd name="connsiteY9" fmla="*/ 175546 h 312017"/>
                  <a:gd name="connsiteX10" fmla="*/ 155981 w 311818"/>
                  <a:gd name="connsiteY10" fmla="*/ 285487 h 312017"/>
                  <a:gd name="connsiteX11" fmla="*/ 28085 w 311818"/>
                  <a:gd name="connsiteY11" fmla="*/ 175618 h 312017"/>
                  <a:gd name="connsiteX12" fmla="*/ 27941 w 311818"/>
                  <a:gd name="connsiteY12" fmla="*/ 175618 h 312017"/>
                  <a:gd name="connsiteX13" fmla="*/ 26501 w 311818"/>
                  <a:gd name="connsiteY13" fmla="*/ 156513 h 312017"/>
                  <a:gd name="connsiteX14" fmla="*/ 27509 w 311818"/>
                  <a:gd name="connsiteY14" fmla="*/ 140004 h 312017"/>
                  <a:gd name="connsiteX15" fmla="*/ 27581 w 311818"/>
                  <a:gd name="connsiteY15" fmla="*/ 140004 h 312017"/>
                  <a:gd name="connsiteX16" fmla="*/ 155909 w 311818"/>
                  <a:gd name="connsiteY16" fmla="*/ 26530 h 312017"/>
                  <a:gd name="connsiteX17" fmla="*/ 284165 w 311818"/>
                  <a:gd name="connsiteY17" fmla="*/ 139788 h 312017"/>
                  <a:gd name="connsiteX18" fmla="*/ 285246 w 311818"/>
                  <a:gd name="connsiteY18" fmla="*/ 156585 h 312017"/>
                  <a:gd name="connsiteX19" fmla="*/ 283805 w 311818"/>
                  <a:gd name="connsiteY19" fmla="*/ 175906 h 312017"/>
                  <a:gd name="connsiteX20" fmla="*/ 155909 w 311818"/>
                  <a:gd name="connsiteY20" fmla="*/ 285559 h 312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1818" h="312017">
                    <a:moveTo>
                      <a:pt x="1368" y="175618"/>
                    </a:moveTo>
                    <a:cubicBezTo>
                      <a:pt x="11018" y="252541"/>
                      <a:pt x="76550" y="312017"/>
                      <a:pt x="155981" y="312017"/>
                    </a:cubicBezTo>
                    <a:cubicBezTo>
                      <a:pt x="235412" y="312017"/>
                      <a:pt x="300945" y="252469"/>
                      <a:pt x="310594" y="175546"/>
                    </a:cubicBezTo>
                    <a:cubicBezTo>
                      <a:pt x="311315" y="169346"/>
                      <a:pt x="311819" y="162930"/>
                      <a:pt x="311819" y="156513"/>
                    </a:cubicBezTo>
                    <a:cubicBezTo>
                      <a:pt x="311819" y="150602"/>
                      <a:pt x="311603" y="145267"/>
                      <a:pt x="310954" y="139499"/>
                    </a:cubicBezTo>
                    <a:cubicBezTo>
                      <a:pt x="302889" y="60846"/>
                      <a:pt x="236636" y="0"/>
                      <a:pt x="155981" y="0"/>
                    </a:cubicBezTo>
                    <a:cubicBezTo>
                      <a:pt x="75326" y="0"/>
                      <a:pt x="9218" y="61135"/>
                      <a:pt x="1008" y="139499"/>
                    </a:cubicBezTo>
                    <a:lnTo>
                      <a:pt x="864" y="139499"/>
                    </a:lnTo>
                    <a:cubicBezTo>
                      <a:pt x="216" y="145267"/>
                      <a:pt x="0" y="150602"/>
                      <a:pt x="0" y="156513"/>
                    </a:cubicBezTo>
                    <a:cubicBezTo>
                      <a:pt x="0" y="162930"/>
                      <a:pt x="432" y="169346"/>
                      <a:pt x="1224" y="175546"/>
                    </a:cubicBezTo>
                    <a:moveTo>
                      <a:pt x="155981" y="285487"/>
                    </a:moveTo>
                    <a:cubicBezTo>
                      <a:pt x="91169" y="285487"/>
                      <a:pt x="37519" y="237834"/>
                      <a:pt x="28085" y="175618"/>
                    </a:cubicBezTo>
                    <a:lnTo>
                      <a:pt x="27941" y="175618"/>
                    </a:lnTo>
                    <a:cubicBezTo>
                      <a:pt x="27005" y="169346"/>
                      <a:pt x="26501" y="163074"/>
                      <a:pt x="26501" y="156513"/>
                    </a:cubicBezTo>
                    <a:cubicBezTo>
                      <a:pt x="26501" y="150818"/>
                      <a:pt x="26789" y="145483"/>
                      <a:pt x="27509" y="140004"/>
                    </a:cubicBezTo>
                    <a:lnTo>
                      <a:pt x="27581" y="140004"/>
                    </a:lnTo>
                    <a:cubicBezTo>
                      <a:pt x="35431" y="76058"/>
                      <a:pt x="89873" y="26530"/>
                      <a:pt x="155909" y="26530"/>
                    </a:cubicBezTo>
                    <a:cubicBezTo>
                      <a:pt x="221946" y="26530"/>
                      <a:pt x="276316" y="75769"/>
                      <a:pt x="284165" y="139788"/>
                    </a:cubicBezTo>
                    <a:cubicBezTo>
                      <a:pt x="284886" y="145411"/>
                      <a:pt x="285246" y="150818"/>
                      <a:pt x="285246" y="156585"/>
                    </a:cubicBezTo>
                    <a:cubicBezTo>
                      <a:pt x="285246" y="163218"/>
                      <a:pt x="284741" y="169562"/>
                      <a:pt x="283805" y="175906"/>
                    </a:cubicBezTo>
                    <a:cubicBezTo>
                      <a:pt x="274372" y="238122"/>
                      <a:pt x="220721" y="285559"/>
                      <a:pt x="155909" y="285559"/>
                    </a:cubicBez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B4827656-872A-664A-70E9-C86FDBC49962}"/>
                  </a:ext>
                </a:extLst>
              </p:cNvPr>
              <p:cNvSpPr/>
              <p:nvPr/>
            </p:nvSpPr>
            <p:spPr>
              <a:xfrm>
                <a:off x="11529743" y="3323653"/>
                <a:ext cx="42343" cy="42390"/>
              </a:xfrm>
              <a:custGeom>
                <a:avLst/>
                <a:gdLst>
                  <a:gd name="connsiteX0" fmla="*/ 0 w 42343"/>
                  <a:gd name="connsiteY0" fmla="*/ 21123 h 42390"/>
                  <a:gd name="connsiteX1" fmla="*/ 21244 w 42343"/>
                  <a:gd name="connsiteY1" fmla="*/ 0 h 42390"/>
                  <a:gd name="connsiteX2" fmla="*/ 42344 w 42343"/>
                  <a:gd name="connsiteY2" fmla="*/ 21123 h 42390"/>
                  <a:gd name="connsiteX3" fmla="*/ 21244 w 42343"/>
                  <a:gd name="connsiteY3" fmla="*/ 42391 h 42390"/>
                  <a:gd name="connsiteX4" fmla="*/ 0 w 42343"/>
                  <a:gd name="connsiteY4" fmla="*/ 21123 h 42390"/>
                  <a:gd name="connsiteX5" fmla="*/ 38959 w 42343"/>
                  <a:gd name="connsiteY5" fmla="*/ 21123 h 42390"/>
                  <a:gd name="connsiteX6" fmla="*/ 21244 w 42343"/>
                  <a:gd name="connsiteY6" fmla="*/ 2812 h 42390"/>
                  <a:gd name="connsiteX7" fmla="*/ 3385 w 42343"/>
                  <a:gd name="connsiteY7" fmla="*/ 21123 h 42390"/>
                  <a:gd name="connsiteX8" fmla="*/ 21244 w 42343"/>
                  <a:gd name="connsiteY8" fmla="*/ 39579 h 42390"/>
                  <a:gd name="connsiteX9" fmla="*/ 38959 w 42343"/>
                  <a:gd name="connsiteY9" fmla="*/ 21123 h 42390"/>
                  <a:gd name="connsiteX10" fmla="*/ 31758 w 42343"/>
                  <a:gd name="connsiteY10" fmla="*/ 32946 h 42390"/>
                  <a:gd name="connsiteX11" fmla="*/ 28301 w 42343"/>
                  <a:gd name="connsiteY11" fmla="*/ 32946 h 42390"/>
                  <a:gd name="connsiteX12" fmla="*/ 21532 w 42343"/>
                  <a:gd name="connsiteY12" fmla="*/ 22060 h 42390"/>
                  <a:gd name="connsiteX13" fmla="*/ 16203 w 42343"/>
                  <a:gd name="connsiteY13" fmla="*/ 22060 h 42390"/>
                  <a:gd name="connsiteX14" fmla="*/ 16203 w 42343"/>
                  <a:gd name="connsiteY14" fmla="*/ 32946 h 42390"/>
                  <a:gd name="connsiteX15" fmla="*/ 13323 w 42343"/>
                  <a:gd name="connsiteY15" fmla="*/ 32946 h 42390"/>
                  <a:gd name="connsiteX16" fmla="*/ 13323 w 42343"/>
                  <a:gd name="connsiteY16" fmla="*/ 9300 h 42390"/>
                  <a:gd name="connsiteX17" fmla="*/ 23693 w 42343"/>
                  <a:gd name="connsiteY17" fmla="*/ 9300 h 42390"/>
                  <a:gd name="connsiteX18" fmla="*/ 32046 w 42343"/>
                  <a:gd name="connsiteY18" fmla="*/ 15572 h 42390"/>
                  <a:gd name="connsiteX19" fmla="*/ 24629 w 42343"/>
                  <a:gd name="connsiteY19" fmla="*/ 22060 h 42390"/>
                  <a:gd name="connsiteX20" fmla="*/ 31758 w 42343"/>
                  <a:gd name="connsiteY20" fmla="*/ 32946 h 42390"/>
                  <a:gd name="connsiteX21" fmla="*/ 20668 w 42343"/>
                  <a:gd name="connsiteY21" fmla="*/ 19753 h 42390"/>
                  <a:gd name="connsiteX22" fmla="*/ 28949 w 42343"/>
                  <a:gd name="connsiteY22" fmla="*/ 15500 h 42390"/>
                  <a:gd name="connsiteX23" fmla="*/ 23044 w 42343"/>
                  <a:gd name="connsiteY23" fmla="*/ 11391 h 42390"/>
                  <a:gd name="connsiteX24" fmla="*/ 16275 w 42343"/>
                  <a:gd name="connsiteY24" fmla="*/ 11391 h 42390"/>
                  <a:gd name="connsiteX25" fmla="*/ 16275 w 42343"/>
                  <a:gd name="connsiteY25" fmla="*/ 19753 h 42390"/>
                  <a:gd name="connsiteX26" fmla="*/ 20668 w 42343"/>
                  <a:gd name="connsiteY26" fmla="*/ 19753 h 4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2343" h="42390">
                    <a:moveTo>
                      <a:pt x="0" y="21123"/>
                    </a:moveTo>
                    <a:cubicBezTo>
                      <a:pt x="0" y="9516"/>
                      <a:pt x="9506" y="0"/>
                      <a:pt x="21244" y="0"/>
                    </a:cubicBezTo>
                    <a:cubicBezTo>
                      <a:pt x="32982" y="0"/>
                      <a:pt x="42344" y="9516"/>
                      <a:pt x="42344" y="21123"/>
                    </a:cubicBezTo>
                    <a:cubicBezTo>
                      <a:pt x="42344" y="32730"/>
                      <a:pt x="32910" y="42391"/>
                      <a:pt x="21244" y="42391"/>
                    </a:cubicBezTo>
                    <a:cubicBezTo>
                      <a:pt x="9578" y="42391"/>
                      <a:pt x="0" y="32874"/>
                      <a:pt x="0" y="21123"/>
                    </a:cubicBezTo>
                    <a:close/>
                    <a:moveTo>
                      <a:pt x="38959" y="21123"/>
                    </a:moveTo>
                    <a:cubicBezTo>
                      <a:pt x="38959" y="10814"/>
                      <a:pt x="31470" y="2812"/>
                      <a:pt x="21244" y="2812"/>
                    </a:cubicBezTo>
                    <a:cubicBezTo>
                      <a:pt x="11018" y="2812"/>
                      <a:pt x="3385" y="10886"/>
                      <a:pt x="3385" y="21123"/>
                    </a:cubicBezTo>
                    <a:cubicBezTo>
                      <a:pt x="3385" y="31360"/>
                      <a:pt x="10946" y="39579"/>
                      <a:pt x="21244" y="39579"/>
                    </a:cubicBezTo>
                    <a:cubicBezTo>
                      <a:pt x="31542" y="39579"/>
                      <a:pt x="38959" y="31505"/>
                      <a:pt x="38959" y="21123"/>
                    </a:cubicBezTo>
                    <a:close/>
                    <a:moveTo>
                      <a:pt x="31758" y="32946"/>
                    </a:moveTo>
                    <a:lnTo>
                      <a:pt x="28301" y="32946"/>
                    </a:lnTo>
                    <a:lnTo>
                      <a:pt x="21532" y="22060"/>
                    </a:lnTo>
                    <a:lnTo>
                      <a:pt x="16203" y="22060"/>
                    </a:lnTo>
                    <a:lnTo>
                      <a:pt x="16203" y="32946"/>
                    </a:lnTo>
                    <a:lnTo>
                      <a:pt x="13323" y="32946"/>
                    </a:lnTo>
                    <a:lnTo>
                      <a:pt x="13323" y="9300"/>
                    </a:lnTo>
                    <a:lnTo>
                      <a:pt x="23693" y="9300"/>
                    </a:lnTo>
                    <a:cubicBezTo>
                      <a:pt x="29958" y="9300"/>
                      <a:pt x="32046" y="11679"/>
                      <a:pt x="32046" y="15572"/>
                    </a:cubicBezTo>
                    <a:cubicBezTo>
                      <a:pt x="32046" y="20186"/>
                      <a:pt x="28805" y="21916"/>
                      <a:pt x="24629" y="22060"/>
                    </a:cubicBezTo>
                    <a:lnTo>
                      <a:pt x="31758" y="32946"/>
                    </a:lnTo>
                    <a:close/>
                    <a:moveTo>
                      <a:pt x="20668" y="19753"/>
                    </a:moveTo>
                    <a:cubicBezTo>
                      <a:pt x="24052" y="19753"/>
                      <a:pt x="28949" y="20330"/>
                      <a:pt x="28949" y="15500"/>
                    </a:cubicBezTo>
                    <a:cubicBezTo>
                      <a:pt x="28949" y="11823"/>
                      <a:pt x="25925" y="11391"/>
                      <a:pt x="23044" y="11391"/>
                    </a:cubicBezTo>
                    <a:lnTo>
                      <a:pt x="16275" y="11391"/>
                    </a:lnTo>
                    <a:lnTo>
                      <a:pt x="16275" y="19753"/>
                    </a:lnTo>
                    <a:lnTo>
                      <a:pt x="20668" y="19753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5B2E2F7A-42BC-20DC-EB86-0DCDF9AB6A72}"/>
                </a:ext>
              </a:extLst>
            </p:cNvPr>
            <p:cNvSpPr/>
            <p:nvPr/>
          </p:nvSpPr>
          <p:spPr>
            <a:xfrm>
              <a:off x="9662576" y="3326249"/>
              <a:ext cx="70213" cy="41020"/>
            </a:xfrm>
            <a:custGeom>
              <a:avLst/>
              <a:gdLst>
                <a:gd name="connsiteX0" fmla="*/ 15267 w 70213"/>
                <a:gd name="connsiteY0" fmla="*/ 4398 h 41020"/>
                <a:gd name="connsiteX1" fmla="*/ 9434 w 70213"/>
                <a:gd name="connsiteY1" fmla="*/ 7714 h 41020"/>
                <a:gd name="connsiteX2" fmla="*/ 4321 w 70213"/>
                <a:gd name="connsiteY2" fmla="*/ 11607 h 41020"/>
                <a:gd name="connsiteX3" fmla="*/ 2737 w 70213"/>
                <a:gd name="connsiteY3" fmla="*/ 15139 h 41020"/>
                <a:gd name="connsiteX4" fmla="*/ 648 w 70213"/>
                <a:gd name="connsiteY4" fmla="*/ 18167 h 41020"/>
                <a:gd name="connsiteX5" fmla="*/ 144 w 70213"/>
                <a:gd name="connsiteY5" fmla="*/ 19249 h 41020"/>
                <a:gd name="connsiteX6" fmla="*/ 0 w 70213"/>
                <a:gd name="connsiteY6" fmla="*/ 20330 h 41020"/>
                <a:gd name="connsiteX7" fmla="*/ 288 w 70213"/>
                <a:gd name="connsiteY7" fmla="*/ 21556 h 41020"/>
                <a:gd name="connsiteX8" fmla="*/ 2232 w 70213"/>
                <a:gd name="connsiteY8" fmla="*/ 26891 h 41020"/>
                <a:gd name="connsiteX9" fmla="*/ 5617 w 70213"/>
                <a:gd name="connsiteY9" fmla="*/ 28981 h 41020"/>
                <a:gd name="connsiteX10" fmla="*/ 9506 w 70213"/>
                <a:gd name="connsiteY10" fmla="*/ 33379 h 41020"/>
                <a:gd name="connsiteX11" fmla="*/ 12314 w 70213"/>
                <a:gd name="connsiteY11" fmla="*/ 36046 h 41020"/>
                <a:gd name="connsiteX12" fmla="*/ 16347 w 70213"/>
                <a:gd name="connsiteY12" fmla="*/ 37993 h 41020"/>
                <a:gd name="connsiteX13" fmla="*/ 20380 w 70213"/>
                <a:gd name="connsiteY13" fmla="*/ 39218 h 41020"/>
                <a:gd name="connsiteX14" fmla="*/ 26069 w 70213"/>
                <a:gd name="connsiteY14" fmla="*/ 39218 h 41020"/>
                <a:gd name="connsiteX15" fmla="*/ 29814 w 70213"/>
                <a:gd name="connsiteY15" fmla="*/ 39939 h 41020"/>
                <a:gd name="connsiteX16" fmla="*/ 33846 w 70213"/>
                <a:gd name="connsiteY16" fmla="*/ 40300 h 41020"/>
                <a:gd name="connsiteX17" fmla="*/ 39319 w 70213"/>
                <a:gd name="connsiteY17" fmla="*/ 40660 h 41020"/>
                <a:gd name="connsiteX18" fmla="*/ 44576 w 70213"/>
                <a:gd name="connsiteY18" fmla="*/ 41021 h 41020"/>
                <a:gd name="connsiteX19" fmla="*/ 51130 w 70213"/>
                <a:gd name="connsiteY19" fmla="*/ 40516 h 41020"/>
                <a:gd name="connsiteX20" fmla="*/ 56099 w 70213"/>
                <a:gd name="connsiteY20" fmla="*/ 39074 h 41020"/>
                <a:gd name="connsiteX21" fmla="*/ 62076 w 70213"/>
                <a:gd name="connsiteY21" fmla="*/ 36623 h 41020"/>
                <a:gd name="connsiteX22" fmla="*/ 64740 w 70213"/>
                <a:gd name="connsiteY22" fmla="*/ 33595 h 41020"/>
                <a:gd name="connsiteX23" fmla="*/ 67765 w 70213"/>
                <a:gd name="connsiteY23" fmla="*/ 30784 h 41020"/>
                <a:gd name="connsiteX24" fmla="*/ 70213 w 70213"/>
                <a:gd name="connsiteY24" fmla="*/ 26891 h 41020"/>
                <a:gd name="connsiteX25" fmla="*/ 70069 w 70213"/>
                <a:gd name="connsiteY25" fmla="*/ 22853 h 41020"/>
                <a:gd name="connsiteX26" fmla="*/ 68989 w 70213"/>
                <a:gd name="connsiteY26" fmla="*/ 17014 h 41020"/>
                <a:gd name="connsiteX27" fmla="*/ 62652 w 70213"/>
                <a:gd name="connsiteY27" fmla="*/ 7786 h 41020"/>
                <a:gd name="connsiteX28" fmla="*/ 57035 w 70213"/>
                <a:gd name="connsiteY28" fmla="*/ 3533 h 41020"/>
                <a:gd name="connsiteX29" fmla="*/ 54226 w 70213"/>
                <a:gd name="connsiteY29" fmla="*/ 2163 h 41020"/>
                <a:gd name="connsiteX30" fmla="*/ 52138 w 70213"/>
                <a:gd name="connsiteY30" fmla="*/ 1370 h 41020"/>
                <a:gd name="connsiteX31" fmla="*/ 50121 w 70213"/>
                <a:gd name="connsiteY31" fmla="*/ 1081 h 41020"/>
                <a:gd name="connsiteX32" fmla="*/ 43568 w 70213"/>
                <a:gd name="connsiteY32" fmla="*/ 1586 h 41020"/>
                <a:gd name="connsiteX33" fmla="*/ 37015 w 70213"/>
                <a:gd name="connsiteY33" fmla="*/ 505 h 41020"/>
                <a:gd name="connsiteX34" fmla="*/ 33846 w 70213"/>
                <a:gd name="connsiteY34" fmla="*/ 0 h 41020"/>
                <a:gd name="connsiteX35" fmla="*/ 29814 w 70213"/>
                <a:gd name="connsiteY35" fmla="*/ 865 h 41020"/>
                <a:gd name="connsiteX36" fmla="*/ 24485 w 70213"/>
                <a:gd name="connsiteY36" fmla="*/ 1586 h 41020"/>
                <a:gd name="connsiteX37" fmla="*/ 21100 w 70213"/>
                <a:gd name="connsiteY37" fmla="*/ 2812 h 41020"/>
                <a:gd name="connsiteX38" fmla="*/ 15267 w 70213"/>
                <a:gd name="connsiteY38" fmla="*/ 4398 h 4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0213" h="41020">
                  <a:moveTo>
                    <a:pt x="15267" y="4398"/>
                  </a:moveTo>
                  <a:lnTo>
                    <a:pt x="9434" y="7714"/>
                  </a:lnTo>
                  <a:lnTo>
                    <a:pt x="4321" y="11607"/>
                  </a:lnTo>
                  <a:lnTo>
                    <a:pt x="2737" y="15139"/>
                  </a:lnTo>
                  <a:lnTo>
                    <a:pt x="648" y="18167"/>
                  </a:lnTo>
                  <a:lnTo>
                    <a:pt x="144" y="19249"/>
                  </a:lnTo>
                  <a:lnTo>
                    <a:pt x="0" y="20330"/>
                  </a:lnTo>
                  <a:lnTo>
                    <a:pt x="288" y="21556"/>
                  </a:lnTo>
                  <a:lnTo>
                    <a:pt x="2232" y="26891"/>
                  </a:lnTo>
                  <a:lnTo>
                    <a:pt x="5617" y="28981"/>
                  </a:lnTo>
                  <a:lnTo>
                    <a:pt x="9506" y="33379"/>
                  </a:lnTo>
                  <a:lnTo>
                    <a:pt x="12314" y="36046"/>
                  </a:lnTo>
                  <a:lnTo>
                    <a:pt x="16347" y="37993"/>
                  </a:lnTo>
                  <a:lnTo>
                    <a:pt x="20380" y="39218"/>
                  </a:lnTo>
                  <a:lnTo>
                    <a:pt x="26069" y="39218"/>
                  </a:lnTo>
                  <a:lnTo>
                    <a:pt x="29814" y="39939"/>
                  </a:lnTo>
                  <a:lnTo>
                    <a:pt x="33846" y="40300"/>
                  </a:lnTo>
                  <a:lnTo>
                    <a:pt x="39319" y="40660"/>
                  </a:lnTo>
                  <a:lnTo>
                    <a:pt x="44576" y="41021"/>
                  </a:lnTo>
                  <a:lnTo>
                    <a:pt x="51130" y="40516"/>
                  </a:lnTo>
                  <a:lnTo>
                    <a:pt x="56099" y="39074"/>
                  </a:lnTo>
                  <a:lnTo>
                    <a:pt x="62076" y="36623"/>
                  </a:lnTo>
                  <a:lnTo>
                    <a:pt x="64740" y="33595"/>
                  </a:lnTo>
                  <a:lnTo>
                    <a:pt x="67765" y="30784"/>
                  </a:lnTo>
                  <a:lnTo>
                    <a:pt x="70213" y="26891"/>
                  </a:lnTo>
                  <a:lnTo>
                    <a:pt x="70069" y="22853"/>
                  </a:lnTo>
                  <a:lnTo>
                    <a:pt x="68989" y="17014"/>
                  </a:lnTo>
                  <a:lnTo>
                    <a:pt x="62652" y="7786"/>
                  </a:lnTo>
                  <a:lnTo>
                    <a:pt x="57035" y="3533"/>
                  </a:lnTo>
                  <a:lnTo>
                    <a:pt x="54226" y="2163"/>
                  </a:lnTo>
                  <a:lnTo>
                    <a:pt x="52138" y="1370"/>
                  </a:lnTo>
                  <a:lnTo>
                    <a:pt x="50121" y="1081"/>
                  </a:lnTo>
                  <a:lnTo>
                    <a:pt x="43568" y="1586"/>
                  </a:lnTo>
                  <a:lnTo>
                    <a:pt x="37015" y="505"/>
                  </a:lnTo>
                  <a:lnTo>
                    <a:pt x="33846" y="0"/>
                  </a:lnTo>
                  <a:lnTo>
                    <a:pt x="29814" y="865"/>
                  </a:lnTo>
                  <a:lnTo>
                    <a:pt x="24485" y="1586"/>
                  </a:lnTo>
                  <a:lnTo>
                    <a:pt x="21100" y="2812"/>
                  </a:lnTo>
                  <a:lnTo>
                    <a:pt x="15267" y="4398"/>
                  </a:lnTo>
                </a:path>
              </a:pathLst>
            </a:custGeom>
            <a:solidFill>
              <a:srgbClr val="F26531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7E9CA8DE-E050-3A24-2AFA-602CFE0F5BC8}"/>
                </a:ext>
              </a:extLst>
            </p:cNvPr>
            <p:cNvSpPr/>
            <p:nvPr/>
          </p:nvSpPr>
          <p:spPr>
            <a:xfrm>
              <a:off x="9668265" y="3427034"/>
              <a:ext cx="59915" cy="15932"/>
            </a:xfrm>
            <a:custGeom>
              <a:avLst/>
              <a:gdLst>
                <a:gd name="connsiteX0" fmla="*/ 1224 w 59915"/>
                <a:gd name="connsiteY0" fmla="*/ 360 h 15932"/>
                <a:gd name="connsiteX1" fmla="*/ 32694 w 59915"/>
                <a:gd name="connsiteY1" fmla="*/ 1081 h 15932"/>
                <a:gd name="connsiteX2" fmla="*/ 37375 w 59915"/>
                <a:gd name="connsiteY2" fmla="*/ 144 h 15932"/>
                <a:gd name="connsiteX3" fmla="*/ 43424 w 59915"/>
                <a:gd name="connsiteY3" fmla="*/ 0 h 15932"/>
                <a:gd name="connsiteX4" fmla="*/ 49473 w 59915"/>
                <a:gd name="connsiteY4" fmla="*/ 649 h 15932"/>
                <a:gd name="connsiteX5" fmla="*/ 54082 w 59915"/>
                <a:gd name="connsiteY5" fmla="*/ 1947 h 15932"/>
                <a:gd name="connsiteX6" fmla="*/ 57611 w 59915"/>
                <a:gd name="connsiteY6" fmla="*/ 4326 h 15932"/>
                <a:gd name="connsiteX7" fmla="*/ 58907 w 59915"/>
                <a:gd name="connsiteY7" fmla="*/ 5984 h 15932"/>
                <a:gd name="connsiteX8" fmla="*/ 59699 w 59915"/>
                <a:gd name="connsiteY8" fmla="*/ 7714 h 15932"/>
                <a:gd name="connsiteX9" fmla="*/ 59915 w 59915"/>
                <a:gd name="connsiteY9" fmla="*/ 9588 h 15932"/>
                <a:gd name="connsiteX10" fmla="*/ 59339 w 59915"/>
                <a:gd name="connsiteY10" fmla="*/ 11535 h 15932"/>
                <a:gd name="connsiteX11" fmla="*/ 57971 w 59915"/>
                <a:gd name="connsiteY11" fmla="*/ 13409 h 15932"/>
                <a:gd name="connsiteX12" fmla="*/ 55522 w 59915"/>
                <a:gd name="connsiteY12" fmla="*/ 15212 h 15932"/>
                <a:gd name="connsiteX13" fmla="*/ 51922 w 59915"/>
                <a:gd name="connsiteY13" fmla="*/ 15932 h 15932"/>
                <a:gd name="connsiteX14" fmla="*/ 45513 w 59915"/>
                <a:gd name="connsiteY14" fmla="*/ 15932 h 15932"/>
                <a:gd name="connsiteX15" fmla="*/ 28229 w 59915"/>
                <a:gd name="connsiteY15" fmla="*/ 14635 h 15932"/>
                <a:gd name="connsiteX16" fmla="*/ 1872 w 59915"/>
                <a:gd name="connsiteY16" fmla="*/ 11607 h 15932"/>
                <a:gd name="connsiteX17" fmla="*/ 864 w 59915"/>
                <a:gd name="connsiteY17" fmla="*/ 11174 h 15932"/>
                <a:gd name="connsiteX18" fmla="*/ 288 w 59915"/>
                <a:gd name="connsiteY18" fmla="*/ 10165 h 15932"/>
                <a:gd name="connsiteX19" fmla="*/ 0 w 59915"/>
                <a:gd name="connsiteY19" fmla="*/ 6921 h 15932"/>
                <a:gd name="connsiteX20" fmla="*/ 1224 w 59915"/>
                <a:gd name="connsiteY20" fmla="*/ 360 h 1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9915" h="15932">
                  <a:moveTo>
                    <a:pt x="1224" y="360"/>
                  </a:moveTo>
                  <a:lnTo>
                    <a:pt x="32694" y="1081"/>
                  </a:lnTo>
                  <a:lnTo>
                    <a:pt x="37375" y="144"/>
                  </a:lnTo>
                  <a:lnTo>
                    <a:pt x="43424" y="0"/>
                  </a:lnTo>
                  <a:lnTo>
                    <a:pt x="49473" y="649"/>
                  </a:lnTo>
                  <a:lnTo>
                    <a:pt x="54082" y="1947"/>
                  </a:lnTo>
                  <a:lnTo>
                    <a:pt x="57611" y="4326"/>
                  </a:lnTo>
                  <a:lnTo>
                    <a:pt x="58907" y="5984"/>
                  </a:lnTo>
                  <a:lnTo>
                    <a:pt x="59699" y="7714"/>
                  </a:lnTo>
                  <a:lnTo>
                    <a:pt x="59915" y="9588"/>
                  </a:lnTo>
                  <a:lnTo>
                    <a:pt x="59339" y="11535"/>
                  </a:lnTo>
                  <a:lnTo>
                    <a:pt x="57971" y="13409"/>
                  </a:lnTo>
                  <a:lnTo>
                    <a:pt x="55522" y="15212"/>
                  </a:lnTo>
                  <a:lnTo>
                    <a:pt x="51922" y="15932"/>
                  </a:lnTo>
                  <a:lnTo>
                    <a:pt x="45513" y="15932"/>
                  </a:lnTo>
                  <a:lnTo>
                    <a:pt x="28229" y="14635"/>
                  </a:lnTo>
                  <a:lnTo>
                    <a:pt x="1872" y="11607"/>
                  </a:lnTo>
                  <a:lnTo>
                    <a:pt x="864" y="11174"/>
                  </a:lnTo>
                  <a:lnTo>
                    <a:pt x="288" y="10165"/>
                  </a:lnTo>
                  <a:lnTo>
                    <a:pt x="0" y="6921"/>
                  </a:lnTo>
                  <a:lnTo>
                    <a:pt x="1224" y="360"/>
                  </a:lnTo>
                </a:path>
              </a:pathLst>
            </a:custGeom>
            <a:solidFill>
              <a:srgbClr val="ED1849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5C5C2E45-2295-6C9A-082C-FAAF100B61EC}"/>
                </a:ext>
              </a:extLst>
            </p:cNvPr>
            <p:cNvSpPr/>
            <p:nvPr/>
          </p:nvSpPr>
          <p:spPr>
            <a:xfrm>
              <a:off x="9671290" y="3456448"/>
              <a:ext cx="57754" cy="15644"/>
            </a:xfrm>
            <a:custGeom>
              <a:avLst/>
              <a:gdLst>
                <a:gd name="connsiteX0" fmla="*/ 7057 w 57754"/>
                <a:gd name="connsiteY0" fmla="*/ 0 h 15644"/>
                <a:gd name="connsiteX1" fmla="*/ 9794 w 57754"/>
                <a:gd name="connsiteY1" fmla="*/ 1658 h 15644"/>
                <a:gd name="connsiteX2" fmla="*/ 11522 w 57754"/>
                <a:gd name="connsiteY2" fmla="*/ 2667 h 15644"/>
                <a:gd name="connsiteX3" fmla="*/ 13467 w 57754"/>
                <a:gd name="connsiteY3" fmla="*/ 3172 h 15644"/>
                <a:gd name="connsiteX4" fmla="*/ 14835 w 57754"/>
                <a:gd name="connsiteY4" fmla="*/ 2884 h 15644"/>
                <a:gd name="connsiteX5" fmla="*/ 16419 w 57754"/>
                <a:gd name="connsiteY5" fmla="*/ 2163 h 15644"/>
                <a:gd name="connsiteX6" fmla="*/ 18003 w 57754"/>
                <a:gd name="connsiteY6" fmla="*/ 1370 h 15644"/>
                <a:gd name="connsiteX7" fmla="*/ 19588 w 57754"/>
                <a:gd name="connsiteY7" fmla="*/ 1009 h 15644"/>
                <a:gd name="connsiteX8" fmla="*/ 22324 w 57754"/>
                <a:gd name="connsiteY8" fmla="*/ 2019 h 15644"/>
                <a:gd name="connsiteX9" fmla="*/ 25277 w 57754"/>
                <a:gd name="connsiteY9" fmla="*/ 3028 h 15644"/>
                <a:gd name="connsiteX10" fmla="*/ 27725 w 57754"/>
                <a:gd name="connsiteY10" fmla="*/ 2235 h 15644"/>
                <a:gd name="connsiteX11" fmla="*/ 30246 w 57754"/>
                <a:gd name="connsiteY11" fmla="*/ 1514 h 15644"/>
                <a:gd name="connsiteX12" fmla="*/ 33198 w 57754"/>
                <a:gd name="connsiteY12" fmla="*/ 2595 h 15644"/>
                <a:gd name="connsiteX13" fmla="*/ 34638 w 57754"/>
                <a:gd name="connsiteY13" fmla="*/ 3172 h 15644"/>
                <a:gd name="connsiteX14" fmla="*/ 36079 w 57754"/>
                <a:gd name="connsiteY14" fmla="*/ 3172 h 15644"/>
                <a:gd name="connsiteX15" fmla="*/ 45224 w 57754"/>
                <a:gd name="connsiteY15" fmla="*/ 1947 h 15644"/>
                <a:gd name="connsiteX16" fmla="*/ 52210 w 57754"/>
                <a:gd name="connsiteY16" fmla="*/ 3100 h 15644"/>
                <a:gd name="connsiteX17" fmla="*/ 52642 w 57754"/>
                <a:gd name="connsiteY17" fmla="*/ 3388 h 15644"/>
                <a:gd name="connsiteX18" fmla="*/ 52858 w 57754"/>
                <a:gd name="connsiteY18" fmla="*/ 3749 h 15644"/>
                <a:gd name="connsiteX19" fmla="*/ 52642 w 57754"/>
                <a:gd name="connsiteY19" fmla="*/ 4614 h 15644"/>
                <a:gd name="connsiteX20" fmla="*/ 52354 w 57754"/>
                <a:gd name="connsiteY20" fmla="*/ 5551 h 15644"/>
                <a:gd name="connsiteX21" fmla="*/ 52642 w 57754"/>
                <a:gd name="connsiteY21" fmla="*/ 6416 h 15644"/>
                <a:gd name="connsiteX22" fmla="*/ 54370 w 57754"/>
                <a:gd name="connsiteY22" fmla="*/ 7426 h 15644"/>
                <a:gd name="connsiteX23" fmla="*/ 56315 w 57754"/>
                <a:gd name="connsiteY23" fmla="*/ 8219 h 15644"/>
                <a:gd name="connsiteX24" fmla="*/ 57107 w 57754"/>
                <a:gd name="connsiteY24" fmla="*/ 8795 h 15644"/>
                <a:gd name="connsiteX25" fmla="*/ 57611 w 57754"/>
                <a:gd name="connsiteY25" fmla="*/ 9660 h 15644"/>
                <a:gd name="connsiteX26" fmla="*/ 57755 w 57754"/>
                <a:gd name="connsiteY26" fmla="*/ 10958 h 15644"/>
                <a:gd name="connsiteX27" fmla="*/ 57395 w 57754"/>
                <a:gd name="connsiteY27" fmla="*/ 12760 h 15644"/>
                <a:gd name="connsiteX28" fmla="*/ 56819 w 57754"/>
                <a:gd name="connsiteY28" fmla="*/ 13626 h 15644"/>
                <a:gd name="connsiteX29" fmla="*/ 55522 w 57754"/>
                <a:gd name="connsiteY29" fmla="*/ 14346 h 15644"/>
                <a:gd name="connsiteX30" fmla="*/ 51562 w 57754"/>
                <a:gd name="connsiteY30" fmla="*/ 15212 h 15644"/>
                <a:gd name="connsiteX31" fmla="*/ 39031 w 57754"/>
                <a:gd name="connsiteY31" fmla="*/ 15644 h 15644"/>
                <a:gd name="connsiteX32" fmla="*/ 21100 w 57754"/>
                <a:gd name="connsiteY32" fmla="*/ 13337 h 15644"/>
                <a:gd name="connsiteX33" fmla="*/ 5545 w 57754"/>
                <a:gd name="connsiteY33" fmla="*/ 10453 h 15644"/>
                <a:gd name="connsiteX34" fmla="*/ 3241 w 57754"/>
                <a:gd name="connsiteY34" fmla="*/ 9516 h 15644"/>
                <a:gd name="connsiteX35" fmla="*/ 1512 w 57754"/>
                <a:gd name="connsiteY35" fmla="*/ 7426 h 15644"/>
                <a:gd name="connsiteX36" fmla="*/ 360 w 57754"/>
                <a:gd name="connsiteY36" fmla="*/ 4974 h 15644"/>
                <a:gd name="connsiteX37" fmla="*/ 0 w 57754"/>
                <a:gd name="connsiteY37" fmla="*/ 2812 h 15644"/>
                <a:gd name="connsiteX38" fmla="*/ 7057 w 57754"/>
                <a:gd name="connsiteY38" fmla="*/ 0 h 1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754" h="15644">
                  <a:moveTo>
                    <a:pt x="7057" y="0"/>
                  </a:moveTo>
                  <a:lnTo>
                    <a:pt x="9794" y="1658"/>
                  </a:lnTo>
                  <a:lnTo>
                    <a:pt x="11522" y="2667"/>
                  </a:lnTo>
                  <a:lnTo>
                    <a:pt x="13467" y="3172"/>
                  </a:lnTo>
                  <a:lnTo>
                    <a:pt x="14835" y="2884"/>
                  </a:lnTo>
                  <a:lnTo>
                    <a:pt x="16419" y="2163"/>
                  </a:lnTo>
                  <a:lnTo>
                    <a:pt x="18003" y="1370"/>
                  </a:lnTo>
                  <a:lnTo>
                    <a:pt x="19588" y="1009"/>
                  </a:lnTo>
                  <a:lnTo>
                    <a:pt x="22324" y="2019"/>
                  </a:lnTo>
                  <a:lnTo>
                    <a:pt x="25277" y="3028"/>
                  </a:lnTo>
                  <a:lnTo>
                    <a:pt x="27725" y="2235"/>
                  </a:lnTo>
                  <a:lnTo>
                    <a:pt x="30246" y="1514"/>
                  </a:lnTo>
                  <a:lnTo>
                    <a:pt x="33198" y="2595"/>
                  </a:lnTo>
                  <a:lnTo>
                    <a:pt x="34638" y="3172"/>
                  </a:lnTo>
                  <a:lnTo>
                    <a:pt x="36079" y="3172"/>
                  </a:lnTo>
                  <a:lnTo>
                    <a:pt x="45224" y="1947"/>
                  </a:lnTo>
                  <a:lnTo>
                    <a:pt x="52210" y="3100"/>
                  </a:lnTo>
                  <a:lnTo>
                    <a:pt x="52642" y="3388"/>
                  </a:lnTo>
                  <a:lnTo>
                    <a:pt x="52858" y="3749"/>
                  </a:lnTo>
                  <a:lnTo>
                    <a:pt x="52642" y="4614"/>
                  </a:lnTo>
                  <a:lnTo>
                    <a:pt x="52354" y="5551"/>
                  </a:lnTo>
                  <a:lnTo>
                    <a:pt x="52642" y="6416"/>
                  </a:lnTo>
                  <a:lnTo>
                    <a:pt x="54370" y="7426"/>
                  </a:lnTo>
                  <a:lnTo>
                    <a:pt x="56315" y="8219"/>
                  </a:lnTo>
                  <a:lnTo>
                    <a:pt x="57107" y="8795"/>
                  </a:lnTo>
                  <a:lnTo>
                    <a:pt x="57611" y="9660"/>
                  </a:lnTo>
                  <a:lnTo>
                    <a:pt x="57755" y="10958"/>
                  </a:lnTo>
                  <a:lnTo>
                    <a:pt x="57395" y="12760"/>
                  </a:lnTo>
                  <a:lnTo>
                    <a:pt x="56819" y="13626"/>
                  </a:lnTo>
                  <a:lnTo>
                    <a:pt x="55522" y="14346"/>
                  </a:lnTo>
                  <a:lnTo>
                    <a:pt x="51562" y="15212"/>
                  </a:lnTo>
                  <a:lnTo>
                    <a:pt x="39031" y="15644"/>
                  </a:lnTo>
                  <a:lnTo>
                    <a:pt x="21100" y="13337"/>
                  </a:lnTo>
                  <a:lnTo>
                    <a:pt x="5545" y="10453"/>
                  </a:lnTo>
                  <a:lnTo>
                    <a:pt x="3241" y="9516"/>
                  </a:lnTo>
                  <a:lnTo>
                    <a:pt x="1512" y="7426"/>
                  </a:lnTo>
                  <a:lnTo>
                    <a:pt x="360" y="4974"/>
                  </a:lnTo>
                  <a:lnTo>
                    <a:pt x="0" y="2812"/>
                  </a:lnTo>
                  <a:lnTo>
                    <a:pt x="705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DC5AD85E-114E-A5CA-E9E8-56B227FF180C}"/>
                </a:ext>
              </a:extLst>
            </p:cNvPr>
            <p:cNvSpPr/>
            <p:nvPr/>
          </p:nvSpPr>
          <p:spPr>
            <a:xfrm>
              <a:off x="9668481" y="3473390"/>
              <a:ext cx="59771" cy="17013"/>
            </a:xfrm>
            <a:custGeom>
              <a:avLst/>
              <a:gdLst>
                <a:gd name="connsiteX0" fmla="*/ 5617 w 59771"/>
                <a:gd name="connsiteY0" fmla="*/ 0 h 17013"/>
                <a:gd name="connsiteX1" fmla="*/ 10442 w 59771"/>
                <a:gd name="connsiteY1" fmla="*/ 1874 h 17013"/>
                <a:gd name="connsiteX2" fmla="*/ 12818 w 59771"/>
                <a:gd name="connsiteY2" fmla="*/ 2740 h 17013"/>
                <a:gd name="connsiteX3" fmla="*/ 15195 w 59771"/>
                <a:gd name="connsiteY3" fmla="*/ 2667 h 17013"/>
                <a:gd name="connsiteX4" fmla="*/ 36583 w 59771"/>
                <a:gd name="connsiteY4" fmla="*/ 1658 h 17013"/>
                <a:gd name="connsiteX5" fmla="*/ 45152 w 59771"/>
                <a:gd name="connsiteY5" fmla="*/ 2451 h 17013"/>
                <a:gd name="connsiteX6" fmla="*/ 51850 w 59771"/>
                <a:gd name="connsiteY6" fmla="*/ 4109 h 17013"/>
                <a:gd name="connsiteX7" fmla="*/ 54874 w 59771"/>
                <a:gd name="connsiteY7" fmla="*/ 4902 h 17013"/>
                <a:gd name="connsiteX8" fmla="*/ 56603 w 59771"/>
                <a:gd name="connsiteY8" fmla="*/ 5623 h 17013"/>
                <a:gd name="connsiteX9" fmla="*/ 57971 w 59771"/>
                <a:gd name="connsiteY9" fmla="*/ 6633 h 17013"/>
                <a:gd name="connsiteX10" fmla="*/ 59483 w 59771"/>
                <a:gd name="connsiteY10" fmla="*/ 9300 h 17013"/>
                <a:gd name="connsiteX11" fmla="*/ 59771 w 59771"/>
                <a:gd name="connsiteY11" fmla="*/ 11895 h 17013"/>
                <a:gd name="connsiteX12" fmla="*/ 59123 w 59771"/>
                <a:gd name="connsiteY12" fmla="*/ 14130 h 17013"/>
                <a:gd name="connsiteX13" fmla="*/ 57971 w 59771"/>
                <a:gd name="connsiteY13" fmla="*/ 15572 h 17013"/>
                <a:gd name="connsiteX14" fmla="*/ 57971 w 59771"/>
                <a:gd name="connsiteY14" fmla="*/ 17014 h 17013"/>
                <a:gd name="connsiteX15" fmla="*/ 37015 w 59771"/>
                <a:gd name="connsiteY15" fmla="*/ 16942 h 17013"/>
                <a:gd name="connsiteX16" fmla="*/ 30030 w 59771"/>
                <a:gd name="connsiteY16" fmla="*/ 17014 h 17013"/>
                <a:gd name="connsiteX17" fmla="*/ 23116 w 59771"/>
                <a:gd name="connsiteY17" fmla="*/ 16437 h 17013"/>
                <a:gd name="connsiteX18" fmla="*/ 16203 w 59771"/>
                <a:gd name="connsiteY18" fmla="*/ 15212 h 17013"/>
                <a:gd name="connsiteX19" fmla="*/ 10010 w 59771"/>
                <a:gd name="connsiteY19" fmla="*/ 14202 h 17013"/>
                <a:gd name="connsiteX20" fmla="*/ 5545 w 59771"/>
                <a:gd name="connsiteY20" fmla="*/ 13481 h 17013"/>
                <a:gd name="connsiteX21" fmla="*/ 3745 w 59771"/>
                <a:gd name="connsiteY21" fmla="*/ 13049 h 17013"/>
                <a:gd name="connsiteX22" fmla="*/ 2520 w 59771"/>
                <a:gd name="connsiteY22" fmla="*/ 11895 h 17013"/>
                <a:gd name="connsiteX23" fmla="*/ 792 w 59771"/>
                <a:gd name="connsiteY23" fmla="*/ 8219 h 17013"/>
                <a:gd name="connsiteX24" fmla="*/ 0 w 59771"/>
                <a:gd name="connsiteY24" fmla="*/ 4253 h 17013"/>
                <a:gd name="connsiteX25" fmla="*/ 5617 w 59771"/>
                <a:gd name="connsiteY25" fmla="*/ 0 h 17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9771" h="17013">
                  <a:moveTo>
                    <a:pt x="5617" y="0"/>
                  </a:moveTo>
                  <a:lnTo>
                    <a:pt x="10442" y="1874"/>
                  </a:lnTo>
                  <a:lnTo>
                    <a:pt x="12818" y="2740"/>
                  </a:lnTo>
                  <a:lnTo>
                    <a:pt x="15195" y="2667"/>
                  </a:lnTo>
                  <a:lnTo>
                    <a:pt x="36583" y="1658"/>
                  </a:lnTo>
                  <a:lnTo>
                    <a:pt x="45152" y="2451"/>
                  </a:lnTo>
                  <a:lnTo>
                    <a:pt x="51850" y="4109"/>
                  </a:lnTo>
                  <a:lnTo>
                    <a:pt x="54874" y="4902"/>
                  </a:lnTo>
                  <a:lnTo>
                    <a:pt x="56603" y="5623"/>
                  </a:lnTo>
                  <a:lnTo>
                    <a:pt x="57971" y="6633"/>
                  </a:lnTo>
                  <a:lnTo>
                    <a:pt x="59483" y="9300"/>
                  </a:lnTo>
                  <a:lnTo>
                    <a:pt x="59771" y="11895"/>
                  </a:lnTo>
                  <a:lnTo>
                    <a:pt x="59123" y="14130"/>
                  </a:lnTo>
                  <a:lnTo>
                    <a:pt x="57971" y="15572"/>
                  </a:lnTo>
                  <a:lnTo>
                    <a:pt x="57971" y="17014"/>
                  </a:lnTo>
                  <a:lnTo>
                    <a:pt x="37015" y="16942"/>
                  </a:lnTo>
                  <a:lnTo>
                    <a:pt x="30030" y="17014"/>
                  </a:lnTo>
                  <a:lnTo>
                    <a:pt x="23116" y="16437"/>
                  </a:lnTo>
                  <a:lnTo>
                    <a:pt x="16203" y="15212"/>
                  </a:lnTo>
                  <a:lnTo>
                    <a:pt x="10010" y="14202"/>
                  </a:lnTo>
                  <a:lnTo>
                    <a:pt x="5545" y="13481"/>
                  </a:lnTo>
                  <a:lnTo>
                    <a:pt x="3745" y="13049"/>
                  </a:lnTo>
                  <a:lnTo>
                    <a:pt x="2520" y="11895"/>
                  </a:lnTo>
                  <a:lnTo>
                    <a:pt x="792" y="8219"/>
                  </a:lnTo>
                  <a:lnTo>
                    <a:pt x="0" y="4253"/>
                  </a:lnTo>
                  <a:lnTo>
                    <a:pt x="561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467025E8-A039-C98B-4059-05FDF5CA57F6}"/>
                </a:ext>
              </a:extLst>
            </p:cNvPr>
            <p:cNvSpPr/>
            <p:nvPr/>
          </p:nvSpPr>
          <p:spPr>
            <a:xfrm>
              <a:off x="9668553" y="3498406"/>
              <a:ext cx="60779" cy="27899"/>
            </a:xfrm>
            <a:custGeom>
              <a:avLst/>
              <a:gdLst>
                <a:gd name="connsiteX0" fmla="*/ 7129 w 60779"/>
                <a:gd name="connsiteY0" fmla="*/ 0 h 27899"/>
                <a:gd name="connsiteX1" fmla="*/ 16635 w 60779"/>
                <a:gd name="connsiteY1" fmla="*/ 1226 h 27899"/>
                <a:gd name="connsiteX2" fmla="*/ 19804 w 60779"/>
                <a:gd name="connsiteY2" fmla="*/ 1586 h 27899"/>
                <a:gd name="connsiteX3" fmla="*/ 22540 w 60779"/>
                <a:gd name="connsiteY3" fmla="*/ 1081 h 27899"/>
                <a:gd name="connsiteX4" fmla="*/ 26213 w 60779"/>
                <a:gd name="connsiteY4" fmla="*/ 721 h 27899"/>
                <a:gd name="connsiteX5" fmla="*/ 31974 w 60779"/>
                <a:gd name="connsiteY5" fmla="*/ 1153 h 27899"/>
                <a:gd name="connsiteX6" fmla="*/ 40256 w 60779"/>
                <a:gd name="connsiteY6" fmla="*/ 1298 h 27899"/>
                <a:gd name="connsiteX7" fmla="*/ 48609 w 60779"/>
                <a:gd name="connsiteY7" fmla="*/ 865 h 27899"/>
                <a:gd name="connsiteX8" fmla="*/ 51490 w 60779"/>
                <a:gd name="connsiteY8" fmla="*/ 793 h 27899"/>
                <a:gd name="connsiteX9" fmla="*/ 53938 w 60779"/>
                <a:gd name="connsiteY9" fmla="*/ 1802 h 27899"/>
                <a:gd name="connsiteX10" fmla="*/ 58259 w 60779"/>
                <a:gd name="connsiteY10" fmla="*/ 5407 h 27899"/>
                <a:gd name="connsiteX11" fmla="*/ 59699 w 60779"/>
                <a:gd name="connsiteY11" fmla="*/ 7209 h 27899"/>
                <a:gd name="connsiteX12" fmla="*/ 60563 w 60779"/>
                <a:gd name="connsiteY12" fmla="*/ 9300 h 27899"/>
                <a:gd name="connsiteX13" fmla="*/ 60779 w 60779"/>
                <a:gd name="connsiteY13" fmla="*/ 11607 h 27899"/>
                <a:gd name="connsiteX14" fmla="*/ 60203 w 60779"/>
                <a:gd name="connsiteY14" fmla="*/ 13914 h 27899"/>
                <a:gd name="connsiteX15" fmla="*/ 57683 w 60779"/>
                <a:gd name="connsiteY15" fmla="*/ 20979 h 27899"/>
                <a:gd name="connsiteX16" fmla="*/ 56243 w 60779"/>
                <a:gd name="connsiteY16" fmla="*/ 24079 h 27899"/>
                <a:gd name="connsiteX17" fmla="*/ 54154 w 60779"/>
                <a:gd name="connsiteY17" fmla="*/ 26602 h 27899"/>
                <a:gd name="connsiteX18" fmla="*/ 52930 w 60779"/>
                <a:gd name="connsiteY18" fmla="*/ 27179 h 27899"/>
                <a:gd name="connsiteX19" fmla="*/ 51490 w 60779"/>
                <a:gd name="connsiteY19" fmla="*/ 27251 h 27899"/>
                <a:gd name="connsiteX20" fmla="*/ 47961 w 60779"/>
                <a:gd name="connsiteY20" fmla="*/ 26602 h 27899"/>
                <a:gd name="connsiteX21" fmla="*/ 44288 w 60779"/>
                <a:gd name="connsiteY21" fmla="*/ 25593 h 27899"/>
                <a:gd name="connsiteX22" fmla="*/ 41120 w 60779"/>
                <a:gd name="connsiteY22" fmla="*/ 25160 h 27899"/>
                <a:gd name="connsiteX23" fmla="*/ 38815 w 60779"/>
                <a:gd name="connsiteY23" fmla="*/ 25737 h 27899"/>
                <a:gd name="connsiteX24" fmla="*/ 36799 w 60779"/>
                <a:gd name="connsiteY24" fmla="*/ 26746 h 27899"/>
                <a:gd name="connsiteX25" fmla="*/ 34711 w 60779"/>
                <a:gd name="connsiteY25" fmla="*/ 27612 h 27899"/>
                <a:gd name="connsiteX26" fmla="*/ 32334 w 60779"/>
                <a:gd name="connsiteY26" fmla="*/ 27900 h 27899"/>
                <a:gd name="connsiteX27" fmla="*/ 25565 w 60779"/>
                <a:gd name="connsiteY27" fmla="*/ 26098 h 27899"/>
                <a:gd name="connsiteX28" fmla="*/ 21748 w 60779"/>
                <a:gd name="connsiteY28" fmla="*/ 25593 h 27899"/>
                <a:gd name="connsiteX29" fmla="*/ 17355 w 60779"/>
                <a:gd name="connsiteY29" fmla="*/ 26314 h 27899"/>
                <a:gd name="connsiteX30" fmla="*/ 16203 w 60779"/>
                <a:gd name="connsiteY30" fmla="*/ 26458 h 27899"/>
                <a:gd name="connsiteX31" fmla="*/ 15123 w 60779"/>
                <a:gd name="connsiteY31" fmla="*/ 25953 h 27899"/>
                <a:gd name="connsiteX32" fmla="*/ 13971 w 60779"/>
                <a:gd name="connsiteY32" fmla="*/ 25377 h 27899"/>
                <a:gd name="connsiteX33" fmla="*/ 12746 w 60779"/>
                <a:gd name="connsiteY33" fmla="*/ 25088 h 27899"/>
                <a:gd name="connsiteX34" fmla="*/ 10082 w 60779"/>
                <a:gd name="connsiteY34" fmla="*/ 25016 h 27899"/>
                <a:gd name="connsiteX35" fmla="*/ 9074 w 60779"/>
                <a:gd name="connsiteY35" fmla="*/ 24656 h 27899"/>
                <a:gd name="connsiteX36" fmla="*/ 8570 w 60779"/>
                <a:gd name="connsiteY36" fmla="*/ 24079 h 27899"/>
                <a:gd name="connsiteX37" fmla="*/ 5329 w 60779"/>
                <a:gd name="connsiteY37" fmla="*/ 19105 h 27899"/>
                <a:gd name="connsiteX38" fmla="*/ 1872 w 60779"/>
                <a:gd name="connsiteY38" fmla="*/ 14995 h 27899"/>
                <a:gd name="connsiteX39" fmla="*/ 432 w 60779"/>
                <a:gd name="connsiteY39" fmla="*/ 13121 h 27899"/>
                <a:gd name="connsiteX40" fmla="*/ 0 w 60779"/>
                <a:gd name="connsiteY40" fmla="*/ 10958 h 27899"/>
                <a:gd name="connsiteX41" fmla="*/ 792 w 60779"/>
                <a:gd name="connsiteY41" fmla="*/ 8363 h 27899"/>
                <a:gd name="connsiteX42" fmla="*/ 2664 w 60779"/>
                <a:gd name="connsiteY42" fmla="*/ 5623 h 27899"/>
                <a:gd name="connsiteX43" fmla="*/ 7129 w 60779"/>
                <a:gd name="connsiteY43" fmla="*/ 0 h 27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0779" h="27899">
                  <a:moveTo>
                    <a:pt x="7129" y="0"/>
                  </a:moveTo>
                  <a:lnTo>
                    <a:pt x="16635" y="1226"/>
                  </a:lnTo>
                  <a:lnTo>
                    <a:pt x="19804" y="1586"/>
                  </a:lnTo>
                  <a:lnTo>
                    <a:pt x="22540" y="1081"/>
                  </a:lnTo>
                  <a:lnTo>
                    <a:pt x="26213" y="721"/>
                  </a:lnTo>
                  <a:lnTo>
                    <a:pt x="31974" y="1153"/>
                  </a:lnTo>
                  <a:lnTo>
                    <a:pt x="40256" y="1298"/>
                  </a:lnTo>
                  <a:lnTo>
                    <a:pt x="48609" y="865"/>
                  </a:lnTo>
                  <a:lnTo>
                    <a:pt x="51490" y="793"/>
                  </a:lnTo>
                  <a:lnTo>
                    <a:pt x="53938" y="1802"/>
                  </a:lnTo>
                  <a:lnTo>
                    <a:pt x="58259" y="5407"/>
                  </a:lnTo>
                  <a:lnTo>
                    <a:pt x="59699" y="7209"/>
                  </a:lnTo>
                  <a:lnTo>
                    <a:pt x="60563" y="9300"/>
                  </a:lnTo>
                  <a:lnTo>
                    <a:pt x="60779" y="11607"/>
                  </a:lnTo>
                  <a:lnTo>
                    <a:pt x="60203" y="13914"/>
                  </a:lnTo>
                  <a:lnTo>
                    <a:pt x="57683" y="20979"/>
                  </a:lnTo>
                  <a:lnTo>
                    <a:pt x="56243" y="24079"/>
                  </a:lnTo>
                  <a:lnTo>
                    <a:pt x="54154" y="26602"/>
                  </a:lnTo>
                  <a:lnTo>
                    <a:pt x="52930" y="27179"/>
                  </a:lnTo>
                  <a:lnTo>
                    <a:pt x="51490" y="27251"/>
                  </a:lnTo>
                  <a:lnTo>
                    <a:pt x="47961" y="26602"/>
                  </a:lnTo>
                  <a:lnTo>
                    <a:pt x="44288" y="25593"/>
                  </a:lnTo>
                  <a:lnTo>
                    <a:pt x="41120" y="25160"/>
                  </a:lnTo>
                  <a:lnTo>
                    <a:pt x="38815" y="25737"/>
                  </a:lnTo>
                  <a:lnTo>
                    <a:pt x="36799" y="26746"/>
                  </a:lnTo>
                  <a:lnTo>
                    <a:pt x="34711" y="27612"/>
                  </a:lnTo>
                  <a:lnTo>
                    <a:pt x="32334" y="27900"/>
                  </a:lnTo>
                  <a:lnTo>
                    <a:pt x="25565" y="26098"/>
                  </a:lnTo>
                  <a:lnTo>
                    <a:pt x="21748" y="25593"/>
                  </a:lnTo>
                  <a:lnTo>
                    <a:pt x="17355" y="26314"/>
                  </a:lnTo>
                  <a:lnTo>
                    <a:pt x="16203" y="26458"/>
                  </a:lnTo>
                  <a:lnTo>
                    <a:pt x="15123" y="25953"/>
                  </a:lnTo>
                  <a:lnTo>
                    <a:pt x="13971" y="25377"/>
                  </a:lnTo>
                  <a:lnTo>
                    <a:pt x="12746" y="25088"/>
                  </a:lnTo>
                  <a:lnTo>
                    <a:pt x="10082" y="25016"/>
                  </a:lnTo>
                  <a:lnTo>
                    <a:pt x="9074" y="24656"/>
                  </a:lnTo>
                  <a:lnTo>
                    <a:pt x="8570" y="24079"/>
                  </a:lnTo>
                  <a:lnTo>
                    <a:pt x="5329" y="19105"/>
                  </a:lnTo>
                  <a:lnTo>
                    <a:pt x="1872" y="14995"/>
                  </a:lnTo>
                  <a:lnTo>
                    <a:pt x="432" y="13121"/>
                  </a:lnTo>
                  <a:lnTo>
                    <a:pt x="0" y="10958"/>
                  </a:lnTo>
                  <a:lnTo>
                    <a:pt x="792" y="8363"/>
                  </a:lnTo>
                  <a:lnTo>
                    <a:pt x="2664" y="5623"/>
                  </a:lnTo>
                  <a:lnTo>
                    <a:pt x="7129" y="0"/>
                  </a:lnTo>
                </a:path>
              </a:pathLst>
            </a:custGeom>
            <a:solidFill>
              <a:srgbClr val="A9218E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740954F5-1737-6C2C-9327-1DD984796A05}"/>
                </a:ext>
              </a:extLst>
            </p:cNvPr>
            <p:cNvSpPr/>
            <p:nvPr/>
          </p:nvSpPr>
          <p:spPr>
            <a:xfrm>
              <a:off x="9664305" y="3546780"/>
              <a:ext cx="69565" cy="39506"/>
            </a:xfrm>
            <a:custGeom>
              <a:avLst/>
              <a:gdLst>
                <a:gd name="connsiteX0" fmla="*/ 22180 w 69565"/>
                <a:gd name="connsiteY0" fmla="*/ 216 h 39506"/>
                <a:gd name="connsiteX1" fmla="*/ 25709 w 69565"/>
                <a:gd name="connsiteY1" fmla="*/ 0 h 39506"/>
                <a:gd name="connsiteX2" fmla="*/ 29238 w 69565"/>
                <a:gd name="connsiteY2" fmla="*/ 360 h 39506"/>
                <a:gd name="connsiteX3" fmla="*/ 49545 w 69565"/>
                <a:gd name="connsiteY3" fmla="*/ 2379 h 39506"/>
                <a:gd name="connsiteX4" fmla="*/ 55234 w 69565"/>
                <a:gd name="connsiteY4" fmla="*/ 3244 h 39506"/>
                <a:gd name="connsiteX5" fmla="*/ 60635 w 69565"/>
                <a:gd name="connsiteY5" fmla="*/ 4758 h 39506"/>
                <a:gd name="connsiteX6" fmla="*/ 63084 w 69565"/>
                <a:gd name="connsiteY6" fmla="*/ 6272 h 39506"/>
                <a:gd name="connsiteX7" fmla="*/ 65244 w 69565"/>
                <a:gd name="connsiteY7" fmla="*/ 8435 h 39506"/>
                <a:gd name="connsiteX8" fmla="*/ 67045 w 69565"/>
                <a:gd name="connsiteY8" fmla="*/ 11679 h 39506"/>
                <a:gd name="connsiteX9" fmla="*/ 68485 w 69565"/>
                <a:gd name="connsiteY9" fmla="*/ 16005 h 39506"/>
                <a:gd name="connsiteX10" fmla="*/ 69565 w 69565"/>
                <a:gd name="connsiteY10" fmla="*/ 23358 h 39506"/>
                <a:gd name="connsiteX11" fmla="*/ 69205 w 69565"/>
                <a:gd name="connsiteY11" fmla="*/ 27035 h 39506"/>
                <a:gd name="connsiteX12" fmla="*/ 67837 w 69565"/>
                <a:gd name="connsiteY12" fmla="*/ 30423 h 39506"/>
                <a:gd name="connsiteX13" fmla="*/ 65964 w 69565"/>
                <a:gd name="connsiteY13" fmla="*/ 32586 h 39506"/>
                <a:gd name="connsiteX14" fmla="*/ 63516 w 69565"/>
                <a:gd name="connsiteY14" fmla="*/ 34460 h 39506"/>
                <a:gd name="connsiteX15" fmla="*/ 56963 w 69565"/>
                <a:gd name="connsiteY15" fmla="*/ 37272 h 39506"/>
                <a:gd name="connsiteX16" fmla="*/ 39751 w 69565"/>
                <a:gd name="connsiteY16" fmla="*/ 39507 h 39506"/>
                <a:gd name="connsiteX17" fmla="*/ 34278 w 69565"/>
                <a:gd name="connsiteY17" fmla="*/ 38786 h 39506"/>
                <a:gd name="connsiteX18" fmla="*/ 29021 w 69565"/>
                <a:gd name="connsiteY18" fmla="*/ 37272 h 39506"/>
                <a:gd name="connsiteX19" fmla="*/ 23764 w 69565"/>
                <a:gd name="connsiteY19" fmla="*/ 35830 h 39506"/>
                <a:gd name="connsiteX20" fmla="*/ 18652 w 69565"/>
                <a:gd name="connsiteY20" fmla="*/ 35253 h 39506"/>
                <a:gd name="connsiteX21" fmla="*/ 11450 w 69565"/>
                <a:gd name="connsiteY21" fmla="*/ 34388 h 39506"/>
                <a:gd name="connsiteX22" fmla="*/ 6049 w 69565"/>
                <a:gd name="connsiteY22" fmla="*/ 31721 h 39506"/>
                <a:gd name="connsiteX23" fmla="*/ 2448 w 69565"/>
                <a:gd name="connsiteY23" fmla="*/ 27900 h 39506"/>
                <a:gd name="connsiteX24" fmla="*/ 504 w 69565"/>
                <a:gd name="connsiteY24" fmla="*/ 23574 h 39506"/>
                <a:gd name="connsiteX25" fmla="*/ 0 w 69565"/>
                <a:gd name="connsiteY25" fmla="*/ 18816 h 39506"/>
                <a:gd name="connsiteX26" fmla="*/ 1152 w 69565"/>
                <a:gd name="connsiteY26" fmla="*/ 14707 h 39506"/>
                <a:gd name="connsiteX27" fmla="*/ 3529 w 69565"/>
                <a:gd name="connsiteY27" fmla="*/ 11246 h 39506"/>
                <a:gd name="connsiteX28" fmla="*/ 6625 w 69565"/>
                <a:gd name="connsiteY28" fmla="*/ 8507 h 39506"/>
                <a:gd name="connsiteX29" fmla="*/ 13395 w 69565"/>
                <a:gd name="connsiteY29" fmla="*/ 4758 h 39506"/>
                <a:gd name="connsiteX30" fmla="*/ 18003 w 69565"/>
                <a:gd name="connsiteY30" fmla="*/ 3100 h 39506"/>
                <a:gd name="connsiteX31" fmla="*/ 19156 w 69565"/>
                <a:gd name="connsiteY31" fmla="*/ 2523 h 39506"/>
                <a:gd name="connsiteX32" fmla="*/ 19948 w 69565"/>
                <a:gd name="connsiteY32" fmla="*/ 1730 h 39506"/>
                <a:gd name="connsiteX33" fmla="*/ 20812 w 69565"/>
                <a:gd name="connsiteY33" fmla="*/ 865 h 39506"/>
                <a:gd name="connsiteX34" fmla="*/ 22180 w 69565"/>
                <a:gd name="connsiteY34" fmla="*/ 216 h 3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9565" h="39506">
                  <a:moveTo>
                    <a:pt x="22180" y="216"/>
                  </a:moveTo>
                  <a:lnTo>
                    <a:pt x="25709" y="0"/>
                  </a:lnTo>
                  <a:lnTo>
                    <a:pt x="29238" y="360"/>
                  </a:lnTo>
                  <a:lnTo>
                    <a:pt x="49545" y="2379"/>
                  </a:lnTo>
                  <a:lnTo>
                    <a:pt x="55234" y="3244"/>
                  </a:lnTo>
                  <a:lnTo>
                    <a:pt x="60635" y="4758"/>
                  </a:lnTo>
                  <a:lnTo>
                    <a:pt x="63084" y="6272"/>
                  </a:lnTo>
                  <a:lnTo>
                    <a:pt x="65244" y="8435"/>
                  </a:lnTo>
                  <a:lnTo>
                    <a:pt x="67045" y="11679"/>
                  </a:lnTo>
                  <a:lnTo>
                    <a:pt x="68485" y="16005"/>
                  </a:lnTo>
                  <a:lnTo>
                    <a:pt x="69565" y="23358"/>
                  </a:lnTo>
                  <a:lnTo>
                    <a:pt x="69205" y="27035"/>
                  </a:lnTo>
                  <a:lnTo>
                    <a:pt x="67837" y="30423"/>
                  </a:lnTo>
                  <a:lnTo>
                    <a:pt x="65964" y="32586"/>
                  </a:lnTo>
                  <a:lnTo>
                    <a:pt x="63516" y="34460"/>
                  </a:lnTo>
                  <a:lnTo>
                    <a:pt x="56963" y="37272"/>
                  </a:lnTo>
                  <a:lnTo>
                    <a:pt x="39751" y="39507"/>
                  </a:lnTo>
                  <a:lnTo>
                    <a:pt x="34278" y="38786"/>
                  </a:lnTo>
                  <a:lnTo>
                    <a:pt x="29021" y="37272"/>
                  </a:lnTo>
                  <a:lnTo>
                    <a:pt x="23764" y="35830"/>
                  </a:lnTo>
                  <a:lnTo>
                    <a:pt x="18652" y="35253"/>
                  </a:lnTo>
                  <a:lnTo>
                    <a:pt x="11450" y="34388"/>
                  </a:lnTo>
                  <a:lnTo>
                    <a:pt x="6049" y="31721"/>
                  </a:lnTo>
                  <a:lnTo>
                    <a:pt x="2448" y="27900"/>
                  </a:lnTo>
                  <a:lnTo>
                    <a:pt x="504" y="23574"/>
                  </a:lnTo>
                  <a:lnTo>
                    <a:pt x="0" y="18816"/>
                  </a:lnTo>
                  <a:lnTo>
                    <a:pt x="1152" y="14707"/>
                  </a:lnTo>
                  <a:lnTo>
                    <a:pt x="3529" y="11246"/>
                  </a:lnTo>
                  <a:lnTo>
                    <a:pt x="6625" y="8507"/>
                  </a:lnTo>
                  <a:lnTo>
                    <a:pt x="13395" y="4758"/>
                  </a:lnTo>
                  <a:lnTo>
                    <a:pt x="18003" y="3100"/>
                  </a:lnTo>
                  <a:lnTo>
                    <a:pt x="19156" y="2523"/>
                  </a:lnTo>
                  <a:lnTo>
                    <a:pt x="19948" y="1730"/>
                  </a:lnTo>
                  <a:lnTo>
                    <a:pt x="20812" y="865"/>
                  </a:lnTo>
                  <a:lnTo>
                    <a:pt x="22180" y="216"/>
                  </a:lnTo>
                </a:path>
              </a:pathLst>
            </a:custGeom>
            <a:solidFill>
              <a:srgbClr val="353D98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B62AB3C2-0490-10AB-95FA-106D0725E83D}"/>
                </a:ext>
              </a:extLst>
            </p:cNvPr>
            <p:cNvSpPr/>
            <p:nvPr/>
          </p:nvSpPr>
          <p:spPr>
            <a:xfrm>
              <a:off x="9669201" y="3603950"/>
              <a:ext cx="58186" cy="38137"/>
            </a:xfrm>
            <a:custGeom>
              <a:avLst/>
              <a:gdLst>
                <a:gd name="connsiteX0" fmla="*/ 32838 w 58186"/>
                <a:gd name="connsiteY0" fmla="*/ 0 h 38137"/>
                <a:gd name="connsiteX1" fmla="*/ 39463 w 58186"/>
                <a:gd name="connsiteY1" fmla="*/ 577 h 38137"/>
                <a:gd name="connsiteX2" fmla="*/ 46377 w 58186"/>
                <a:gd name="connsiteY2" fmla="*/ 3100 h 38137"/>
                <a:gd name="connsiteX3" fmla="*/ 48393 w 58186"/>
                <a:gd name="connsiteY3" fmla="*/ 5046 h 38137"/>
                <a:gd name="connsiteX4" fmla="*/ 50049 w 58186"/>
                <a:gd name="connsiteY4" fmla="*/ 6560 h 38137"/>
                <a:gd name="connsiteX5" fmla="*/ 53506 w 58186"/>
                <a:gd name="connsiteY5" fmla="*/ 7281 h 38137"/>
                <a:gd name="connsiteX6" fmla="*/ 55162 w 58186"/>
                <a:gd name="connsiteY6" fmla="*/ 7786 h 38137"/>
                <a:gd name="connsiteX7" fmla="*/ 56243 w 58186"/>
                <a:gd name="connsiteY7" fmla="*/ 8723 h 38137"/>
                <a:gd name="connsiteX8" fmla="*/ 58043 w 58186"/>
                <a:gd name="connsiteY8" fmla="*/ 16653 h 38137"/>
                <a:gd name="connsiteX9" fmla="*/ 58187 w 58186"/>
                <a:gd name="connsiteY9" fmla="*/ 21700 h 38137"/>
                <a:gd name="connsiteX10" fmla="*/ 57395 w 58186"/>
                <a:gd name="connsiteY10" fmla="*/ 25881 h 38137"/>
                <a:gd name="connsiteX11" fmla="*/ 55882 w 58186"/>
                <a:gd name="connsiteY11" fmla="*/ 28477 h 38137"/>
                <a:gd name="connsiteX12" fmla="*/ 53722 w 58186"/>
                <a:gd name="connsiteY12" fmla="*/ 30784 h 38137"/>
                <a:gd name="connsiteX13" fmla="*/ 48033 w 58186"/>
                <a:gd name="connsiteY13" fmla="*/ 34388 h 38137"/>
                <a:gd name="connsiteX14" fmla="*/ 40904 w 58186"/>
                <a:gd name="connsiteY14" fmla="*/ 36767 h 38137"/>
                <a:gd name="connsiteX15" fmla="*/ 32910 w 58186"/>
                <a:gd name="connsiteY15" fmla="*/ 37993 h 38137"/>
                <a:gd name="connsiteX16" fmla="*/ 24701 w 58186"/>
                <a:gd name="connsiteY16" fmla="*/ 38137 h 38137"/>
                <a:gd name="connsiteX17" fmla="*/ 16851 w 58186"/>
                <a:gd name="connsiteY17" fmla="*/ 37200 h 38137"/>
                <a:gd name="connsiteX18" fmla="*/ 9938 w 58186"/>
                <a:gd name="connsiteY18" fmla="*/ 35398 h 38137"/>
                <a:gd name="connsiteX19" fmla="*/ 4681 w 58186"/>
                <a:gd name="connsiteY19" fmla="*/ 32730 h 38137"/>
                <a:gd name="connsiteX20" fmla="*/ 3025 w 58186"/>
                <a:gd name="connsiteY20" fmla="*/ 31144 h 38137"/>
                <a:gd name="connsiteX21" fmla="*/ 1872 w 58186"/>
                <a:gd name="connsiteY21" fmla="*/ 29270 h 38137"/>
                <a:gd name="connsiteX22" fmla="*/ 432 w 58186"/>
                <a:gd name="connsiteY22" fmla="*/ 25016 h 38137"/>
                <a:gd name="connsiteX23" fmla="*/ 0 w 58186"/>
                <a:gd name="connsiteY23" fmla="*/ 20330 h 38137"/>
                <a:gd name="connsiteX24" fmla="*/ 936 w 58186"/>
                <a:gd name="connsiteY24" fmla="*/ 16221 h 38137"/>
                <a:gd name="connsiteX25" fmla="*/ 3097 w 58186"/>
                <a:gd name="connsiteY25" fmla="*/ 12688 h 38137"/>
                <a:gd name="connsiteX26" fmla="*/ 5977 w 58186"/>
                <a:gd name="connsiteY26" fmla="*/ 9733 h 38137"/>
                <a:gd name="connsiteX27" fmla="*/ 13106 w 58186"/>
                <a:gd name="connsiteY27" fmla="*/ 5623 h 38137"/>
                <a:gd name="connsiteX28" fmla="*/ 19732 w 58186"/>
                <a:gd name="connsiteY28" fmla="*/ 3821 h 38137"/>
                <a:gd name="connsiteX29" fmla="*/ 26429 w 58186"/>
                <a:gd name="connsiteY29" fmla="*/ 1802 h 38137"/>
                <a:gd name="connsiteX30" fmla="*/ 32838 w 58186"/>
                <a:gd name="connsiteY30" fmla="*/ 0 h 3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8186" h="38137">
                  <a:moveTo>
                    <a:pt x="32838" y="0"/>
                  </a:moveTo>
                  <a:lnTo>
                    <a:pt x="39463" y="577"/>
                  </a:lnTo>
                  <a:lnTo>
                    <a:pt x="46377" y="3100"/>
                  </a:lnTo>
                  <a:lnTo>
                    <a:pt x="48393" y="5046"/>
                  </a:lnTo>
                  <a:lnTo>
                    <a:pt x="50049" y="6560"/>
                  </a:lnTo>
                  <a:lnTo>
                    <a:pt x="53506" y="7281"/>
                  </a:lnTo>
                  <a:lnTo>
                    <a:pt x="55162" y="7786"/>
                  </a:lnTo>
                  <a:lnTo>
                    <a:pt x="56243" y="8723"/>
                  </a:lnTo>
                  <a:lnTo>
                    <a:pt x="58043" y="16653"/>
                  </a:lnTo>
                  <a:lnTo>
                    <a:pt x="58187" y="21700"/>
                  </a:lnTo>
                  <a:lnTo>
                    <a:pt x="57395" y="25881"/>
                  </a:lnTo>
                  <a:lnTo>
                    <a:pt x="55882" y="28477"/>
                  </a:lnTo>
                  <a:lnTo>
                    <a:pt x="53722" y="30784"/>
                  </a:lnTo>
                  <a:lnTo>
                    <a:pt x="48033" y="34388"/>
                  </a:lnTo>
                  <a:lnTo>
                    <a:pt x="40904" y="36767"/>
                  </a:lnTo>
                  <a:lnTo>
                    <a:pt x="32910" y="37993"/>
                  </a:lnTo>
                  <a:lnTo>
                    <a:pt x="24701" y="38137"/>
                  </a:lnTo>
                  <a:lnTo>
                    <a:pt x="16851" y="37200"/>
                  </a:lnTo>
                  <a:lnTo>
                    <a:pt x="9938" y="35398"/>
                  </a:lnTo>
                  <a:lnTo>
                    <a:pt x="4681" y="32730"/>
                  </a:lnTo>
                  <a:lnTo>
                    <a:pt x="3025" y="31144"/>
                  </a:lnTo>
                  <a:lnTo>
                    <a:pt x="1872" y="29270"/>
                  </a:lnTo>
                  <a:lnTo>
                    <a:pt x="432" y="25016"/>
                  </a:lnTo>
                  <a:lnTo>
                    <a:pt x="0" y="20330"/>
                  </a:lnTo>
                  <a:lnTo>
                    <a:pt x="936" y="16221"/>
                  </a:lnTo>
                  <a:lnTo>
                    <a:pt x="3097" y="12688"/>
                  </a:lnTo>
                  <a:lnTo>
                    <a:pt x="5977" y="9733"/>
                  </a:lnTo>
                  <a:lnTo>
                    <a:pt x="13106" y="5623"/>
                  </a:lnTo>
                  <a:lnTo>
                    <a:pt x="19732" y="3821"/>
                  </a:lnTo>
                  <a:lnTo>
                    <a:pt x="26429" y="1802"/>
                  </a:lnTo>
                  <a:lnTo>
                    <a:pt x="32838" y="0"/>
                  </a:lnTo>
                </a:path>
              </a:pathLst>
            </a:custGeom>
            <a:solidFill>
              <a:srgbClr val="002E56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9017306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Resear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hape&#10;&#10;Description automatically generated">
            <a:extLst>
              <a:ext uri="{FF2B5EF4-FFF2-40B4-BE49-F238E27FC236}">
                <a16:creationId xmlns:a16="http://schemas.microsoft.com/office/drawing/2014/main" xmlns="" id="{DC9B6711-B85C-B138-F556-3B6FEFA539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30269DC-591D-B944-A479-80E360E756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4404" y="3834884"/>
            <a:ext cx="5133724" cy="658717"/>
          </a:xfrm>
        </p:spPr>
        <p:txBody>
          <a:bodyPr lIns="91440" tIns="45720" rIns="91440" bIns="45720">
            <a:noAutofit/>
          </a:bodyPr>
          <a:lstStyle>
            <a:lvl1pPr marL="0" indent="0" algn="r">
              <a:buNone/>
              <a:defRPr sz="2400" b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(Arial 24pt)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2F7201-0FDA-CE47-A9F3-7594A2B9A9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4404" y="2574295"/>
            <a:ext cx="5133724" cy="1237410"/>
          </a:xfrm>
        </p:spPr>
        <p:txBody>
          <a:bodyPr lIns="91440" tIns="45720" rIns="91440" bIns="45720" anchor="b">
            <a:noAutofit/>
          </a:bodyPr>
          <a:lstStyle>
            <a:lvl1pPr algn="r">
              <a:defRPr sz="4000" b="0" i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40pt)</a:t>
            </a:r>
            <a:endParaRPr lang="x-none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83688985-54CA-8EFE-1EAA-9D3E5B4B6889}"/>
              </a:ext>
            </a:extLst>
          </p:cNvPr>
          <p:cNvGrpSpPr/>
          <p:nvPr userDrawn="1"/>
        </p:nvGrpSpPr>
        <p:grpSpPr>
          <a:xfrm>
            <a:off x="9387557" y="3323005"/>
            <a:ext cx="2184530" cy="319082"/>
            <a:chOff x="9387557" y="3323005"/>
            <a:chExt cx="2184530" cy="319082"/>
          </a:xfrm>
        </p:grpSpPr>
        <p:grpSp>
          <p:nvGrpSpPr>
            <p:cNvPr id="8" name="Picture 7">
              <a:extLst>
                <a:ext uri="{FF2B5EF4-FFF2-40B4-BE49-F238E27FC236}">
                  <a16:creationId xmlns:a16="http://schemas.microsoft.com/office/drawing/2014/main" xmlns="" id="{5EA67CC4-08B1-8FBE-C341-4AD8945CA5F7}"/>
                </a:ext>
              </a:extLst>
            </p:cNvPr>
            <p:cNvGrpSpPr/>
            <p:nvPr/>
          </p:nvGrpSpPr>
          <p:grpSpPr>
            <a:xfrm>
              <a:off x="9387557" y="3323005"/>
              <a:ext cx="2184530" cy="314756"/>
              <a:chOff x="9387557" y="3323005"/>
              <a:chExt cx="2184530" cy="314756"/>
            </a:xfrm>
            <a:solidFill>
              <a:srgbClr val="28509C"/>
            </a:solidFill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33AEC5C0-F8BC-94CF-0120-99A60268D3C3}"/>
                  </a:ext>
                </a:extLst>
              </p:cNvPr>
              <p:cNvSpPr/>
              <p:nvPr/>
            </p:nvSpPr>
            <p:spPr>
              <a:xfrm>
                <a:off x="10500022" y="3323005"/>
                <a:ext cx="270122" cy="308340"/>
              </a:xfrm>
              <a:custGeom>
                <a:avLst/>
                <a:gdLst>
                  <a:gd name="connsiteX0" fmla="*/ 135025 w 270122"/>
                  <a:gd name="connsiteY0" fmla="*/ 0 h 308340"/>
                  <a:gd name="connsiteX1" fmla="*/ 0 w 270122"/>
                  <a:gd name="connsiteY1" fmla="*/ 308341 h 308340"/>
                  <a:gd name="connsiteX2" fmla="*/ 28949 w 270122"/>
                  <a:gd name="connsiteY2" fmla="*/ 308341 h 308340"/>
                  <a:gd name="connsiteX3" fmla="*/ 76262 w 270122"/>
                  <a:gd name="connsiteY3" fmla="*/ 200274 h 308340"/>
                  <a:gd name="connsiteX4" fmla="*/ 193933 w 270122"/>
                  <a:gd name="connsiteY4" fmla="*/ 200274 h 308340"/>
                  <a:gd name="connsiteX5" fmla="*/ 241533 w 270122"/>
                  <a:gd name="connsiteY5" fmla="*/ 308341 h 308340"/>
                  <a:gd name="connsiteX6" fmla="*/ 270123 w 270122"/>
                  <a:gd name="connsiteY6" fmla="*/ 308341 h 308340"/>
                  <a:gd name="connsiteX7" fmla="*/ 135025 w 270122"/>
                  <a:gd name="connsiteY7" fmla="*/ 0 h 308340"/>
                  <a:gd name="connsiteX8" fmla="*/ 87640 w 270122"/>
                  <a:gd name="connsiteY8" fmla="*/ 174104 h 308340"/>
                  <a:gd name="connsiteX9" fmla="*/ 134809 w 270122"/>
                  <a:gd name="connsiteY9" fmla="*/ 66181 h 308340"/>
                  <a:gd name="connsiteX10" fmla="*/ 182338 w 270122"/>
                  <a:gd name="connsiteY10" fmla="*/ 174104 h 308340"/>
                  <a:gd name="connsiteX11" fmla="*/ 87568 w 270122"/>
                  <a:gd name="connsiteY11" fmla="*/ 174104 h 30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0122" h="308340">
                    <a:moveTo>
                      <a:pt x="135025" y="0"/>
                    </a:moveTo>
                    <a:lnTo>
                      <a:pt x="0" y="308341"/>
                    </a:lnTo>
                    <a:lnTo>
                      <a:pt x="28949" y="308341"/>
                    </a:lnTo>
                    <a:lnTo>
                      <a:pt x="76262" y="200274"/>
                    </a:lnTo>
                    <a:lnTo>
                      <a:pt x="193933" y="200274"/>
                    </a:lnTo>
                    <a:lnTo>
                      <a:pt x="241533" y="308341"/>
                    </a:lnTo>
                    <a:lnTo>
                      <a:pt x="270123" y="308341"/>
                    </a:lnTo>
                    <a:lnTo>
                      <a:pt x="135025" y="0"/>
                    </a:lnTo>
                    <a:close/>
                    <a:moveTo>
                      <a:pt x="87640" y="174104"/>
                    </a:moveTo>
                    <a:lnTo>
                      <a:pt x="134809" y="66181"/>
                    </a:lnTo>
                    <a:lnTo>
                      <a:pt x="182338" y="174104"/>
                    </a:lnTo>
                    <a:lnTo>
                      <a:pt x="87568" y="174104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xmlns="" id="{6F08E3C3-7491-1CED-8493-10AD0143444F}"/>
                  </a:ext>
                </a:extLst>
              </p:cNvPr>
              <p:cNvSpPr/>
              <p:nvPr/>
            </p:nvSpPr>
            <p:spPr>
              <a:xfrm>
                <a:off x="11126107" y="3329421"/>
                <a:ext cx="26140" cy="301852"/>
              </a:xfrm>
              <a:custGeom>
                <a:avLst/>
                <a:gdLst>
                  <a:gd name="connsiteX0" fmla="*/ 0 w 26140"/>
                  <a:gd name="connsiteY0" fmla="*/ 0 h 301852"/>
                  <a:gd name="connsiteX1" fmla="*/ 26141 w 26140"/>
                  <a:gd name="connsiteY1" fmla="*/ 0 h 301852"/>
                  <a:gd name="connsiteX2" fmla="*/ 26141 w 26140"/>
                  <a:gd name="connsiteY2" fmla="*/ 301852 h 301852"/>
                  <a:gd name="connsiteX3" fmla="*/ 0 w 26140"/>
                  <a:gd name="connsiteY3" fmla="*/ 301852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40" h="301852">
                    <a:moveTo>
                      <a:pt x="0" y="0"/>
                    </a:moveTo>
                    <a:lnTo>
                      <a:pt x="26141" y="0"/>
                    </a:lnTo>
                    <a:lnTo>
                      <a:pt x="26141" y="301852"/>
                    </a:lnTo>
                    <a:lnTo>
                      <a:pt x="0" y="30185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59421314-773B-916D-68D4-DD93E2C9794D}"/>
                  </a:ext>
                </a:extLst>
              </p:cNvPr>
              <p:cNvSpPr/>
              <p:nvPr/>
            </p:nvSpPr>
            <p:spPr>
              <a:xfrm>
                <a:off x="10168471" y="3323509"/>
                <a:ext cx="276820" cy="307763"/>
              </a:xfrm>
              <a:custGeom>
                <a:avLst/>
                <a:gdLst>
                  <a:gd name="connsiteX0" fmla="*/ 137762 w 276820"/>
                  <a:gd name="connsiteY0" fmla="*/ 139139 h 307763"/>
                  <a:gd name="connsiteX1" fmla="*/ 0 w 276820"/>
                  <a:gd name="connsiteY1" fmla="*/ 144 h 307763"/>
                  <a:gd name="connsiteX2" fmla="*/ 144 w 276820"/>
                  <a:gd name="connsiteY2" fmla="*/ 307764 h 307763"/>
                  <a:gd name="connsiteX3" fmla="*/ 26285 w 276820"/>
                  <a:gd name="connsiteY3" fmla="*/ 307764 h 307763"/>
                  <a:gd name="connsiteX4" fmla="*/ 26285 w 276820"/>
                  <a:gd name="connsiteY4" fmla="*/ 63946 h 307763"/>
                  <a:gd name="connsiteX5" fmla="*/ 137474 w 276820"/>
                  <a:gd name="connsiteY5" fmla="*/ 176555 h 307763"/>
                  <a:gd name="connsiteX6" fmla="*/ 250679 w 276820"/>
                  <a:gd name="connsiteY6" fmla="*/ 63370 h 307763"/>
                  <a:gd name="connsiteX7" fmla="*/ 250679 w 276820"/>
                  <a:gd name="connsiteY7" fmla="*/ 307764 h 307763"/>
                  <a:gd name="connsiteX8" fmla="*/ 276820 w 276820"/>
                  <a:gd name="connsiteY8" fmla="*/ 307764 h 307763"/>
                  <a:gd name="connsiteX9" fmla="*/ 276820 w 276820"/>
                  <a:gd name="connsiteY9" fmla="*/ 0 h 307763"/>
                  <a:gd name="connsiteX10" fmla="*/ 137762 w 276820"/>
                  <a:gd name="connsiteY10" fmla="*/ 139139 h 30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6820" h="307763">
                    <a:moveTo>
                      <a:pt x="137762" y="139139"/>
                    </a:moveTo>
                    <a:lnTo>
                      <a:pt x="0" y="144"/>
                    </a:lnTo>
                    <a:lnTo>
                      <a:pt x="144" y="307764"/>
                    </a:lnTo>
                    <a:lnTo>
                      <a:pt x="26285" y="307764"/>
                    </a:lnTo>
                    <a:lnTo>
                      <a:pt x="26285" y="63946"/>
                    </a:lnTo>
                    <a:lnTo>
                      <a:pt x="137474" y="176555"/>
                    </a:lnTo>
                    <a:lnTo>
                      <a:pt x="250679" y="63370"/>
                    </a:lnTo>
                    <a:lnTo>
                      <a:pt x="250679" y="307764"/>
                    </a:lnTo>
                    <a:lnTo>
                      <a:pt x="276820" y="307764"/>
                    </a:lnTo>
                    <a:lnTo>
                      <a:pt x="276820" y="0"/>
                    </a:lnTo>
                    <a:lnTo>
                      <a:pt x="137762" y="13913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587D3FA5-10F6-17B5-9563-6DD89A6B4ECC}"/>
                  </a:ext>
                </a:extLst>
              </p:cNvPr>
              <p:cNvSpPr/>
              <p:nvPr/>
            </p:nvSpPr>
            <p:spPr>
              <a:xfrm>
                <a:off x="11259260" y="3324302"/>
                <a:ext cx="228210" cy="313459"/>
              </a:xfrm>
              <a:custGeom>
                <a:avLst/>
                <a:gdLst>
                  <a:gd name="connsiteX0" fmla="*/ 201998 w 228210"/>
                  <a:gd name="connsiteY0" fmla="*/ 5119 h 313459"/>
                  <a:gd name="connsiteX1" fmla="*/ 201998 w 228210"/>
                  <a:gd name="connsiteY1" fmla="*/ 240213 h 313459"/>
                  <a:gd name="connsiteX2" fmla="*/ 0 w 228210"/>
                  <a:gd name="connsiteY2" fmla="*/ 0 h 313459"/>
                  <a:gd name="connsiteX3" fmla="*/ 0 w 228210"/>
                  <a:gd name="connsiteY3" fmla="*/ 41814 h 313459"/>
                  <a:gd name="connsiteX4" fmla="*/ 0 w 228210"/>
                  <a:gd name="connsiteY4" fmla="*/ 306971 h 313459"/>
                  <a:gd name="connsiteX5" fmla="*/ 26141 w 228210"/>
                  <a:gd name="connsiteY5" fmla="*/ 306971 h 313459"/>
                  <a:gd name="connsiteX6" fmla="*/ 26141 w 228210"/>
                  <a:gd name="connsiteY6" fmla="*/ 72958 h 313459"/>
                  <a:gd name="connsiteX7" fmla="*/ 228211 w 228210"/>
                  <a:gd name="connsiteY7" fmla="*/ 313459 h 313459"/>
                  <a:gd name="connsiteX8" fmla="*/ 228211 w 228210"/>
                  <a:gd name="connsiteY8" fmla="*/ 5119 h 313459"/>
                  <a:gd name="connsiteX9" fmla="*/ 201998 w 228210"/>
                  <a:gd name="connsiteY9" fmla="*/ 5119 h 31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210" h="313459">
                    <a:moveTo>
                      <a:pt x="201998" y="5119"/>
                    </a:moveTo>
                    <a:lnTo>
                      <a:pt x="201998" y="240213"/>
                    </a:lnTo>
                    <a:lnTo>
                      <a:pt x="0" y="0"/>
                    </a:lnTo>
                    <a:lnTo>
                      <a:pt x="0" y="41814"/>
                    </a:lnTo>
                    <a:lnTo>
                      <a:pt x="0" y="306971"/>
                    </a:lnTo>
                    <a:lnTo>
                      <a:pt x="26141" y="306971"/>
                    </a:lnTo>
                    <a:lnTo>
                      <a:pt x="26141" y="72958"/>
                    </a:lnTo>
                    <a:lnTo>
                      <a:pt x="228211" y="313459"/>
                    </a:lnTo>
                    <a:lnTo>
                      <a:pt x="228211" y="5119"/>
                    </a:lnTo>
                    <a:lnTo>
                      <a:pt x="201998" y="511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68626036-DFE0-3D74-9E69-225D3BAACE33}"/>
                  </a:ext>
                </a:extLst>
              </p:cNvPr>
              <p:cNvSpPr/>
              <p:nvPr/>
            </p:nvSpPr>
            <p:spPr>
              <a:xfrm>
                <a:off x="10827179" y="3329637"/>
                <a:ext cx="218993" cy="301780"/>
              </a:xfrm>
              <a:custGeom>
                <a:avLst/>
                <a:gdLst>
                  <a:gd name="connsiteX0" fmla="*/ 189468 w 218993"/>
                  <a:gd name="connsiteY0" fmla="*/ 301780 h 301780"/>
                  <a:gd name="connsiteX1" fmla="*/ 218993 w 218993"/>
                  <a:gd name="connsiteY1" fmla="*/ 301780 h 301780"/>
                  <a:gd name="connsiteX2" fmla="*/ 146692 w 218993"/>
                  <a:gd name="connsiteY2" fmla="*/ 160478 h 301780"/>
                  <a:gd name="connsiteX3" fmla="*/ 206319 w 218993"/>
                  <a:gd name="connsiteY3" fmla="*/ 89467 h 301780"/>
                  <a:gd name="connsiteX4" fmla="*/ 206391 w 218993"/>
                  <a:gd name="connsiteY4" fmla="*/ 89467 h 301780"/>
                  <a:gd name="connsiteX5" fmla="*/ 206391 w 218993"/>
                  <a:gd name="connsiteY5" fmla="*/ 87809 h 301780"/>
                  <a:gd name="connsiteX6" fmla="*/ 206679 w 218993"/>
                  <a:gd name="connsiteY6" fmla="*/ 82979 h 301780"/>
                  <a:gd name="connsiteX7" fmla="*/ 206391 w 218993"/>
                  <a:gd name="connsiteY7" fmla="*/ 82979 h 301780"/>
                  <a:gd name="connsiteX8" fmla="*/ 206391 w 218993"/>
                  <a:gd name="connsiteY8" fmla="*/ 80167 h 301780"/>
                  <a:gd name="connsiteX9" fmla="*/ 206679 w 218993"/>
                  <a:gd name="connsiteY9" fmla="*/ 80167 h 301780"/>
                  <a:gd name="connsiteX10" fmla="*/ 206391 w 218993"/>
                  <a:gd name="connsiteY10" fmla="*/ 75265 h 301780"/>
                  <a:gd name="connsiteX11" fmla="*/ 206391 w 218993"/>
                  <a:gd name="connsiteY11" fmla="*/ 75265 h 301780"/>
                  <a:gd name="connsiteX12" fmla="*/ 126600 w 218993"/>
                  <a:gd name="connsiteY12" fmla="*/ 0 h 301780"/>
                  <a:gd name="connsiteX13" fmla="*/ 0 w 218993"/>
                  <a:gd name="connsiteY13" fmla="*/ 0 h 301780"/>
                  <a:gd name="connsiteX14" fmla="*/ 0 w 218993"/>
                  <a:gd name="connsiteY14" fmla="*/ 301708 h 301780"/>
                  <a:gd name="connsiteX15" fmla="*/ 26141 w 218993"/>
                  <a:gd name="connsiteY15" fmla="*/ 301708 h 301780"/>
                  <a:gd name="connsiteX16" fmla="*/ 26141 w 218993"/>
                  <a:gd name="connsiteY16" fmla="*/ 163002 h 301780"/>
                  <a:gd name="connsiteX17" fmla="*/ 118390 w 218993"/>
                  <a:gd name="connsiteY17" fmla="*/ 163002 h 301780"/>
                  <a:gd name="connsiteX18" fmla="*/ 189468 w 218993"/>
                  <a:gd name="connsiteY18" fmla="*/ 301780 h 301780"/>
                  <a:gd name="connsiteX19" fmla="*/ 26141 w 218993"/>
                  <a:gd name="connsiteY19" fmla="*/ 26242 h 301780"/>
                  <a:gd name="connsiteX20" fmla="*/ 126600 w 218993"/>
                  <a:gd name="connsiteY20" fmla="*/ 26242 h 301780"/>
                  <a:gd name="connsiteX21" fmla="*/ 180250 w 218993"/>
                  <a:gd name="connsiteY21" fmla="*/ 79014 h 301780"/>
                  <a:gd name="connsiteX22" fmla="*/ 180250 w 218993"/>
                  <a:gd name="connsiteY22" fmla="*/ 83988 h 301780"/>
                  <a:gd name="connsiteX23" fmla="*/ 126600 w 218993"/>
                  <a:gd name="connsiteY23" fmla="*/ 136688 h 301780"/>
                  <a:gd name="connsiteX24" fmla="*/ 126600 w 218993"/>
                  <a:gd name="connsiteY24" fmla="*/ 136688 h 301780"/>
                  <a:gd name="connsiteX25" fmla="*/ 26141 w 218993"/>
                  <a:gd name="connsiteY25" fmla="*/ 136760 h 301780"/>
                  <a:gd name="connsiteX26" fmla="*/ 26141 w 218993"/>
                  <a:gd name="connsiteY26" fmla="*/ 26242 h 301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8993" h="301780">
                    <a:moveTo>
                      <a:pt x="189468" y="301780"/>
                    </a:moveTo>
                    <a:lnTo>
                      <a:pt x="218993" y="301780"/>
                    </a:lnTo>
                    <a:cubicBezTo>
                      <a:pt x="218993" y="301780"/>
                      <a:pt x="146692" y="160478"/>
                      <a:pt x="146692" y="160478"/>
                    </a:cubicBezTo>
                    <a:cubicBezTo>
                      <a:pt x="179098" y="152044"/>
                      <a:pt x="203582" y="123855"/>
                      <a:pt x="206319" y="89467"/>
                    </a:cubicBezTo>
                    <a:lnTo>
                      <a:pt x="206391" y="89467"/>
                    </a:lnTo>
                    <a:lnTo>
                      <a:pt x="206391" y="87809"/>
                    </a:lnTo>
                    <a:cubicBezTo>
                      <a:pt x="206463" y="86223"/>
                      <a:pt x="206679" y="84565"/>
                      <a:pt x="206679" y="82979"/>
                    </a:cubicBezTo>
                    <a:lnTo>
                      <a:pt x="206391" y="82979"/>
                    </a:lnTo>
                    <a:lnTo>
                      <a:pt x="206391" y="80167"/>
                    </a:lnTo>
                    <a:lnTo>
                      <a:pt x="206679" y="80167"/>
                    </a:lnTo>
                    <a:cubicBezTo>
                      <a:pt x="206679" y="78509"/>
                      <a:pt x="206535" y="76923"/>
                      <a:pt x="206391" y="75265"/>
                    </a:cubicBezTo>
                    <a:lnTo>
                      <a:pt x="206391" y="75265"/>
                    </a:lnTo>
                    <a:cubicBezTo>
                      <a:pt x="203798" y="33235"/>
                      <a:pt x="169160" y="0"/>
                      <a:pt x="126600" y="0"/>
                    </a:cubicBezTo>
                    <a:lnTo>
                      <a:pt x="0" y="0"/>
                    </a:lnTo>
                    <a:lnTo>
                      <a:pt x="0" y="301708"/>
                    </a:lnTo>
                    <a:lnTo>
                      <a:pt x="26141" y="301708"/>
                    </a:lnTo>
                    <a:lnTo>
                      <a:pt x="26141" y="163002"/>
                    </a:lnTo>
                    <a:lnTo>
                      <a:pt x="118390" y="163002"/>
                    </a:lnTo>
                    <a:lnTo>
                      <a:pt x="189468" y="301780"/>
                    </a:lnTo>
                    <a:close/>
                    <a:moveTo>
                      <a:pt x="26141" y="26242"/>
                    </a:moveTo>
                    <a:lnTo>
                      <a:pt x="126600" y="26242"/>
                    </a:lnTo>
                    <a:cubicBezTo>
                      <a:pt x="155909" y="26242"/>
                      <a:pt x="179674" y="49816"/>
                      <a:pt x="180250" y="79014"/>
                    </a:cubicBezTo>
                    <a:lnTo>
                      <a:pt x="180250" y="83988"/>
                    </a:lnTo>
                    <a:cubicBezTo>
                      <a:pt x="179674" y="113186"/>
                      <a:pt x="155909" y="136688"/>
                      <a:pt x="126600" y="136688"/>
                    </a:cubicBezTo>
                    <a:lnTo>
                      <a:pt x="126600" y="136688"/>
                    </a:lnTo>
                    <a:cubicBezTo>
                      <a:pt x="126600" y="136688"/>
                      <a:pt x="26141" y="136760"/>
                      <a:pt x="26141" y="136760"/>
                    </a:cubicBezTo>
                    <a:lnTo>
                      <a:pt x="26141" y="2624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8EED5C28-65FC-76D8-685C-5229D0214FD6}"/>
                  </a:ext>
                </a:extLst>
              </p:cNvPr>
              <p:cNvSpPr/>
              <p:nvPr/>
            </p:nvSpPr>
            <p:spPr>
              <a:xfrm>
                <a:off x="9387557" y="3329493"/>
                <a:ext cx="212944" cy="301852"/>
              </a:xfrm>
              <a:custGeom>
                <a:avLst/>
                <a:gdLst>
                  <a:gd name="connsiteX0" fmla="*/ 212656 w 212944"/>
                  <a:gd name="connsiteY0" fmla="*/ 212818 h 301852"/>
                  <a:gd name="connsiteX1" fmla="*/ 201422 w 212944"/>
                  <a:gd name="connsiteY1" fmla="*/ 173455 h 301852"/>
                  <a:gd name="connsiteX2" fmla="*/ 174273 w 212944"/>
                  <a:gd name="connsiteY2" fmla="*/ 147358 h 301852"/>
                  <a:gd name="connsiteX3" fmla="*/ 206247 w 212944"/>
                  <a:gd name="connsiteY3" fmla="*/ 89539 h 301852"/>
                  <a:gd name="connsiteX4" fmla="*/ 206319 w 212944"/>
                  <a:gd name="connsiteY4" fmla="*/ 89539 h 301852"/>
                  <a:gd name="connsiteX5" fmla="*/ 206319 w 212944"/>
                  <a:gd name="connsiteY5" fmla="*/ 87881 h 301852"/>
                  <a:gd name="connsiteX6" fmla="*/ 206535 w 212944"/>
                  <a:gd name="connsiteY6" fmla="*/ 83051 h 301852"/>
                  <a:gd name="connsiteX7" fmla="*/ 206319 w 212944"/>
                  <a:gd name="connsiteY7" fmla="*/ 83051 h 301852"/>
                  <a:gd name="connsiteX8" fmla="*/ 206319 w 212944"/>
                  <a:gd name="connsiteY8" fmla="*/ 80239 h 301852"/>
                  <a:gd name="connsiteX9" fmla="*/ 206535 w 212944"/>
                  <a:gd name="connsiteY9" fmla="*/ 80239 h 301852"/>
                  <a:gd name="connsiteX10" fmla="*/ 206319 w 212944"/>
                  <a:gd name="connsiteY10" fmla="*/ 75337 h 301852"/>
                  <a:gd name="connsiteX11" fmla="*/ 206319 w 212944"/>
                  <a:gd name="connsiteY11" fmla="*/ 75337 h 301852"/>
                  <a:gd name="connsiteX12" fmla="*/ 206319 w 212944"/>
                  <a:gd name="connsiteY12" fmla="*/ 75265 h 301852"/>
                  <a:gd name="connsiteX13" fmla="*/ 126456 w 212944"/>
                  <a:gd name="connsiteY13" fmla="*/ 72 h 301852"/>
                  <a:gd name="connsiteX14" fmla="*/ 126456 w 212944"/>
                  <a:gd name="connsiteY14" fmla="*/ 216 h 301852"/>
                  <a:gd name="connsiteX15" fmla="*/ 0 w 212944"/>
                  <a:gd name="connsiteY15" fmla="*/ 0 h 301852"/>
                  <a:gd name="connsiteX16" fmla="*/ 0 w 212944"/>
                  <a:gd name="connsiteY16" fmla="*/ 301852 h 301852"/>
                  <a:gd name="connsiteX17" fmla="*/ 131425 w 212944"/>
                  <a:gd name="connsiteY17" fmla="*/ 301852 h 301852"/>
                  <a:gd name="connsiteX18" fmla="*/ 212800 w 212944"/>
                  <a:gd name="connsiteY18" fmla="*/ 221541 h 301852"/>
                  <a:gd name="connsiteX19" fmla="*/ 212944 w 212944"/>
                  <a:gd name="connsiteY19" fmla="*/ 221541 h 301852"/>
                  <a:gd name="connsiteX20" fmla="*/ 212944 w 212944"/>
                  <a:gd name="connsiteY20" fmla="*/ 212818 h 301852"/>
                  <a:gd name="connsiteX21" fmla="*/ 212800 w 212944"/>
                  <a:gd name="connsiteY21" fmla="*/ 212818 h 301852"/>
                  <a:gd name="connsiteX22" fmla="*/ 126528 w 212944"/>
                  <a:gd name="connsiteY22" fmla="*/ 26386 h 301852"/>
                  <a:gd name="connsiteX23" fmla="*/ 126528 w 212944"/>
                  <a:gd name="connsiteY23" fmla="*/ 26386 h 301852"/>
                  <a:gd name="connsiteX24" fmla="*/ 180250 w 212944"/>
                  <a:gd name="connsiteY24" fmla="*/ 79302 h 301852"/>
                  <a:gd name="connsiteX25" fmla="*/ 180250 w 212944"/>
                  <a:gd name="connsiteY25" fmla="*/ 83988 h 301852"/>
                  <a:gd name="connsiteX26" fmla="*/ 126528 w 212944"/>
                  <a:gd name="connsiteY26" fmla="*/ 137048 h 301852"/>
                  <a:gd name="connsiteX27" fmla="*/ 26141 w 212944"/>
                  <a:gd name="connsiteY27" fmla="*/ 137048 h 301852"/>
                  <a:gd name="connsiteX28" fmla="*/ 26141 w 212944"/>
                  <a:gd name="connsiteY28" fmla="*/ 26386 h 301852"/>
                  <a:gd name="connsiteX29" fmla="*/ 126528 w 212944"/>
                  <a:gd name="connsiteY29" fmla="*/ 26386 h 301852"/>
                  <a:gd name="connsiteX30" fmla="*/ 186659 w 212944"/>
                  <a:gd name="connsiteY30" fmla="*/ 220171 h 301852"/>
                  <a:gd name="connsiteX31" fmla="*/ 186443 w 212944"/>
                  <a:gd name="connsiteY31" fmla="*/ 220171 h 301852"/>
                  <a:gd name="connsiteX32" fmla="*/ 130921 w 212944"/>
                  <a:gd name="connsiteY32" fmla="*/ 275755 h 301852"/>
                  <a:gd name="connsiteX33" fmla="*/ 130921 w 212944"/>
                  <a:gd name="connsiteY33" fmla="*/ 275755 h 301852"/>
                  <a:gd name="connsiteX34" fmla="*/ 26141 w 212944"/>
                  <a:gd name="connsiteY34" fmla="*/ 275755 h 301852"/>
                  <a:gd name="connsiteX35" fmla="*/ 26141 w 212944"/>
                  <a:gd name="connsiteY35" fmla="*/ 163362 h 301852"/>
                  <a:gd name="connsiteX36" fmla="*/ 134593 w 212944"/>
                  <a:gd name="connsiteY36" fmla="*/ 163795 h 301852"/>
                  <a:gd name="connsiteX37" fmla="*/ 134593 w 212944"/>
                  <a:gd name="connsiteY37" fmla="*/ 163795 h 301852"/>
                  <a:gd name="connsiteX38" fmla="*/ 179458 w 212944"/>
                  <a:gd name="connsiteY38" fmla="*/ 187946 h 301852"/>
                  <a:gd name="connsiteX39" fmla="*/ 186515 w 212944"/>
                  <a:gd name="connsiteY39" fmla="*/ 214836 h 301852"/>
                  <a:gd name="connsiteX40" fmla="*/ 186731 w 212944"/>
                  <a:gd name="connsiteY40" fmla="*/ 214836 h 301852"/>
                  <a:gd name="connsiteX41" fmla="*/ 186731 w 212944"/>
                  <a:gd name="connsiteY41" fmla="*/ 220171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12944" h="301852">
                    <a:moveTo>
                      <a:pt x="212656" y="212818"/>
                    </a:moveTo>
                    <a:cubicBezTo>
                      <a:pt x="212296" y="198183"/>
                      <a:pt x="208623" y="185134"/>
                      <a:pt x="201422" y="173455"/>
                    </a:cubicBezTo>
                    <a:cubicBezTo>
                      <a:pt x="194509" y="162425"/>
                      <a:pt x="185219" y="153558"/>
                      <a:pt x="174273" y="147358"/>
                    </a:cubicBezTo>
                    <a:cubicBezTo>
                      <a:pt x="192204" y="133948"/>
                      <a:pt x="204374" y="113186"/>
                      <a:pt x="206247" y="89539"/>
                    </a:cubicBezTo>
                    <a:lnTo>
                      <a:pt x="206319" y="89539"/>
                    </a:lnTo>
                    <a:lnTo>
                      <a:pt x="206319" y="87881"/>
                    </a:lnTo>
                    <a:cubicBezTo>
                      <a:pt x="206391" y="86295"/>
                      <a:pt x="206535" y="84637"/>
                      <a:pt x="206535" y="83051"/>
                    </a:cubicBezTo>
                    <a:lnTo>
                      <a:pt x="206319" y="83051"/>
                    </a:lnTo>
                    <a:lnTo>
                      <a:pt x="206319" y="80239"/>
                    </a:lnTo>
                    <a:lnTo>
                      <a:pt x="206535" y="80239"/>
                    </a:lnTo>
                    <a:cubicBezTo>
                      <a:pt x="206535" y="78581"/>
                      <a:pt x="206391" y="76995"/>
                      <a:pt x="206319" y="75337"/>
                    </a:cubicBezTo>
                    <a:lnTo>
                      <a:pt x="206319" y="75337"/>
                    </a:lnTo>
                    <a:cubicBezTo>
                      <a:pt x="206319" y="75337"/>
                      <a:pt x="206319" y="75265"/>
                      <a:pt x="206319" y="75265"/>
                    </a:cubicBezTo>
                    <a:cubicBezTo>
                      <a:pt x="203726" y="33307"/>
                      <a:pt x="169016" y="72"/>
                      <a:pt x="126456" y="72"/>
                    </a:cubicBezTo>
                    <a:lnTo>
                      <a:pt x="126456" y="216"/>
                    </a:lnTo>
                    <a:lnTo>
                      <a:pt x="0" y="0"/>
                    </a:lnTo>
                    <a:lnTo>
                      <a:pt x="0" y="301852"/>
                    </a:lnTo>
                    <a:lnTo>
                      <a:pt x="131425" y="301852"/>
                    </a:lnTo>
                    <a:cubicBezTo>
                      <a:pt x="175857" y="301564"/>
                      <a:pt x="211864" y="265878"/>
                      <a:pt x="212800" y="221541"/>
                    </a:cubicBezTo>
                    <a:lnTo>
                      <a:pt x="212944" y="221541"/>
                    </a:lnTo>
                    <a:lnTo>
                      <a:pt x="212944" y="212818"/>
                    </a:lnTo>
                    <a:lnTo>
                      <a:pt x="212800" y="212818"/>
                    </a:lnTo>
                    <a:close/>
                    <a:moveTo>
                      <a:pt x="126528" y="26386"/>
                    </a:moveTo>
                    <a:lnTo>
                      <a:pt x="126528" y="26386"/>
                    </a:lnTo>
                    <a:cubicBezTo>
                      <a:pt x="155909" y="26386"/>
                      <a:pt x="179746" y="50032"/>
                      <a:pt x="180250" y="79302"/>
                    </a:cubicBezTo>
                    <a:lnTo>
                      <a:pt x="180250" y="83988"/>
                    </a:lnTo>
                    <a:cubicBezTo>
                      <a:pt x="179746" y="113258"/>
                      <a:pt x="155909" y="137048"/>
                      <a:pt x="126528" y="137048"/>
                    </a:cubicBezTo>
                    <a:lnTo>
                      <a:pt x="26141" y="137048"/>
                    </a:lnTo>
                    <a:lnTo>
                      <a:pt x="26141" y="26386"/>
                    </a:lnTo>
                    <a:lnTo>
                      <a:pt x="126528" y="26386"/>
                    </a:lnTo>
                    <a:close/>
                    <a:moveTo>
                      <a:pt x="186659" y="220171"/>
                    </a:moveTo>
                    <a:lnTo>
                      <a:pt x="186443" y="220171"/>
                    </a:lnTo>
                    <a:cubicBezTo>
                      <a:pt x="186443" y="250883"/>
                      <a:pt x="161598" y="275755"/>
                      <a:pt x="130921" y="275755"/>
                    </a:cubicBezTo>
                    <a:lnTo>
                      <a:pt x="130921" y="275755"/>
                    </a:lnTo>
                    <a:cubicBezTo>
                      <a:pt x="130921" y="275755"/>
                      <a:pt x="26141" y="275755"/>
                      <a:pt x="26141" y="275755"/>
                    </a:cubicBezTo>
                    <a:lnTo>
                      <a:pt x="26141" y="163362"/>
                    </a:lnTo>
                    <a:lnTo>
                      <a:pt x="134593" y="163795"/>
                    </a:lnTo>
                    <a:lnTo>
                      <a:pt x="134593" y="163795"/>
                    </a:lnTo>
                    <a:cubicBezTo>
                      <a:pt x="153461" y="163795"/>
                      <a:pt x="169880" y="173095"/>
                      <a:pt x="179458" y="187946"/>
                    </a:cubicBezTo>
                    <a:cubicBezTo>
                      <a:pt x="183490" y="196381"/>
                      <a:pt x="186515" y="204888"/>
                      <a:pt x="186515" y="214836"/>
                    </a:cubicBezTo>
                    <a:lnTo>
                      <a:pt x="186731" y="214836"/>
                    </a:lnTo>
                    <a:lnTo>
                      <a:pt x="186731" y="220171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25A2596A-D6E7-4E28-B965-5D862B56217A}"/>
                  </a:ext>
                </a:extLst>
              </p:cNvPr>
              <p:cNvSpPr/>
              <p:nvPr/>
            </p:nvSpPr>
            <p:spPr>
              <a:xfrm>
                <a:off x="9791480" y="3324302"/>
                <a:ext cx="311818" cy="312017"/>
              </a:xfrm>
              <a:custGeom>
                <a:avLst/>
                <a:gdLst>
                  <a:gd name="connsiteX0" fmla="*/ 1368 w 311818"/>
                  <a:gd name="connsiteY0" fmla="*/ 175618 h 312017"/>
                  <a:gd name="connsiteX1" fmla="*/ 155981 w 311818"/>
                  <a:gd name="connsiteY1" fmla="*/ 312017 h 312017"/>
                  <a:gd name="connsiteX2" fmla="*/ 310594 w 311818"/>
                  <a:gd name="connsiteY2" fmla="*/ 175546 h 312017"/>
                  <a:gd name="connsiteX3" fmla="*/ 311819 w 311818"/>
                  <a:gd name="connsiteY3" fmla="*/ 156513 h 312017"/>
                  <a:gd name="connsiteX4" fmla="*/ 310954 w 311818"/>
                  <a:gd name="connsiteY4" fmla="*/ 139499 h 312017"/>
                  <a:gd name="connsiteX5" fmla="*/ 155981 w 311818"/>
                  <a:gd name="connsiteY5" fmla="*/ 0 h 312017"/>
                  <a:gd name="connsiteX6" fmla="*/ 1008 w 311818"/>
                  <a:gd name="connsiteY6" fmla="*/ 139499 h 312017"/>
                  <a:gd name="connsiteX7" fmla="*/ 864 w 311818"/>
                  <a:gd name="connsiteY7" fmla="*/ 139499 h 312017"/>
                  <a:gd name="connsiteX8" fmla="*/ 0 w 311818"/>
                  <a:gd name="connsiteY8" fmla="*/ 156513 h 312017"/>
                  <a:gd name="connsiteX9" fmla="*/ 1224 w 311818"/>
                  <a:gd name="connsiteY9" fmla="*/ 175546 h 312017"/>
                  <a:gd name="connsiteX10" fmla="*/ 155981 w 311818"/>
                  <a:gd name="connsiteY10" fmla="*/ 285487 h 312017"/>
                  <a:gd name="connsiteX11" fmla="*/ 28085 w 311818"/>
                  <a:gd name="connsiteY11" fmla="*/ 175618 h 312017"/>
                  <a:gd name="connsiteX12" fmla="*/ 27941 w 311818"/>
                  <a:gd name="connsiteY12" fmla="*/ 175618 h 312017"/>
                  <a:gd name="connsiteX13" fmla="*/ 26501 w 311818"/>
                  <a:gd name="connsiteY13" fmla="*/ 156513 h 312017"/>
                  <a:gd name="connsiteX14" fmla="*/ 27509 w 311818"/>
                  <a:gd name="connsiteY14" fmla="*/ 140004 h 312017"/>
                  <a:gd name="connsiteX15" fmla="*/ 27581 w 311818"/>
                  <a:gd name="connsiteY15" fmla="*/ 140004 h 312017"/>
                  <a:gd name="connsiteX16" fmla="*/ 155909 w 311818"/>
                  <a:gd name="connsiteY16" fmla="*/ 26530 h 312017"/>
                  <a:gd name="connsiteX17" fmla="*/ 284165 w 311818"/>
                  <a:gd name="connsiteY17" fmla="*/ 139788 h 312017"/>
                  <a:gd name="connsiteX18" fmla="*/ 285246 w 311818"/>
                  <a:gd name="connsiteY18" fmla="*/ 156585 h 312017"/>
                  <a:gd name="connsiteX19" fmla="*/ 283805 w 311818"/>
                  <a:gd name="connsiteY19" fmla="*/ 175906 h 312017"/>
                  <a:gd name="connsiteX20" fmla="*/ 155909 w 311818"/>
                  <a:gd name="connsiteY20" fmla="*/ 285559 h 312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1818" h="312017">
                    <a:moveTo>
                      <a:pt x="1368" y="175618"/>
                    </a:moveTo>
                    <a:cubicBezTo>
                      <a:pt x="11018" y="252541"/>
                      <a:pt x="76550" y="312017"/>
                      <a:pt x="155981" y="312017"/>
                    </a:cubicBezTo>
                    <a:cubicBezTo>
                      <a:pt x="235412" y="312017"/>
                      <a:pt x="300945" y="252469"/>
                      <a:pt x="310594" y="175546"/>
                    </a:cubicBezTo>
                    <a:cubicBezTo>
                      <a:pt x="311315" y="169346"/>
                      <a:pt x="311819" y="162930"/>
                      <a:pt x="311819" y="156513"/>
                    </a:cubicBezTo>
                    <a:cubicBezTo>
                      <a:pt x="311819" y="150602"/>
                      <a:pt x="311603" y="145267"/>
                      <a:pt x="310954" y="139499"/>
                    </a:cubicBezTo>
                    <a:cubicBezTo>
                      <a:pt x="302889" y="60846"/>
                      <a:pt x="236636" y="0"/>
                      <a:pt x="155981" y="0"/>
                    </a:cubicBezTo>
                    <a:cubicBezTo>
                      <a:pt x="75326" y="0"/>
                      <a:pt x="9218" y="61135"/>
                      <a:pt x="1008" y="139499"/>
                    </a:cubicBezTo>
                    <a:lnTo>
                      <a:pt x="864" y="139499"/>
                    </a:lnTo>
                    <a:cubicBezTo>
                      <a:pt x="216" y="145267"/>
                      <a:pt x="0" y="150602"/>
                      <a:pt x="0" y="156513"/>
                    </a:cubicBezTo>
                    <a:cubicBezTo>
                      <a:pt x="0" y="162930"/>
                      <a:pt x="432" y="169346"/>
                      <a:pt x="1224" y="175546"/>
                    </a:cubicBezTo>
                    <a:moveTo>
                      <a:pt x="155981" y="285487"/>
                    </a:moveTo>
                    <a:cubicBezTo>
                      <a:pt x="91169" y="285487"/>
                      <a:pt x="37519" y="237834"/>
                      <a:pt x="28085" y="175618"/>
                    </a:cubicBezTo>
                    <a:lnTo>
                      <a:pt x="27941" y="175618"/>
                    </a:lnTo>
                    <a:cubicBezTo>
                      <a:pt x="27005" y="169346"/>
                      <a:pt x="26501" y="163074"/>
                      <a:pt x="26501" y="156513"/>
                    </a:cubicBezTo>
                    <a:cubicBezTo>
                      <a:pt x="26501" y="150818"/>
                      <a:pt x="26789" y="145483"/>
                      <a:pt x="27509" y="140004"/>
                    </a:cubicBezTo>
                    <a:lnTo>
                      <a:pt x="27581" y="140004"/>
                    </a:lnTo>
                    <a:cubicBezTo>
                      <a:pt x="35431" y="76058"/>
                      <a:pt x="89873" y="26530"/>
                      <a:pt x="155909" y="26530"/>
                    </a:cubicBezTo>
                    <a:cubicBezTo>
                      <a:pt x="221946" y="26530"/>
                      <a:pt x="276316" y="75769"/>
                      <a:pt x="284165" y="139788"/>
                    </a:cubicBezTo>
                    <a:cubicBezTo>
                      <a:pt x="284886" y="145411"/>
                      <a:pt x="285246" y="150818"/>
                      <a:pt x="285246" y="156585"/>
                    </a:cubicBezTo>
                    <a:cubicBezTo>
                      <a:pt x="285246" y="163218"/>
                      <a:pt x="284741" y="169562"/>
                      <a:pt x="283805" y="175906"/>
                    </a:cubicBezTo>
                    <a:cubicBezTo>
                      <a:pt x="274372" y="238122"/>
                      <a:pt x="220721" y="285559"/>
                      <a:pt x="155909" y="285559"/>
                    </a:cubicBez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0A650689-E032-C22C-156F-D78A8627B965}"/>
                  </a:ext>
                </a:extLst>
              </p:cNvPr>
              <p:cNvSpPr/>
              <p:nvPr/>
            </p:nvSpPr>
            <p:spPr>
              <a:xfrm>
                <a:off x="11529743" y="3323653"/>
                <a:ext cx="42343" cy="42390"/>
              </a:xfrm>
              <a:custGeom>
                <a:avLst/>
                <a:gdLst>
                  <a:gd name="connsiteX0" fmla="*/ 0 w 42343"/>
                  <a:gd name="connsiteY0" fmla="*/ 21123 h 42390"/>
                  <a:gd name="connsiteX1" fmla="*/ 21244 w 42343"/>
                  <a:gd name="connsiteY1" fmla="*/ 0 h 42390"/>
                  <a:gd name="connsiteX2" fmla="*/ 42344 w 42343"/>
                  <a:gd name="connsiteY2" fmla="*/ 21123 h 42390"/>
                  <a:gd name="connsiteX3" fmla="*/ 21244 w 42343"/>
                  <a:gd name="connsiteY3" fmla="*/ 42391 h 42390"/>
                  <a:gd name="connsiteX4" fmla="*/ 0 w 42343"/>
                  <a:gd name="connsiteY4" fmla="*/ 21123 h 42390"/>
                  <a:gd name="connsiteX5" fmla="*/ 38959 w 42343"/>
                  <a:gd name="connsiteY5" fmla="*/ 21123 h 42390"/>
                  <a:gd name="connsiteX6" fmla="*/ 21244 w 42343"/>
                  <a:gd name="connsiteY6" fmla="*/ 2812 h 42390"/>
                  <a:gd name="connsiteX7" fmla="*/ 3385 w 42343"/>
                  <a:gd name="connsiteY7" fmla="*/ 21123 h 42390"/>
                  <a:gd name="connsiteX8" fmla="*/ 21244 w 42343"/>
                  <a:gd name="connsiteY8" fmla="*/ 39579 h 42390"/>
                  <a:gd name="connsiteX9" fmla="*/ 38959 w 42343"/>
                  <a:gd name="connsiteY9" fmla="*/ 21123 h 42390"/>
                  <a:gd name="connsiteX10" fmla="*/ 31758 w 42343"/>
                  <a:gd name="connsiteY10" fmla="*/ 32946 h 42390"/>
                  <a:gd name="connsiteX11" fmla="*/ 28301 w 42343"/>
                  <a:gd name="connsiteY11" fmla="*/ 32946 h 42390"/>
                  <a:gd name="connsiteX12" fmla="*/ 21532 w 42343"/>
                  <a:gd name="connsiteY12" fmla="*/ 22060 h 42390"/>
                  <a:gd name="connsiteX13" fmla="*/ 16203 w 42343"/>
                  <a:gd name="connsiteY13" fmla="*/ 22060 h 42390"/>
                  <a:gd name="connsiteX14" fmla="*/ 16203 w 42343"/>
                  <a:gd name="connsiteY14" fmla="*/ 32946 h 42390"/>
                  <a:gd name="connsiteX15" fmla="*/ 13323 w 42343"/>
                  <a:gd name="connsiteY15" fmla="*/ 32946 h 42390"/>
                  <a:gd name="connsiteX16" fmla="*/ 13323 w 42343"/>
                  <a:gd name="connsiteY16" fmla="*/ 9300 h 42390"/>
                  <a:gd name="connsiteX17" fmla="*/ 23693 w 42343"/>
                  <a:gd name="connsiteY17" fmla="*/ 9300 h 42390"/>
                  <a:gd name="connsiteX18" fmla="*/ 32046 w 42343"/>
                  <a:gd name="connsiteY18" fmla="*/ 15572 h 42390"/>
                  <a:gd name="connsiteX19" fmla="*/ 24629 w 42343"/>
                  <a:gd name="connsiteY19" fmla="*/ 22060 h 42390"/>
                  <a:gd name="connsiteX20" fmla="*/ 31758 w 42343"/>
                  <a:gd name="connsiteY20" fmla="*/ 32946 h 42390"/>
                  <a:gd name="connsiteX21" fmla="*/ 20668 w 42343"/>
                  <a:gd name="connsiteY21" fmla="*/ 19753 h 42390"/>
                  <a:gd name="connsiteX22" fmla="*/ 28949 w 42343"/>
                  <a:gd name="connsiteY22" fmla="*/ 15500 h 42390"/>
                  <a:gd name="connsiteX23" fmla="*/ 23044 w 42343"/>
                  <a:gd name="connsiteY23" fmla="*/ 11391 h 42390"/>
                  <a:gd name="connsiteX24" fmla="*/ 16275 w 42343"/>
                  <a:gd name="connsiteY24" fmla="*/ 11391 h 42390"/>
                  <a:gd name="connsiteX25" fmla="*/ 16275 w 42343"/>
                  <a:gd name="connsiteY25" fmla="*/ 19753 h 42390"/>
                  <a:gd name="connsiteX26" fmla="*/ 20668 w 42343"/>
                  <a:gd name="connsiteY26" fmla="*/ 19753 h 4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2343" h="42390">
                    <a:moveTo>
                      <a:pt x="0" y="21123"/>
                    </a:moveTo>
                    <a:cubicBezTo>
                      <a:pt x="0" y="9516"/>
                      <a:pt x="9506" y="0"/>
                      <a:pt x="21244" y="0"/>
                    </a:cubicBezTo>
                    <a:cubicBezTo>
                      <a:pt x="32982" y="0"/>
                      <a:pt x="42344" y="9516"/>
                      <a:pt x="42344" y="21123"/>
                    </a:cubicBezTo>
                    <a:cubicBezTo>
                      <a:pt x="42344" y="32730"/>
                      <a:pt x="32910" y="42391"/>
                      <a:pt x="21244" y="42391"/>
                    </a:cubicBezTo>
                    <a:cubicBezTo>
                      <a:pt x="9578" y="42391"/>
                      <a:pt x="0" y="32874"/>
                      <a:pt x="0" y="21123"/>
                    </a:cubicBezTo>
                    <a:close/>
                    <a:moveTo>
                      <a:pt x="38959" y="21123"/>
                    </a:moveTo>
                    <a:cubicBezTo>
                      <a:pt x="38959" y="10814"/>
                      <a:pt x="31470" y="2812"/>
                      <a:pt x="21244" y="2812"/>
                    </a:cubicBezTo>
                    <a:cubicBezTo>
                      <a:pt x="11018" y="2812"/>
                      <a:pt x="3385" y="10886"/>
                      <a:pt x="3385" y="21123"/>
                    </a:cubicBezTo>
                    <a:cubicBezTo>
                      <a:pt x="3385" y="31360"/>
                      <a:pt x="10946" y="39579"/>
                      <a:pt x="21244" y="39579"/>
                    </a:cubicBezTo>
                    <a:cubicBezTo>
                      <a:pt x="31542" y="39579"/>
                      <a:pt x="38959" y="31505"/>
                      <a:pt x="38959" y="21123"/>
                    </a:cubicBezTo>
                    <a:close/>
                    <a:moveTo>
                      <a:pt x="31758" y="32946"/>
                    </a:moveTo>
                    <a:lnTo>
                      <a:pt x="28301" y="32946"/>
                    </a:lnTo>
                    <a:lnTo>
                      <a:pt x="21532" y="22060"/>
                    </a:lnTo>
                    <a:lnTo>
                      <a:pt x="16203" y="22060"/>
                    </a:lnTo>
                    <a:lnTo>
                      <a:pt x="16203" y="32946"/>
                    </a:lnTo>
                    <a:lnTo>
                      <a:pt x="13323" y="32946"/>
                    </a:lnTo>
                    <a:lnTo>
                      <a:pt x="13323" y="9300"/>
                    </a:lnTo>
                    <a:lnTo>
                      <a:pt x="23693" y="9300"/>
                    </a:lnTo>
                    <a:cubicBezTo>
                      <a:pt x="29958" y="9300"/>
                      <a:pt x="32046" y="11679"/>
                      <a:pt x="32046" y="15572"/>
                    </a:cubicBezTo>
                    <a:cubicBezTo>
                      <a:pt x="32046" y="20186"/>
                      <a:pt x="28805" y="21916"/>
                      <a:pt x="24629" y="22060"/>
                    </a:cubicBezTo>
                    <a:lnTo>
                      <a:pt x="31758" y="32946"/>
                    </a:lnTo>
                    <a:close/>
                    <a:moveTo>
                      <a:pt x="20668" y="19753"/>
                    </a:moveTo>
                    <a:cubicBezTo>
                      <a:pt x="24052" y="19753"/>
                      <a:pt x="28949" y="20330"/>
                      <a:pt x="28949" y="15500"/>
                    </a:cubicBezTo>
                    <a:cubicBezTo>
                      <a:pt x="28949" y="11823"/>
                      <a:pt x="25925" y="11391"/>
                      <a:pt x="23044" y="11391"/>
                    </a:cubicBezTo>
                    <a:lnTo>
                      <a:pt x="16275" y="11391"/>
                    </a:lnTo>
                    <a:lnTo>
                      <a:pt x="16275" y="19753"/>
                    </a:lnTo>
                    <a:lnTo>
                      <a:pt x="20668" y="19753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35DD7EA4-F240-466D-03E2-2CB84BC8E7AC}"/>
                </a:ext>
              </a:extLst>
            </p:cNvPr>
            <p:cNvSpPr/>
            <p:nvPr/>
          </p:nvSpPr>
          <p:spPr>
            <a:xfrm>
              <a:off x="9662576" y="3326249"/>
              <a:ext cx="70213" cy="41020"/>
            </a:xfrm>
            <a:custGeom>
              <a:avLst/>
              <a:gdLst>
                <a:gd name="connsiteX0" fmla="*/ 15267 w 70213"/>
                <a:gd name="connsiteY0" fmla="*/ 4398 h 41020"/>
                <a:gd name="connsiteX1" fmla="*/ 9434 w 70213"/>
                <a:gd name="connsiteY1" fmla="*/ 7714 h 41020"/>
                <a:gd name="connsiteX2" fmla="*/ 4321 w 70213"/>
                <a:gd name="connsiteY2" fmla="*/ 11607 h 41020"/>
                <a:gd name="connsiteX3" fmla="*/ 2737 w 70213"/>
                <a:gd name="connsiteY3" fmla="*/ 15139 h 41020"/>
                <a:gd name="connsiteX4" fmla="*/ 648 w 70213"/>
                <a:gd name="connsiteY4" fmla="*/ 18167 h 41020"/>
                <a:gd name="connsiteX5" fmla="*/ 144 w 70213"/>
                <a:gd name="connsiteY5" fmla="*/ 19249 h 41020"/>
                <a:gd name="connsiteX6" fmla="*/ 0 w 70213"/>
                <a:gd name="connsiteY6" fmla="*/ 20330 h 41020"/>
                <a:gd name="connsiteX7" fmla="*/ 288 w 70213"/>
                <a:gd name="connsiteY7" fmla="*/ 21556 h 41020"/>
                <a:gd name="connsiteX8" fmla="*/ 2232 w 70213"/>
                <a:gd name="connsiteY8" fmla="*/ 26891 h 41020"/>
                <a:gd name="connsiteX9" fmla="*/ 5617 w 70213"/>
                <a:gd name="connsiteY9" fmla="*/ 28981 h 41020"/>
                <a:gd name="connsiteX10" fmla="*/ 9506 w 70213"/>
                <a:gd name="connsiteY10" fmla="*/ 33379 h 41020"/>
                <a:gd name="connsiteX11" fmla="*/ 12314 w 70213"/>
                <a:gd name="connsiteY11" fmla="*/ 36046 h 41020"/>
                <a:gd name="connsiteX12" fmla="*/ 16347 w 70213"/>
                <a:gd name="connsiteY12" fmla="*/ 37993 h 41020"/>
                <a:gd name="connsiteX13" fmla="*/ 20380 w 70213"/>
                <a:gd name="connsiteY13" fmla="*/ 39218 h 41020"/>
                <a:gd name="connsiteX14" fmla="*/ 26069 w 70213"/>
                <a:gd name="connsiteY14" fmla="*/ 39218 h 41020"/>
                <a:gd name="connsiteX15" fmla="*/ 29814 w 70213"/>
                <a:gd name="connsiteY15" fmla="*/ 39939 h 41020"/>
                <a:gd name="connsiteX16" fmla="*/ 33846 w 70213"/>
                <a:gd name="connsiteY16" fmla="*/ 40300 h 41020"/>
                <a:gd name="connsiteX17" fmla="*/ 39319 w 70213"/>
                <a:gd name="connsiteY17" fmla="*/ 40660 h 41020"/>
                <a:gd name="connsiteX18" fmla="*/ 44576 w 70213"/>
                <a:gd name="connsiteY18" fmla="*/ 41021 h 41020"/>
                <a:gd name="connsiteX19" fmla="*/ 51130 w 70213"/>
                <a:gd name="connsiteY19" fmla="*/ 40516 h 41020"/>
                <a:gd name="connsiteX20" fmla="*/ 56099 w 70213"/>
                <a:gd name="connsiteY20" fmla="*/ 39074 h 41020"/>
                <a:gd name="connsiteX21" fmla="*/ 62076 w 70213"/>
                <a:gd name="connsiteY21" fmla="*/ 36623 h 41020"/>
                <a:gd name="connsiteX22" fmla="*/ 64740 w 70213"/>
                <a:gd name="connsiteY22" fmla="*/ 33595 h 41020"/>
                <a:gd name="connsiteX23" fmla="*/ 67765 w 70213"/>
                <a:gd name="connsiteY23" fmla="*/ 30784 h 41020"/>
                <a:gd name="connsiteX24" fmla="*/ 70213 w 70213"/>
                <a:gd name="connsiteY24" fmla="*/ 26891 h 41020"/>
                <a:gd name="connsiteX25" fmla="*/ 70069 w 70213"/>
                <a:gd name="connsiteY25" fmla="*/ 22853 h 41020"/>
                <a:gd name="connsiteX26" fmla="*/ 68989 w 70213"/>
                <a:gd name="connsiteY26" fmla="*/ 17014 h 41020"/>
                <a:gd name="connsiteX27" fmla="*/ 62652 w 70213"/>
                <a:gd name="connsiteY27" fmla="*/ 7786 h 41020"/>
                <a:gd name="connsiteX28" fmla="*/ 57035 w 70213"/>
                <a:gd name="connsiteY28" fmla="*/ 3533 h 41020"/>
                <a:gd name="connsiteX29" fmla="*/ 54226 w 70213"/>
                <a:gd name="connsiteY29" fmla="*/ 2163 h 41020"/>
                <a:gd name="connsiteX30" fmla="*/ 52138 w 70213"/>
                <a:gd name="connsiteY30" fmla="*/ 1370 h 41020"/>
                <a:gd name="connsiteX31" fmla="*/ 50121 w 70213"/>
                <a:gd name="connsiteY31" fmla="*/ 1081 h 41020"/>
                <a:gd name="connsiteX32" fmla="*/ 43568 w 70213"/>
                <a:gd name="connsiteY32" fmla="*/ 1586 h 41020"/>
                <a:gd name="connsiteX33" fmla="*/ 37015 w 70213"/>
                <a:gd name="connsiteY33" fmla="*/ 505 h 41020"/>
                <a:gd name="connsiteX34" fmla="*/ 33846 w 70213"/>
                <a:gd name="connsiteY34" fmla="*/ 0 h 41020"/>
                <a:gd name="connsiteX35" fmla="*/ 29814 w 70213"/>
                <a:gd name="connsiteY35" fmla="*/ 865 h 41020"/>
                <a:gd name="connsiteX36" fmla="*/ 24485 w 70213"/>
                <a:gd name="connsiteY36" fmla="*/ 1586 h 41020"/>
                <a:gd name="connsiteX37" fmla="*/ 21100 w 70213"/>
                <a:gd name="connsiteY37" fmla="*/ 2812 h 41020"/>
                <a:gd name="connsiteX38" fmla="*/ 15267 w 70213"/>
                <a:gd name="connsiteY38" fmla="*/ 4398 h 4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0213" h="41020">
                  <a:moveTo>
                    <a:pt x="15267" y="4398"/>
                  </a:moveTo>
                  <a:lnTo>
                    <a:pt x="9434" y="7714"/>
                  </a:lnTo>
                  <a:lnTo>
                    <a:pt x="4321" y="11607"/>
                  </a:lnTo>
                  <a:lnTo>
                    <a:pt x="2737" y="15139"/>
                  </a:lnTo>
                  <a:lnTo>
                    <a:pt x="648" y="18167"/>
                  </a:lnTo>
                  <a:lnTo>
                    <a:pt x="144" y="19249"/>
                  </a:lnTo>
                  <a:lnTo>
                    <a:pt x="0" y="20330"/>
                  </a:lnTo>
                  <a:lnTo>
                    <a:pt x="288" y="21556"/>
                  </a:lnTo>
                  <a:lnTo>
                    <a:pt x="2232" y="26891"/>
                  </a:lnTo>
                  <a:lnTo>
                    <a:pt x="5617" y="28981"/>
                  </a:lnTo>
                  <a:lnTo>
                    <a:pt x="9506" y="33379"/>
                  </a:lnTo>
                  <a:lnTo>
                    <a:pt x="12314" y="36046"/>
                  </a:lnTo>
                  <a:lnTo>
                    <a:pt x="16347" y="37993"/>
                  </a:lnTo>
                  <a:lnTo>
                    <a:pt x="20380" y="39218"/>
                  </a:lnTo>
                  <a:lnTo>
                    <a:pt x="26069" y="39218"/>
                  </a:lnTo>
                  <a:lnTo>
                    <a:pt x="29814" y="39939"/>
                  </a:lnTo>
                  <a:lnTo>
                    <a:pt x="33846" y="40300"/>
                  </a:lnTo>
                  <a:lnTo>
                    <a:pt x="39319" y="40660"/>
                  </a:lnTo>
                  <a:lnTo>
                    <a:pt x="44576" y="41021"/>
                  </a:lnTo>
                  <a:lnTo>
                    <a:pt x="51130" y="40516"/>
                  </a:lnTo>
                  <a:lnTo>
                    <a:pt x="56099" y="39074"/>
                  </a:lnTo>
                  <a:lnTo>
                    <a:pt x="62076" y="36623"/>
                  </a:lnTo>
                  <a:lnTo>
                    <a:pt x="64740" y="33595"/>
                  </a:lnTo>
                  <a:lnTo>
                    <a:pt x="67765" y="30784"/>
                  </a:lnTo>
                  <a:lnTo>
                    <a:pt x="70213" y="26891"/>
                  </a:lnTo>
                  <a:lnTo>
                    <a:pt x="70069" y="22853"/>
                  </a:lnTo>
                  <a:lnTo>
                    <a:pt x="68989" y="17014"/>
                  </a:lnTo>
                  <a:lnTo>
                    <a:pt x="62652" y="7786"/>
                  </a:lnTo>
                  <a:lnTo>
                    <a:pt x="57035" y="3533"/>
                  </a:lnTo>
                  <a:lnTo>
                    <a:pt x="54226" y="2163"/>
                  </a:lnTo>
                  <a:lnTo>
                    <a:pt x="52138" y="1370"/>
                  </a:lnTo>
                  <a:lnTo>
                    <a:pt x="50121" y="1081"/>
                  </a:lnTo>
                  <a:lnTo>
                    <a:pt x="43568" y="1586"/>
                  </a:lnTo>
                  <a:lnTo>
                    <a:pt x="37015" y="505"/>
                  </a:lnTo>
                  <a:lnTo>
                    <a:pt x="33846" y="0"/>
                  </a:lnTo>
                  <a:lnTo>
                    <a:pt x="29814" y="865"/>
                  </a:lnTo>
                  <a:lnTo>
                    <a:pt x="24485" y="1586"/>
                  </a:lnTo>
                  <a:lnTo>
                    <a:pt x="21100" y="2812"/>
                  </a:lnTo>
                  <a:lnTo>
                    <a:pt x="15267" y="4398"/>
                  </a:lnTo>
                </a:path>
              </a:pathLst>
            </a:custGeom>
            <a:solidFill>
              <a:srgbClr val="F26531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47FB4CCB-69CF-0528-1292-16ABC1743084}"/>
                </a:ext>
              </a:extLst>
            </p:cNvPr>
            <p:cNvSpPr/>
            <p:nvPr/>
          </p:nvSpPr>
          <p:spPr>
            <a:xfrm>
              <a:off x="9668265" y="3427034"/>
              <a:ext cx="59915" cy="15932"/>
            </a:xfrm>
            <a:custGeom>
              <a:avLst/>
              <a:gdLst>
                <a:gd name="connsiteX0" fmla="*/ 1224 w 59915"/>
                <a:gd name="connsiteY0" fmla="*/ 360 h 15932"/>
                <a:gd name="connsiteX1" fmla="*/ 32694 w 59915"/>
                <a:gd name="connsiteY1" fmla="*/ 1081 h 15932"/>
                <a:gd name="connsiteX2" fmla="*/ 37375 w 59915"/>
                <a:gd name="connsiteY2" fmla="*/ 144 h 15932"/>
                <a:gd name="connsiteX3" fmla="*/ 43424 w 59915"/>
                <a:gd name="connsiteY3" fmla="*/ 0 h 15932"/>
                <a:gd name="connsiteX4" fmla="*/ 49473 w 59915"/>
                <a:gd name="connsiteY4" fmla="*/ 649 h 15932"/>
                <a:gd name="connsiteX5" fmla="*/ 54082 w 59915"/>
                <a:gd name="connsiteY5" fmla="*/ 1947 h 15932"/>
                <a:gd name="connsiteX6" fmla="*/ 57611 w 59915"/>
                <a:gd name="connsiteY6" fmla="*/ 4326 h 15932"/>
                <a:gd name="connsiteX7" fmla="*/ 58907 w 59915"/>
                <a:gd name="connsiteY7" fmla="*/ 5984 h 15932"/>
                <a:gd name="connsiteX8" fmla="*/ 59699 w 59915"/>
                <a:gd name="connsiteY8" fmla="*/ 7714 h 15932"/>
                <a:gd name="connsiteX9" fmla="*/ 59915 w 59915"/>
                <a:gd name="connsiteY9" fmla="*/ 9588 h 15932"/>
                <a:gd name="connsiteX10" fmla="*/ 59339 w 59915"/>
                <a:gd name="connsiteY10" fmla="*/ 11535 h 15932"/>
                <a:gd name="connsiteX11" fmla="*/ 57971 w 59915"/>
                <a:gd name="connsiteY11" fmla="*/ 13409 h 15932"/>
                <a:gd name="connsiteX12" fmla="*/ 55522 w 59915"/>
                <a:gd name="connsiteY12" fmla="*/ 15212 h 15932"/>
                <a:gd name="connsiteX13" fmla="*/ 51922 w 59915"/>
                <a:gd name="connsiteY13" fmla="*/ 15932 h 15932"/>
                <a:gd name="connsiteX14" fmla="*/ 45513 w 59915"/>
                <a:gd name="connsiteY14" fmla="*/ 15932 h 15932"/>
                <a:gd name="connsiteX15" fmla="*/ 28229 w 59915"/>
                <a:gd name="connsiteY15" fmla="*/ 14635 h 15932"/>
                <a:gd name="connsiteX16" fmla="*/ 1872 w 59915"/>
                <a:gd name="connsiteY16" fmla="*/ 11607 h 15932"/>
                <a:gd name="connsiteX17" fmla="*/ 864 w 59915"/>
                <a:gd name="connsiteY17" fmla="*/ 11174 h 15932"/>
                <a:gd name="connsiteX18" fmla="*/ 288 w 59915"/>
                <a:gd name="connsiteY18" fmla="*/ 10165 h 15932"/>
                <a:gd name="connsiteX19" fmla="*/ 0 w 59915"/>
                <a:gd name="connsiteY19" fmla="*/ 6921 h 15932"/>
                <a:gd name="connsiteX20" fmla="*/ 1224 w 59915"/>
                <a:gd name="connsiteY20" fmla="*/ 360 h 1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9915" h="15932">
                  <a:moveTo>
                    <a:pt x="1224" y="360"/>
                  </a:moveTo>
                  <a:lnTo>
                    <a:pt x="32694" y="1081"/>
                  </a:lnTo>
                  <a:lnTo>
                    <a:pt x="37375" y="144"/>
                  </a:lnTo>
                  <a:lnTo>
                    <a:pt x="43424" y="0"/>
                  </a:lnTo>
                  <a:lnTo>
                    <a:pt x="49473" y="649"/>
                  </a:lnTo>
                  <a:lnTo>
                    <a:pt x="54082" y="1947"/>
                  </a:lnTo>
                  <a:lnTo>
                    <a:pt x="57611" y="4326"/>
                  </a:lnTo>
                  <a:lnTo>
                    <a:pt x="58907" y="5984"/>
                  </a:lnTo>
                  <a:lnTo>
                    <a:pt x="59699" y="7714"/>
                  </a:lnTo>
                  <a:lnTo>
                    <a:pt x="59915" y="9588"/>
                  </a:lnTo>
                  <a:lnTo>
                    <a:pt x="59339" y="11535"/>
                  </a:lnTo>
                  <a:lnTo>
                    <a:pt x="57971" y="13409"/>
                  </a:lnTo>
                  <a:lnTo>
                    <a:pt x="55522" y="15212"/>
                  </a:lnTo>
                  <a:lnTo>
                    <a:pt x="51922" y="15932"/>
                  </a:lnTo>
                  <a:lnTo>
                    <a:pt x="45513" y="15932"/>
                  </a:lnTo>
                  <a:lnTo>
                    <a:pt x="28229" y="14635"/>
                  </a:lnTo>
                  <a:lnTo>
                    <a:pt x="1872" y="11607"/>
                  </a:lnTo>
                  <a:lnTo>
                    <a:pt x="864" y="11174"/>
                  </a:lnTo>
                  <a:lnTo>
                    <a:pt x="288" y="10165"/>
                  </a:lnTo>
                  <a:lnTo>
                    <a:pt x="0" y="6921"/>
                  </a:lnTo>
                  <a:lnTo>
                    <a:pt x="1224" y="360"/>
                  </a:lnTo>
                </a:path>
              </a:pathLst>
            </a:custGeom>
            <a:solidFill>
              <a:srgbClr val="ED1849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0FEC3C19-B59E-2F2D-6030-7F0A91BF9062}"/>
                </a:ext>
              </a:extLst>
            </p:cNvPr>
            <p:cNvSpPr/>
            <p:nvPr/>
          </p:nvSpPr>
          <p:spPr>
            <a:xfrm>
              <a:off x="9671290" y="3456448"/>
              <a:ext cx="57754" cy="15644"/>
            </a:xfrm>
            <a:custGeom>
              <a:avLst/>
              <a:gdLst>
                <a:gd name="connsiteX0" fmla="*/ 7057 w 57754"/>
                <a:gd name="connsiteY0" fmla="*/ 0 h 15644"/>
                <a:gd name="connsiteX1" fmla="*/ 9794 w 57754"/>
                <a:gd name="connsiteY1" fmla="*/ 1658 h 15644"/>
                <a:gd name="connsiteX2" fmla="*/ 11522 w 57754"/>
                <a:gd name="connsiteY2" fmla="*/ 2667 h 15644"/>
                <a:gd name="connsiteX3" fmla="*/ 13467 w 57754"/>
                <a:gd name="connsiteY3" fmla="*/ 3172 h 15644"/>
                <a:gd name="connsiteX4" fmla="*/ 14835 w 57754"/>
                <a:gd name="connsiteY4" fmla="*/ 2884 h 15644"/>
                <a:gd name="connsiteX5" fmla="*/ 16419 w 57754"/>
                <a:gd name="connsiteY5" fmla="*/ 2163 h 15644"/>
                <a:gd name="connsiteX6" fmla="*/ 18003 w 57754"/>
                <a:gd name="connsiteY6" fmla="*/ 1370 h 15644"/>
                <a:gd name="connsiteX7" fmla="*/ 19588 w 57754"/>
                <a:gd name="connsiteY7" fmla="*/ 1009 h 15644"/>
                <a:gd name="connsiteX8" fmla="*/ 22324 w 57754"/>
                <a:gd name="connsiteY8" fmla="*/ 2019 h 15644"/>
                <a:gd name="connsiteX9" fmla="*/ 25277 w 57754"/>
                <a:gd name="connsiteY9" fmla="*/ 3028 h 15644"/>
                <a:gd name="connsiteX10" fmla="*/ 27725 w 57754"/>
                <a:gd name="connsiteY10" fmla="*/ 2235 h 15644"/>
                <a:gd name="connsiteX11" fmla="*/ 30246 w 57754"/>
                <a:gd name="connsiteY11" fmla="*/ 1514 h 15644"/>
                <a:gd name="connsiteX12" fmla="*/ 33198 w 57754"/>
                <a:gd name="connsiteY12" fmla="*/ 2595 h 15644"/>
                <a:gd name="connsiteX13" fmla="*/ 34638 w 57754"/>
                <a:gd name="connsiteY13" fmla="*/ 3172 h 15644"/>
                <a:gd name="connsiteX14" fmla="*/ 36079 w 57754"/>
                <a:gd name="connsiteY14" fmla="*/ 3172 h 15644"/>
                <a:gd name="connsiteX15" fmla="*/ 45224 w 57754"/>
                <a:gd name="connsiteY15" fmla="*/ 1947 h 15644"/>
                <a:gd name="connsiteX16" fmla="*/ 52210 w 57754"/>
                <a:gd name="connsiteY16" fmla="*/ 3100 h 15644"/>
                <a:gd name="connsiteX17" fmla="*/ 52642 w 57754"/>
                <a:gd name="connsiteY17" fmla="*/ 3388 h 15644"/>
                <a:gd name="connsiteX18" fmla="*/ 52858 w 57754"/>
                <a:gd name="connsiteY18" fmla="*/ 3749 h 15644"/>
                <a:gd name="connsiteX19" fmla="*/ 52642 w 57754"/>
                <a:gd name="connsiteY19" fmla="*/ 4614 h 15644"/>
                <a:gd name="connsiteX20" fmla="*/ 52354 w 57754"/>
                <a:gd name="connsiteY20" fmla="*/ 5551 h 15644"/>
                <a:gd name="connsiteX21" fmla="*/ 52642 w 57754"/>
                <a:gd name="connsiteY21" fmla="*/ 6416 h 15644"/>
                <a:gd name="connsiteX22" fmla="*/ 54370 w 57754"/>
                <a:gd name="connsiteY22" fmla="*/ 7426 h 15644"/>
                <a:gd name="connsiteX23" fmla="*/ 56315 w 57754"/>
                <a:gd name="connsiteY23" fmla="*/ 8219 h 15644"/>
                <a:gd name="connsiteX24" fmla="*/ 57107 w 57754"/>
                <a:gd name="connsiteY24" fmla="*/ 8795 h 15644"/>
                <a:gd name="connsiteX25" fmla="*/ 57611 w 57754"/>
                <a:gd name="connsiteY25" fmla="*/ 9660 h 15644"/>
                <a:gd name="connsiteX26" fmla="*/ 57755 w 57754"/>
                <a:gd name="connsiteY26" fmla="*/ 10958 h 15644"/>
                <a:gd name="connsiteX27" fmla="*/ 57395 w 57754"/>
                <a:gd name="connsiteY27" fmla="*/ 12760 h 15644"/>
                <a:gd name="connsiteX28" fmla="*/ 56819 w 57754"/>
                <a:gd name="connsiteY28" fmla="*/ 13626 h 15644"/>
                <a:gd name="connsiteX29" fmla="*/ 55522 w 57754"/>
                <a:gd name="connsiteY29" fmla="*/ 14346 h 15644"/>
                <a:gd name="connsiteX30" fmla="*/ 51562 w 57754"/>
                <a:gd name="connsiteY30" fmla="*/ 15212 h 15644"/>
                <a:gd name="connsiteX31" fmla="*/ 39031 w 57754"/>
                <a:gd name="connsiteY31" fmla="*/ 15644 h 15644"/>
                <a:gd name="connsiteX32" fmla="*/ 21100 w 57754"/>
                <a:gd name="connsiteY32" fmla="*/ 13337 h 15644"/>
                <a:gd name="connsiteX33" fmla="*/ 5545 w 57754"/>
                <a:gd name="connsiteY33" fmla="*/ 10453 h 15644"/>
                <a:gd name="connsiteX34" fmla="*/ 3241 w 57754"/>
                <a:gd name="connsiteY34" fmla="*/ 9516 h 15644"/>
                <a:gd name="connsiteX35" fmla="*/ 1512 w 57754"/>
                <a:gd name="connsiteY35" fmla="*/ 7426 h 15644"/>
                <a:gd name="connsiteX36" fmla="*/ 360 w 57754"/>
                <a:gd name="connsiteY36" fmla="*/ 4974 h 15644"/>
                <a:gd name="connsiteX37" fmla="*/ 0 w 57754"/>
                <a:gd name="connsiteY37" fmla="*/ 2812 h 15644"/>
                <a:gd name="connsiteX38" fmla="*/ 7057 w 57754"/>
                <a:gd name="connsiteY38" fmla="*/ 0 h 1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754" h="15644">
                  <a:moveTo>
                    <a:pt x="7057" y="0"/>
                  </a:moveTo>
                  <a:lnTo>
                    <a:pt x="9794" y="1658"/>
                  </a:lnTo>
                  <a:lnTo>
                    <a:pt x="11522" y="2667"/>
                  </a:lnTo>
                  <a:lnTo>
                    <a:pt x="13467" y="3172"/>
                  </a:lnTo>
                  <a:lnTo>
                    <a:pt x="14835" y="2884"/>
                  </a:lnTo>
                  <a:lnTo>
                    <a:pt x="16419" y="2163"/>
                  </a:lnTo>
                  <a:lnTo>
                    <a:pt x="18003" y="1370"/>
                  </a:lnTo>
                  <a:lnTo>
                    <a:pt x="19588" y="1009"/>
                  </a:lnTo>
                  <a:lnTo>
                    <a:pt x="22324" y="2019"/>
                  </a:lnTo>
                  <a:lnTo>
                    <a:pt x="25277" y="3028"/>
                  </a:lnTo>
                  <a:lnTo>
                    <a:pt x="27725" y="2235"/>
                  </a:lnTo>
                  <a:lnTo>
                    <a:pt x="30246" y="1514"/>
                  </a:lnTo>
                  <a:lnTo>
                    <a:pt x="33198" y="2595"/>
                  </a:lnTo>
                  <a:lnTo>
                    <a:pt x="34638" y="3172"/>
                  </a:lnTo>
                  <a:lnTo>
                    <a:pt x="36079" y="3172"/>
                  </a:lnTo>
                  <a:lnTo>
                    <a:pt x="45224" y="1947"/>
                  </a:lnTo>
                  <a:lnTo>
                    <a:pt x="52210" y="3100"/>
                  </a:lnTo>
                  <a:lnTo>
                    <a:pt x="52642" y="3388"/>
                  </a:lnTo>
                  <a:lnTo>
                    <a:pt x="52858" y="3749"/>
                  </a:lnTo>
                  <a:lnTo>
                    <a:pt x="52642" y="4614"/>
                  </a:lnTo>
                  <a:lnTo>
                    <a:pt x="52354" y="5551"/>
                  </a:lnTo>
                  <a:lnTo>
                    <a:pt x="52642" y="6416"/>
                  </a:lnTo>
                  <a:lnTo>
                    <a:pt x="54370" y="7426"/>
                  </a:lnTo>
                  <a:lnTo>
                    <a:pt x="56315" y="8219"/>
                  </a:lnTo>
                  <a:lnTo>
                    <a:pt x="57107" y="8795"/>
                  </a:lnTo>
                  <a:lnTo>
                    <a:pt x="57611" y="9660"/>
                  </a:lnTo>
                  <a:lnTo>
                    <a:pt x="57755" y="10958"/>
                  </a:lnTo>
                  <a:lnTo>
                    <a:pt x="57395" y="12760"/>
                  </a:lnTo>
                  <a:lnTo>
                    <a:pt x="56819" y="13626"/>
                  </a:lnTo>
                  <a:lnTo>
                    <a:pt x="55522" y="14346"/>
                  </a:lnTo>
                  <a:lnTo>
                    <a:pt x="51562" y="15212"/>
                  </a:lnTo>
                  <a:lnTo>
                    <a:pt x="39031" y="15644"/>
                  </a:lnTo>
                  <a:lnTo>
                    <a:pt x="21100" y="13337"/>
                  </a:lnTo>
                  <a:lnTo>
                    <a:pt x="5545" y="10453"/>
                  </a:lnTo>
                  <a:lnTo>
                    <a:pt x="3241" y="9516"/>
                  </a:lnTo>
                  <a:lnTo>
                    <a:pt x="1512" y="7426"/>
                  </a:lnTo>
                  <a:lnTo>
                    <a:pt x="360" y="4974"/>
                  </a:lnTo>
                  <a:lnTo>
                    <a:pt x="0" y="2812"/>
                  </a:lnTo>
                  <a:lnTo>
                    <a:pt x="705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F3729E12-41C0-50C0-6378-8B2FA5330FEB}"/>
                </a:ext>
              </a:extLst>
            </p:cNvPr>
            <p:cNvSpPr/>
            <p:nvPr/>
          </p:nvSpPr>
          <p:spPr>
            <a:xfrm>
              <a:off x="9668481" y="3473390"/>
              <a:ext cx="59771" cy="17013"/>
            </a:xfrm>
            <a:custGeom>
              <a:avLst/>
              <a:gdLst>
                <a:gd name="connsiteX0" fmla="*/ 5617 w 59771"/>
                <a:gd name="connsiteY0" fmla="*/ 0 h 17013"/>
                <a:gd name="connsiteX1" fmla="*/ 10442 w 59771"/>
                <a:gd name="connsiteY1" fmla="*/ 1874 h 17013"/>
                <a:gd name="connsiteX2" fmla="*/ 12818 w 59771"/>
                <a:gd name="connsiteY2" fmla="*/ 2740 h 17013"/>
                <a:gd name="connsiteX3" fmla="*/ 15195 w 59771"/>
                <a:gd name="connsiteY3" fmla="*/ 2667 h 17013"/>
                <a:gd name="connsiteX4" fmla="*/ 36583 w 59771"/>
                <a:gd name="connsiteY4" fmla="*/ 1658 h 17013"/>
                <a:gd name="connsiteX5" fmla="*/ 45152 w 59771"/>
                <a:gd name="connsiteY5" fmla="*/ 2451 h 17013"/>
                <a:gd name="connsiteX6" fmla="*/ 51850 w 59771"/>
                <a:gd name="connsiteY6" fmla="*/ 4109 h 17013"/>
                <a:gd name="connsiteX7" fmla="*/ 54874 w 59771"/>
                <a:gd name="connsiteY7" fmla="*/ 4902 h 17013"/>
                <a:gd name="connsiteX8" fmla="*/ 56603 w 59771"/>
                <a:gd name="connsiteY8" fmla="*/ 5623 h 17013"/>
                <a:gd name="connsiteX9" fmla="*/ 57971 w 59771"/>
                <a:gd name="connsiteY9" fmla="*/ 6633 h 17013"/>
                <a:gd name="connsiteX10" fmla="*/ 59483 w 59771"/>
                <a:gd name="connsiteY10" fmla="*/ 9300 h 17013"/>
                <a:gd name="connsiteX11" fmla="*/ 59771 w 59771"/>
                <a:gd name="connsiteY11" fmla="*/ 11895 h 17013"/>
                <a:gd name="connsiteX12" fmla="*/ 59123 w 59771"/>
                <a:gd name="connsiteY12" fmla="*/ 14130 h 17013"/>
                <a:gd name="connsiteX13" fmla="*/ 57971 w 59771"/>
                <a:gd name="connsiteY13" fmla="*/ 15572 h 17013"/>
                <a:gd name="connsiteX14" fmla="*/ 57971 w 59771"/>
                <a:gd name="connsiteY14" fmla="*/ 17014 h 17013"/>
                <a:gd name="connsiteX15" fmla="*/ 37015 w 59771"/>
                <a:gd name="connsiteY15" fmla="*/ 16942 h 17013"/>
                <a:gd name="connsiteX16" fmla="*/ 30030 w 59771"/>
                <a:gd name="connsiteY16" fmla="*/ 17014 h 17013"/>
                <a:gd name="connsiteX17" fmla="*/ 23116 w 59771"/>
                <a:gd name="connsiteY17" fmla="*/ 16437 h 17013"/>
                <a:gd name="connsiteX18" fmla="*/ 16203 w 59771"/>
                <a:gd name="connsiteY18" fmla="*/ 15212 h 17013"/>
                <a:gd name="connsiteX19" fmla="*/ 10010 w 59771"/>
                <a:gd name="connsiteY19" fmla="*/ 14202 h 17013"/>
                <a:gd name="connsiteX20" fmla="*/ 5545 w 59771"/>
                <a:gd name="connsiteY20" fmla="*/ 13481 h 17013"/>
                <a:gd name="connsiteX21" fmla="*/ 3745 w 59771"/>
                <a:gd name="connsiteY21" fmla="*/ 13049 h 17013"/>
                <a:gd name="connsiteX22" fmla="*/ 2520 w 59771"/>
                <a:gd name="connsiteY22" fmla="*/ 11895 h 17013"/>
                <a:gd name="connsiteX23" fmla="*/ 792 w 59771"/>
                <a:gd name="connsiteY23" fmla="*/ 8219 h 17013"/>
                <a:gd name="connsiteX24" fmla="*/ 0 w 59771"/>
                <a:gd name="connsiteY24" fmla="*/ 4253 h 17013"/>
                <a:gd name="connsiteX25" fmla="*/ 5617 w 59771"/>
                <a:gd name="connsiteY25" fmla="*/ 0 h 17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9771" h="17013">
                  <a:moveTo>
                    <a:pt x="5617" y="0"/>
                  </a:moveTo>
                  <a:lnTo>
                    <a:pt x="10442" y="1874"/>
                  </a:lnTo>
                  <a:lnTo>
                    <a:pt x="12818" y="2740"/>
                  </a:lnTo>
                  <a:lnTo>
                    <a:pt x="15195" y="2667"/>
                  </a:lnTo>
                  <a:lnTo>
                    <a:pt x="36583" y="1658"/>
                  </a:lnTo>
                  <a:lnTo>
                    <a:pt x="45152" y="2451"/>
                  </a:lnTo>
                  <a:lnTo>
                    <a:pt x="51850" y="4109"/>
                  </a:lnTo>
                  <a:lnTo>
                    <a:pt x="54874" y="4902"/>
                  </a:lnTo>
                  <a:lnTo>
                    <a:pt x="56603" y="5623"/>
                  </a:lnTo>
                  <a:lnTo>
                    <a:pt x="57971" y="6633"/>
                  </a:lnTo>
                  <a:lnTo>
                    <a:pt x="59483" y="9300"/>
                  </a:lnTo>
                  <a:lnTo>
                    <a:pt x="59771" y="11895"/>
                  </a:lnTo>
                  <a:lnTo>
                    <a:pt x="59123" y="14130"/>
                  </a:lnTo>
                  <a:lnTo>
                    <a:pt x="57971" y="15572"/>
                  </a:lnTo>
                  <a:lnTo>
                    <a:pt x="57971" y="17014"/>
                  </a:lnTo>
                  <a:lnTo>
                    <a:pt x="37015" y="16942"/>
                  </a:lnTo>
                  <a:lnTo>
                    <a:pt x="30030" y="17014"/>
                  </a:lnTo>
                  <a:lnTo>
                    <a:pt x="23116" y="16437"/>
                  </a:lnTo>
                  <a:lnTo>
                    <a:pt x="16203" y="15212"/>
                  </a:lnTo>
                  <a:lnTo>
                    <a:pt x="10010" y="14202"/>
                  </a:lnTo>
                  <a:lnTo>
                    <a:pt x="5545" y="13481"/>
                  </a:lnTo>
                  <a:lnTo>
                    <a:pt x="3745" y="13049"/>
                  </a:lnTo>
                  <a:lnTo>
                    <a:pt x="2520" y="11895"/>
                  </a:lnTo>
                  <a:lnTo>
                    <a:pt x="792" y="8219"/>
                  </a:lnTo>
                  <a:lnTo>
                    <a:pt x="0" y="4253"/>
                  </a:lnTo>
                  <a:lnTo>
                    <a:pt x="561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2D8BF74B-B250-576D-D19B-1EA9314559D3}"/>
                </a:ext>
              </a:extLst>
            </p:cNvPr>
            <p:cNvSpPr/>
            <p:nvPr/>
          </p:nvSpPr>
          <p:spPr>
            <a:xfrm>
              <a:off x="9668553" y="3498406"/>
              <a:ext cx="60779" cy="27899"/>
            </a:xfrm>
            <a:custGeom>
              <a:avLst/>
              <a:gdLst>
                <a:gd name="connsiteX0" fmla="*/ 7129 w 60779"/>
                <a:gd name="connsiteY0" fmla="*/ 0 h 27899"/>
                <a:gd name="connsiteX1" fmla="*/ 16635 w 60779"/>
                <a:gd name="connsiteY1" fmla="*/ 1226 h 27899"/>
                <a:gd name="connsiteX2" fmla="*/ 19804 w 60779"/>
                <a:gd name="connsiteY2" fmla="*/ 1586 h 27899"/>
                <a:gd name="connsiteX3" fmla="*/ 22540 w 60779"/>
                <a:gd name="connsiteY3" fmla="*/ 1081 h 27899"/>
                <a:gd name="connsiteX4" fmla="*/ 26213 w 60779"/>
                <a:gd name="connsiteY4" fmla="*/ 721 h 27899"/>
                <a:gd name="connsiteX5" fmla="*/ 31974 w 60779"/>
                <a:gd name="connsiteY5" fmla="*/ 1153 h 27899"/>
                <a:gd name="connsiteX6" fmla="*/ 40256 w 60779"/>
                <a:gd name="connsiteY6" fmla="*/ 1298 h 27899"/>
                <a:gd name="connsiteX7" fmla="*/ 48609 w 60779"/>
                <a:gd name="connsiteY7" fmla="*/ 865 h 27899"/>
                <a:gd name="connsiteX8" fmla="*/ 51490 w 60779"/>
                <a:gd name="connsiteY8" fmla="*/ 793 h 27899"/>
                <a:gd name="connsiteX9" fmla="*/ 53938 w 60779"/>
                <a:gd name="connsiteY9" fmla="*/ 1802 h 27899"/>
                <a:gd name="connsiteX10" fmla="*/ 58259 w 60779"/>
                <a:gd name="connsiteY10" fmla="*/ 5407 h 27899"/>
                <a:gd name="connsiteX11" fmla="*/ 59699 w 60779"/>
                <a:gd name="connsiteY11" fmla="*/ 7209 h 27899"/>
                <a:gd name="connsiteX12" fmla="*/ 60563 w 60779"/>
                <a:gd name="connsiteY12" fmla="*/ 9300 h 27899"/>
                <a:gd name="connsiteX13" fmla="*/ 60779 w 60779"/>
                <a:gd name="connsiteY13" fmla="*/ 11607 h 27899"/>
                <a:gd name="connsiteX14" fmla="*/ 60203 w 60779"/>
                <a:gd name="connsiteY14" fmla="*/ 13914 h 27899"/>
                <a:gd name="connsiteX15" fmla="*/ 57683 w 60779"/>
                <a:gd name="connsiteY15" fmla="*/ 20979 h 27899"/>
                <a:gd name="connsiteX16" fmla="*/ 56243 w 60779"/>
                <a:gd name="connsiteY16" fmla="*/ 24079 h 27899"/>
                <a:gd name="connsiteX17" fmla="*/ 54154 w 60779"/>
                <a:gd name="connsiteY17" fmla="*/ 26602 h 27899"/>
                <a:gd name="connsiteX18" fmla="*/ 52930 w 60779"/>
                <a:gd name="connsiteY18" fmla="*/ 27179 h 27899"/>
                <a:gd name="connsiteX19" fmla="*/ 51490 w 60779"/>
                <a:gd name="connsiteY19" fmla="*/ 27251 h 27899"/>
                <a:gd name="connsiteX20" fmla="*/ 47961 w 60779"/>
                <a:gd name="connsiteY20" fmla="*/ 26602 h 27899"/>
                <a:gd name="connsiteX21" fmla="*/ 44288 w 60779"/>
                <a:gd name="connsiteY21" fmla="*/ 25593 h 27899"/>
                <a:gd name="connsiteX22" fmla="*/ 41120 w 60779"/>
                <a:gd name="connsiteY22" fmla="*/ 25160 h 27899"/>
                <a:gd name="connsiteX23" fmla="*/ 38815 w 60779"/>
                <a:gd name="connsiteY23" fmla="*/ 25737 h 27899"/>
                <a:gd name="connsiteX24" fmla="*/ 36799 w 60779"/>
                <a:gd name="connsiteY24" fmla="*/ 26746 h 27899"/>
                <a:gd name="connsiteX25" fmla="*/ 34711 w 60779"/>
                <a:gd name="connsiteY25" fmla="*/ 27612 h 27899"/>
                <a:gd name="connsiteX26" fmla="*/ 32334 w 60779"/>
                <a:gd name="connsiteY26" fmla="*/ 27900 h 27899"/>
                <a:gd name="connsiteX27" fmla="*/ 25565 w 60779"/>
                <a:gd name="connsiteY27" fmla="*/ 26098 h 27899"/>
                <a:gd name="connsiteX28" fmla="*/ 21748 w 60779"/>
                <a:gd name="connsiteY28" fmla="*/ 25593 h 27899"/>
                <a:gd name="connsiteX29" fmla="*/ 17355 w 60779"/>
                <a:gd name="connsiteY29" fmla="*/ 26314 h 27899"/>
                <a:gd name="connsiteX30" fmla="*/ 16203 w 60779"/>
                <a:gd name="connsiteY30" fmla="*/ 26458 h 27899"/>
                <a:gd name="connsiteX31" fmla="*/ 15123 w 60779"/>
                <a:gd name="connsiteY31" fmla="*/ 25953 h 27899"/>
                <a:gd name="connsiteX32" fmla="*/ 13971 w 60779"/>
                <a:gd name="connsiteY32" fmla="*/ 25377 h 27899"/>
                <a:gd name="connsiteX33" fmla="*/ 12746 w 60779"/>
                <a:gd name="connsiteY33" fmla="*/ 25088 h 27899"/>
                <a:gd name="connsiteX34" fmla="*/ 10082 w 60779"/>
                <a:gd name="connsiteY34" fmla="*/ 25016 h 27899"/>
                <a:gd name="connsiteX35" fmla="*/ 9074 w 60779"/>
                <a:gd name="connsiteY35" fmla="*/ 24656 h 27899"/>
                <a:gd name="connsiteX36" fmla="*/ 8570 w 60779"/>
                <a:gd name="connsiteY36" fmla="*/ 24079 h 27899"/>
                <a:gd name="connsiteX37" fmla="*/ 5329 w 60779"/>
                <a:gd name="connsiteY37" fmla="*/ 19105 h 27899"/>
                <a:gd name="connsiteX38" fmla="*/ 1872 w 60779"/>
                <a:gd name="connsiteY38" fmla="*/ 14995 h 27899"/>
                <a:gd name="connsiteX39" fmla="*/ 432 w 60779"/>
                <a:gd name="connsiteY39" fmla="*/ 13121 h 27899"/>
                <a:gd name="connsiteX40" fmla="*/ 0 w 60779"/>
                <a:gd name="connsiteY40" fmla="*/ 10958 h 27899"/>
                <a:gd name="connsiteX41" fmla="*/ 792 w 60779"/>
                <a:gd name="connsiteY41" fmla="*/ 8363 h 27899"/>
                <a:gd name="connsiteX42" fmla="*/ 2664 w 60779"/>
                <a:gd name="connsiteY42" fmla="*/ 5623 h 27899"/>
                <a:gd name="connsiteX43" fmla="*/ 7129 w 60779"/>
                <a:gd name="connsiteY43" fmla="*/ 0 h 27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0779" h="27899">
                  <a:moveTo>
                    <a:pt x="7129" y="0"/>
                  </a:moveTo>
                  <a:lnTo>
                    <a:pt x="16635" y="1226"/>
                  </a:lnTo>
                  <a:lnTo>
                    <a:pt x="19804" y="1586"/>
                  </a:lnTo>
                  <a:lnTo>
                    <a:pt x="22540" y="1081"/>
                  </a:lnTo>
                  <a:lnTo>
                    <a:pt x="26213" y="721"/>
                  </a:lnTo>
                  <a:lnTo>
                    <a:pt x="31974" y="1153"/>
                  </a:lnTo>
                  <a:lnTo>
                    <a:pt x="40256" y="1298"/>
                  </a:lnTo>
                  <a:lnTo>
                    <a:pt x="48609" y="865"/>
                  </a:lnTo>
                  <a:lnTo>
                    <a:pt x="51490" y="793"/>
                  </a:lnTo>
                  <a:lnTo>
                    <a:pt x="53938" y="1802"/>
                  </a:lnTo>
                  <a:lnTo>
                    <a:pt x="58259" y="5407"/>
                  </a:lnTo>
                  <a:lnTo>
                    <a:pt x="59699" y="7209"/>
                  </a:lnTo>
                  <a:lnTo>
                    <a:pt x="60563" y="9300"/>
                  </a:lnTo>
                  <a:lnTo>
                    <a:pt x="60779" y="11607"/>
                  </a:lnTo>
                  <a:lnTo>
                    <a:pt x="60203" y="13914"/>
                  </a:lnTo>
                  <a:lnTo>
                    <a:pt x="57683" y="20979"/>
                  </a:lnTo>
                  <a:lnTo>
                    <a:pt x="56243" y="24079"/>
                  </a:lnTo>
                  <a:lnTo>
                    <a:pt x="54154" y="26602"/>
                  </a:lnTo>
                  <a:lnTo>
                    <a:pt x="52930" y="27179"/>
                  </a:lnTo>
                  <a:lnTo>
                    <a:pt x="51490" y="27251"/>
                  </a:lnTo>
                  <a:lnTo>
                    <a:pt x="47961" y="26602"/>
                  </a:lnTo>
                  <a:lnTo>
                    <a:pt x="44288" y="25593"/>
                  </a:lnTo>
                  <a:lnTo>
                    <a:pt x="41120" y="25160"/>
                  </a:lnTo>
                  <a:lnTo>
                    <a:pt x="38815" y="25737"/>
                  </a:lnTo>
                  <a:lnTo>
                    <a:pt x="36799" y="26746"/>
                  </a:lnTo>
                  <a:lnTo>
                    <a:pt x="34711" y="27612"/>
                  </a:lnTo>
                  <a:lnTo>
                    <a:pt x="32334" y="27900"/>
                  </a:lnTo>
                  <a:lnTo>
                    <a:pt x="25565" y="26098"/>
                  </a:lnTo>
                  <a:lnTo>
                    <a:pt x="21748" y="25593"/>
                  </a:lnTo>
                  <a:lnTo>
                    <a:pt x="17355" y="26314"/>
                  </a:lnTo>
                  <a:lnTo>
                    <a:pt x="16203" y="26458"/>
                  </a:lnTo>
                  <a:lnTo>
                    <a:pt x="15123" y="25953"/>
                  </a:lnTo>
                  <a:lnTo>
                    <a:pt x="13971" y="25377"/>
                  </a:lnTo>
                  <a:lnTo>
                    <a:pt x="12746" y="25088"/>
                  </a:lnTo>
                  <a:lnTo>
                    <a:pt x="10082" y="25016"/>
                  </a:lnTo>
                  <a:lnTo>
                    <a:pt x="9074" y="24656"/>
                  </a:lnTo>
                  <a:lnTo>
                    <a:pt x="8570" y="24079"/>
                  </a:lnTo>
                  <a:lnTo>
                    <a:pt x="5329" y="19105"/>
                  </a:lnTo>
                  <a:lnTo>
                    <a:pt x="1872" y="14995"/>
                  </a:lnTo>
                  <a:lnTo>
                    <a:pt x="432" y="13121"/>
                  </a:lnTo>
                  <a:lnTo>
                    <a:pt x="0" y="10958"/>
                  </a:lnTo>
                  <a:lnTo>
                    <a:pt x="792" y="8363"/>
                  </a:lnTo>
                  <a:lnTo>
                    <a:pt x="2664" y="5623"/>
                  </a:lnTo>
                  <a:lnTo>
                    <a:pt x="7129" y="0"/>
                  </a:lnTo>
                </a:path>
              </a:pathLst>
            </a:custGeom>
            <a:solidFill>
              <a:srgbClr val="A9218E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0DF85A22-7D31-86AC-41F5-14D4FB7A2088}"/>
                </a:ext>
              </a:extLst>
            </p:cNvPr>
            <p:cNvSpPr/>
            <p:nvPr/>
          </p:nvSpPr>
          <p:spPr>
            <a:xfrm>
              <a:off x="9664305" y="3546780"/>
              <a:ext cx="69565" cy="39506"/>
            </a:xfrm>
            <a:custGeom>
              <a:avLst/>
              <a:gdLst>
                <a:gd name="connsiteX0" fmla="*/ 22180 w 69565"/>
                <a:gd name="connsiteY0" fmla="*/ 216 h 39506"/>
                <a:gd name="connsiteX1" fmla="*/ 25709 w 69565"/>
                <a:gd name="connsiteY1" fmla="*/ 0 h 39506"/>
                <a:gd name="connsiteX2" fmla="*/ 29238 w 69565"/>
                <a:gd name="connsiteY2" fmla="*/ 360 h 39506"/>
                <a:gd name="connsiteX3" fmla="*/ 49545 w 69565"/>
                <a:gd name="connsiteY3" fmla="*/ 2379 h 39506"/>
                <a:gd name="connsiteX4" fmla="*/ 55234 w 69565"/>
                <a:gd name="connsiteY4" fmla="*/ 3244 h 39506"/>
                <a:gd name="connsiteX5" fmla="*/ 60635 w 69565"/>
                <a:gd name="connsiteY5" fmla="*/ 4758 h 39506"/>
                <a:gd name="connsiteX6" fmla="*/ 63084 w 69565"/>
                <a:gd name="connsiteY6" fmla="*/ 6272 h 39506"/>
                <a:gd name="connsiteX7" fmla="*/ 65244 w 69565"/>
                <a:gd name="connsiteY7" fmla="*/ 8435 h 39506"/>
                <a:gd name="connsiteX8" fmla="*/ 67045 w 69565"/>
                <a:gd name="connsiteY8" fmla="*/ 11679 h 39506"/>
                <a:gd name="connsiteX9" fmla="*/ 68485 w 69565"/>
                <a:gd name="connsiteY9" fmla="*/ 16005 h 39506"/>
                <a:gd name="connsiteX10" fmla="*/ 69565 w 69565"/>
                <a:gd name="connsiteY10" fmla="*/ 23358 h 39506"/>
                <a:gd name="connsiteX11" fmla="*/ 69205 w 69565"/>
                <a:gd name="connsiteY11" fmla="*/ 27035 h 39506"/>
                <a:gd name="connsiteX12" fmla="*/ 67837 w 69565"/>
                <a:gd name="connsiteY12" fmla="*/ 30423 h 39506"/>
                <a:gd name="connsiteX13" fmla="*/ 65964 w 69565"/>
                <a:gd name="connsiteY13" fmla="*/ 32586 h 39506"/>
                <a:gd name="connsiteX14" fmla="*/ 63516 w 69565"/>
                <a:gd name="connsiteY14" fmla="*/ 34460 h 39506"/>
                <a:gd name="connsiteX15" fmla="*/ 56963 w 69565"/>
                <a:gd name="connsiteY15" fmla="*/ 37272 h 39506"/>
                <a:gd name="connsiteX16" fmla="*/ 39751 w 69565"/>
                <a:gd name="connsiteY16" fmla="*/ 39507 h 39506"/>
                <a:gd name="connsiteX17" fmla="*/ 34278 w 69565"/>
                <a:gd name="connsiteY17" fmla="*/ 38786 h 39506"/>
                <a:gd name="connsiteX18" fmla="*/ 29021 w 69565"/>
                <a:gd name="connsiteY18" fmla="*/ 37272 h 39506"/>
                <a:gd name="connsiteX19" fmla="*/ 23764 w 69565"/>
                <a:gd name="connsiteY19" fmla="*/ 35830 h 39506"/>
                <a:gd name="connsiteX20" fmla="*/ 18652 w 69565"/>
                <a:gd name="connsiteY20" fmla="*/ 35253 h 39506"/>
                <a:gd name="connsiteX21" fmla="*/ 11450 w 69565"/>
                <a:gd name="connsiteY21" fmla="*/ 34388 h 39506"/>
                <a:gd name="connsiteX22" fmla="*/ 6049 w 69565"/>
                <a:gd name="connsiteY22" fmla="*/ 31721 h 39506"/>
                <a:gd name="connsiteX23" fmla="*/ 2448 w 69565"/>
                <a:gd name="connsiteY23" fmla="*/ 27900 h 39506"/>
                <a:gd name="connsiteX24" fmla="*/ 504 w 69565"/>
                <a:gd name="connsiteY24" fmla="*/ 23574 h 39506"/>
                <a:gd name="connsiteX25" fmla="*/ 0 w 69565"/>
                <a:gd name="connsiteY25" fmla="*/ 18816 h 39506"/>
                <a:gd name="connsiteX26" fmla="*/ 1152 w 69565"/>
                <a:gd name="connsiteY26" fmla="*/ 14707 h 39506"/>
                <a:gd name="connsiteX27" fmla="*/ 3529 w 69565"/>
                <a:gd name="connsiteY27" fmla="*/ 11246 h 39506"/>
                <a:gd name="connsiteX28" fmla="*/ 6625 w 69565"/>
                <a:gd name="connsiteY28" fmla="*/ 8507 h 39506"/>
                <a:gd name="connsiteX29" fmla="*/ 13395 w 69565"/>
                <a:gd name="connsiteY29" fmla="*/ 4758 h 39506"/>
                <a:gd name="connsiteX30" fmla="*/ 18003 w 69565"/>
                <a:gd name="connsiteY30" fmla="*/ 3100 h 39506"/>
                <a:gd name="connsiteX31" fmla="*/ 19156 w 69565"/>
                <a:gd name="connsiteY31" fmla="*/ 2523 h 39506"/>
                <a:gd name="connsiteX32" fmla="*/ 19948 w 69565"/>
                <a:gd name="connsiteY32" fmla="*/ 1730 h 39506"/>
                <a:gd name="connsiteX33" fmla="*/ 20812 w 69565"/>
                <a:gd name="connsiteY33" fmla="*/ 865 h 39506"/>
                <a:gd name="connsiteX34" fmla="*/ 22180 w 69565"/>
                <a:gd name="connsiteY34" fmla="*/ 216 h 3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9565" h="39506">
                  <a:moveTo>
                    <a:pt x="22180" y="216"/>
                  </a:moveTo>
                  <a:lnTo>
                    <a:pt x="25709" y="0"/>
                  </a:lnTo>
                  <a:lnTo>
                    <a:pt x="29238" y="360"/>
                  </a:lnTo>
                  <a:lnTo>
                    <a:pt x="49545" y="2379"/>
                  </a:lnTo>
                  <a:lnTo>
                    <a:pt x="55234" y="3244"/>
                  </a:lnTo>
                  <a:lnTo>
                    <a:pt x="60635" y="4758"/>
                  </a:lnTo>
                  <a:lnTo>
                    <a:pt x="63084" y="6272"/>
                  </a:lnTo>
                  <a:lnTo>
                    <a:pt x="65244" y="8435"/>
                  </a:lnTo>
                  <a:lnTo>
                    <a:pt x="67045" y="11679"/>
                  </a:lnTo>
                  <a:lnTo>
                    <a:pt x="68485" y="16005"/>
                  </a:lnTo>
                  <a:lnTo>
                    <a:pt x="69565" y="23358"/>
                  </a:lnTo>
                  <a:lnTo>
                    <a:pt x="69205" y="27035"/>
                  </a:lnTo>
                  <a:lnTo>
                    <a:pt x="67837" y="30423"/>
                  </a:lnTo>
                  <a:lnTo>
                    <a:pt x="65964" y="32586"/>
                  </a:lnTo>
                  <a:lnTo>
                    <a:pt x="63516" y="34460"/>
                  </a:lnTo>
                  <a:lnTo>
                    <a:pt x="56963" y="37272"/>
                  </a:lnTo>
                  <a:lnTo>
                    <a:pt x="39751" y="39507"/>
                  </a:lnTo>
                  <a:lnTo>
                    <a:pt x="34278" y="38786"/>
                  </a:lnTo>
                  <a:lnTo>
                    <a:pt x="29021" y="37272"/>
                  </a:lnTo>
                  <a:lnTo>
                    <a:pt x="23764" y="35830"/>
                  </a:lnTo>
                  <a:lnTo>
                    <a:pt x="18652" y="35253"/>
                  </a:lnTo>
                  <a:lnTo>
                    <a:pt x="11450" y="34388"/>
                  </a:lnTo>
                  <a:lnTo>
                    <a:pt x="6049" y="31721"/>
                  </a:lnTo>
                  <a:lnTo>
                    <a:pt x="2448" y="27900"/>
                  </a:lnTo>
                  <a:lnTo>
                    <a:pt x="504" y="23574"/>
                  </a:lnTo>
                  <a:lnTo>
                    <a:pt x="0" y="18816"/>
                  </a:lnTo>
                  <a:lnTo>
                    <a:pt x="1152" y="14707"/>
                  </a:lnTo>
                  <a:lnTo>
                    <a:pt x="3529" y="11246"/>
                  </a:lnTo>
                  <a:lnTo>
                    <a:pt x="6625" y="8507"/>
                  </a:lnTo>
                  <a:lnTo>
                    <a:pt x="13395" y="4758"/>
                  </a:lnTo>
                  <a:lnTo>
                    <a:pt x="18003" y="3100"/>
                  </a:lnTo>
                  <a:lnTo>
                    <a:pt x="19156" y="2523"/>
                  </a:lnTo>
                  <a:lnTo>
                    <a:pt x="19948" y="1730"/>
                  </a:lnTo>
                  <a:lnTo>
                    <a:pt x="20812" y="865"/>
                  </a:lnTo>
                  <a:lnTo>
                    <a:pt x="22180" y="216"/>
                  </a:lnTo>
                </a:path>
              </a:pathLst>
            </a:custGeom>
            <a:solidFill>
              <a:srgbClr val="353D98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43B0DB2E-9A5A-7B41-1E0C-EEFD150F5246}"/>
                </a:ext>
              </a:extLst>
            </p:cNvPr>
            <p:cNvSpPr/>
            <p:nvPr/>
          </p:nvSpPr>
          <p:spPr>
            <a:xfrm>
              <a:off x="9669201" y="3603950"/>
              <a:ext cx="58186" cy="38137"/>
            </a:xfrm>
            <a:custGeom>
              <a:avLst/>
              <a:gdLst>
                <a:gd name="connsiteX0" fmla="*/ 32838 w 58186"/>
                <a:gd name="connsiteY0" fmla="*/ 0 h 38137"/>
                <a:gd name="connsiteX1" fmla="*/ 39463 w 58186"/>
                <a:gd name="connsiteY1" fmla="*/ 577 h 38137"/>
                <a:gd name="connsiteX2" fmla="*/ 46377 w 58186"/>
                <a:gd name="connsiteY2" fmla="*/ 3100 h 38137"/>
                <a:gd name="connsiteX3" fmla="*/ 48393 w 58186"/>
                <a:gd name="connsiteY3" fmla="*/ 5046 h 38137"/>
                <a:gd name="connsiteX4" fmla="*/ 50049 w 58186"/>
                <a:gd name="connsiteY4" fmla="*/ 6560 h 38137"/>
                <a:gd name="connsiteX5" fmla="*/ 53506 w 58186"/>
                <a:gd name="connsiteY5" fmla="*/ 7281 h 38137"/>
                <a:gd name="connsiteX6" fmla="*/ 55162 w 58186"/>
                <a:gd name="connsiteY6" fmla="*/ 7786 h 38137"/>
                <a:gd name="connsiteX7" fmla="*/ 56243 w 58186"/>
                <a:gd name="connsiteY7" fmla="*/ 8723 h 38137"/>
                <a:gd name="connsiteX8" fmla="*/ 58043 w 58186"/>
                <a:gd name="connsiteY8" fmla="*/ 16653 h 38137"/>
                <a:gd name="connsiteX9" fmla="*/ 58187 w 58186"/>
                <a:gd name="connsiteY9" fmla="*/ 21700 h 38137"/>
                <a:gd name="connsiteX10" fmla="*/ 57395 w 58186"/>
                <a:gd name="connsiteY10" fmla="*/ 25881 h 38137"/>
                <a:gd name="connsiteX11" fmla="*/ 55882 w 58186"/>
                <a:gd name="connsiteY11" fmla="*/ 28477 h 38137"/>
                <a:gd name="connsiteX12" fmla="*/ 53722 w 58186"/>
                <a:gd name="connsiteY12" fmla="*/ 30784 h 38137"/>
                <a:gd name="connsiteX13" fmla="*/ 48033 w 58186"/>
                <a:gd name="connsiteY13" fmla="*/ 34388 h 38137"/>
                <a:gd name="connsiteX14" fmla="*/ 40904 w 58186"/>
                <a:gd name="connsiteY14" fmla="*/ 36767 h 38137"/>
                <a:gd name="connsiteX15" fmla="*/ 32910 w 58186"/>
                <a:gd name="connsiteY15" fmla="*/ 37993 h 38137"/>
                <a:gd name="connsiteX16" fmla="*/ 24701 w 58186"/>
                <a:gd name="connsiteY16" fmla="*/ 38137 h 38137"/>
                <a:gd name="connsiteX17" fmla="*/ 16851 w 58186"/>
                <a:gd name="connsiteY17" fmla="*/ 37200 h 38137"/>
                <a:gd name="connsiteX18" fmla="*/ 9938 w 58186"/>
                <a:gd name="connsiteY18" fmla="*/ 35398 h 38137"/>
                <a:gd name="connsiteX19" fmla="*/ 4681 w 58186"/>
                <a:gd name="connsiteY19" fmla="*/ 32730 h 38137"/>
                <a:gd name="connsiteX20" fmla="*/ 3025 w 58186"/>
                <a:gd name="connsiteY20" fmla="*/ 31144 h 38137"/>
                <a:gd name="connsiteX21" fmla="*/ 1872 w 58186"/>
                <a:gd name="connsiteY21" fmla="*/ 29270 h 38137"/>
                <a:gd name="connsiteX22" fmla="*/ 432 w 58186"/>
                <a:gd name="connsiteY22" fmla="*/ 25016 h 38137"/>
                <a:gd name="connsiteX23" fmla="*/ 0 w 58186"/>
                <a:gd name="connsiteY23" fmla="*/ 20330 h 38137"/>
                <a:gd name="connsiteX24" fmla="*/ 936 w 58186"/>
                <a:gd name="connsiteY24" fmla="*/ 16221 h 38137"/>
                <a:gd name="connsiteX25" fmla="*/ 3097 w 58186"/>
                <a:gd name="connsiteY25" fmla="*/ 12688 h 38137"/>
                <a:gd name="connsiteX26" fmla="*/ 5977 w 58186"/>
                <a:gd name="connsiteY26" fmla="*/ 9733 h 38137"/>
                <a:gd name="connsiteX27" fmla="*/ 13106 w 58186"/>
                <a:gd name="connsiteY27" fmla="*/ 5623 h 38137"/>
                <a:gd name="connsiteX28" fmla="*/ 19732 w 58186"/>
                <a:gd name="connsiteY28" fmla="*/ 3821 h 38137"/>
                <a:gd name="connsiteX29" fmla="*/ 26429 w 58186"/>
                <a:gd name="connsiteY29" fmla="*/ 1802 h 38137"/>
                <a:gd name="connsiteX30" fmla="*/ 32838 w 58186"/>
                <a:gd name="connsiteY30" fmla="*/ 0 h 3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8186" h="38137">
                  <a:moveTo>
                    <a:pt x="32838" y="0"/>
                  </a:moveTo>
                  <a:lnTo>
                    <a:pt x="39463" y="577"/>
                  </a:lnTo>
                  <a:lnTo>
                    <a:pt x="46377" y="3100"/>
                  </a:lnTo>
                  <a:lnTo>
                    <a:pt x="48393" y="5046"/>
                  </a:lnTo>
                  <a:lnTo>
                    <a:pt x="50049" y="6560"/>
                  </a:lnTo>
                  <a:lnTo>
                    <a:pt x="53506" y="7281"/>
                  </a:lnTo>
                  <a:lnTo>
                    <a:pt x="55162" y="7786"/>
                  </a:lnTo>
                  <a:lnTo>
                    <a:pt x="56243" y="8723"/>
                  </a:lnTo>
                  <a:lnTo>
                    <a:pt x="58043" y="16653"/>
                  </a:lnTo>
                  <a:lnTo>
                    <a:pt x="58187" y="21700"/>
                  </a:lnTo>
                  <a:lnTo>
                    <a:pt x="57395" y="25881"/>
                  </a:lnTo>
                  <a:lnTo>
                    <a:pt x="55882" y="28477"/>
                  </a:lnTo>
                  <a:lnTo>
                    <a:pt x="53722" y="30784"/>
                  </a:lnTo>
                  <a:lnTo>
                    <a:pt x="48033" y="34388"/>
                  </a:lnTo>
                  <a:lnTo>
                    <a:pt x="40904" y="36767"/>
                  </a:lnTo>
                  <a:lnTo>
                    <a:pt x="32910" y="37993"/>
                  </a:lnTo>
                  <a:lnTo>
                    <a:pt x="24701" y="38137"/>
                  </a:lnTo>
                  <a:lnTo>
                    <a:pt x="16851" y="37200"/>
                  </a:lnTo>
                  <a:lnTo>
                    <a:pt x="9938" y="35398"/>
                  </a:lnTo>
                  <a:lnTo>
                    <a:pt x="4681" y="32730"/>
                  </a:lnTo>
                  <a:lnTo>
                    <a:pt x="3025" y="31144"/>
                  </a:lnTo>
                  <a:lnTo>
                    <a:pt x="1872" y="29270"/>
                  </a:lnTo>
                  <a:lnTo>
                    <a:pt x="432" y="25016"/>
                  </a:lnTo>
                  <a:lnTo>
                    <a:pt x="0" y="20330"/>
                  </a:lnTo>
                  <a:lnTo>
                    <a:pt x="936" y="16221"/>
                  </a:lnTo>
                  <a:lnTo>
                    <a:pt x="3097" y="12688"/>
                  </a:lnTo>
                  <a:lnTo>
                    <a:pt x="5977" y="9733"/>
                  </a:lnTo>
                  <a:lnTo>
                    <a:pt x="13106" y="5623"/>
                  </a:lnTo>
                  <a:lnTo>
                    <a:pt x="19732" y="3821"/>
                  </a:lnTo>
                  <a:lnTo>
                    <a:pt x="26429" y="1802"/>
                  </a:lnTo>
                  <a:lnTo>
                    <a:pt x="32838" y="0"/>
                  </a:lnTo>
                </a:path>
              </a:pathLst>
            </a:custGeom>
            <a:solidFill>
              <a:srgbClr val="002E56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398727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usiness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white goods&#10;&#10;Description automatically generated">
            <a:extLst>
              <a:ext uri="{FF2B5EF4-FFF2-40B4-BE49-F238E27FC236}">
                <a16:creationId xmlns:a16="http://schemas.microsoft.com/office/drawing/2014/main" xmlns="" id="{30728FBD-F441-8B1F-B4ED-6450C59FE5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30269DC-591D-B944-A479-80E360E756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4404" y="3834884"/>
            <a:ext cx="5133724" cy="658717"/>
          </a:xfrm>
        </p:spPr>
        <p:txBody>
          <a:bodyPr lIns="91440" tIns="45720" rIns="91440" bIns="45720">
            <a:noAutofit/>
          </a:bodyPr>
          <a:lstStyle>
            <a:lvl1pPr marL="0" indent="0" algn="r">
              <a:buNone/>
              <a:defRPr sz="2400" b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(Arial 24pt)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2F7201-0FDA-CE47-A9F3-7594A2B9A9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4404" y="2574295"/>
            <a:ext cx="5133724" cy="1237410"/>
          </a:xfrm>
        </p:spPr>
        <p:txBody>
          <a:bodyPr lIns="91440" tIns="45720" rIns="91440" bIns="45720" anchor="b">
            <a:noAutofit/>
          </a:bodyPr>
          <a:lstStyle>
            <a:lvl1pPr algn="r">
              <a:defRPr sz="4000" b="0" i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40pt)</a:t>
            </a:r>
            <a:endParaRPr lang="x-none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34CD8CA3-5701-B8D0-EC2D-7AD8E6D8158A}"/>
              </a:ext>
            </a:extLst>
          </p:cNvPr>
          <p:cNvGrpSpPr/>
          <p:nvPr userDrawn="1"/>
        </p:nvGrpSpPr>
        <p:grpSpPr>
          <a:xfrm>
            <a:off x="9387557" y="3323005"/>
            <a:ext cx="2184530" cy="319082"/>
            <a:chOff x="9387557" y="3323005"/>
            <a:chExt cx="2184530" cy="319082"/>
          </a:xfrm>
        </p:grpSpPr>
        <p:grpSp>
          <p:nvGrpSpPr>
            <p:cNvPr id="6" name="Picture 7">
              <a:extLst>
                <a:ext uri="{FF2B5EF4-FFF2-40B4-BE49-F238E27FC236}">
                  <a16:creationId xmlns:a16="http://schemas.microsoft.com/office/drawing/2014/main" xmlns="" id="{694D08D0-C616-F4AA-F6FD-3ECEA6F4E22E}"/>
                </a:ext>
              </a:extLst>
            </p:cNvPr>
            <p:cNvGrpSpPr/>
            <p:nvPr/>
          </p:nvGrpSpPr>
          <p:grpSpPr>
            <a:xfrm>
              <a:off x="9387557" y="3323005"/>
              <a:ext cx="2184530" cy="314756"/>
              <a:chOff x="9387557" y="3323005"/>
              <a:chExt cx="2184530" cy="314756"/>
            </a:xfrm>
            <a:solidFill>
              <a:srgbClr val="28509C"/>
            </a:solidFill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56B07982-9E47-3520-D16F-081E7998D5E4}"/>
                  </a:ext>
                </a:extLst>
              </p:cNvPr>
              <p:cNvSpPr/>
              <p:nvPr/>
            </p:nvSpPr>
            <p:spPr>
              <a:xfrm>
                <a:off x="10500022" y="3323005"/>
                <a:ext cx="270122" cy="308340"/>
              </a:xfrm>
              <a:custGeom>
                <a:avLst/>
                <a:gdLst>
                  <a:gd name="connsiteX0" fmla="*/ 135025 w 270122"/>
                  <a:gd name="connsiteY0" fmla="*/ 0 h 308340"/>
                  <a:gd name="connsiteX1" fmla="*/ 0 w 270122"/>
                  <a:gd name="connsiteY1" fmla="*/ 308341 h 308340"/>
                  <a:gd name="connsiteX2" fmla="*/ 28949 w 270122"/>
                  <a:gd name="connsiteY2" fmla="*/ 308341 h 308340"/>
                  <a:gd name="connsiteX3" fmla="*/ 76262 w 270122"/>
                  <a:gd name="connsiteY3" fmla="*/ 200274 h 308340"/>
                  <a:gd name="connsiteX4" fmla="*/ 193933 w 270122"/>
                  <a:gd name="connsiteY4" fmla="*/ 200274 h 308340"/>
                  <a:gd name="connsiteX5" fmla="*/ 241533 w 270122"/>
                  <a:gd name="connsiteY5" fmla="*/ 308341 h 308340"/>
                  <a:gd name="connsiteX6" fmla="*/ 270123 w 270122"/>
                  <a:gd name="connsiteY6" fmla="*/ 308341 h 308340"/>
                  <a:gd name="connsiteX7" fmla="*/ 135025 w 270122"/>
                  <a:gd name="connsiteY7" fmla="*/ 0 h 308340"/>
                  <a:gd name="connsiteX8" fmla="*/ 87640 w 270122"/>
                  <a:gd name="connsiteY8" fmla="*/ 174104 h 308340"/>
                  <a:gd name="connsiteX9" fmla="*/ 134809 w 270122"/>
                  <a:gd name="connsiteY9" fmla="*/ 66181 h 308340"/>
                  <a:gd name="connsiteX10" fmla="*/ 182338 w 270122"/>
                  <a:gd name="connsiteY10" fmla="*/ 174104 h 308340"/>
                  <a:gd name="connsiteX11" fmla="*/ 87568 w 270122"/>
                  <a:gd name="connsiteY11" fmla="*/ 174104 h 30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0122" h="308340">
                    <a:moveTo>
                      <a:pt x="135025" y="0"/>
                    </a:moveTo>
                    <a:lnTo>
                      <a:pt x="0" y="308341"/>
                    </a:lnTo>
                    <a:lnTo>
                      <a:pt x="28949" y="308341"/>
                    </a:lnTo>
                    <a:lnTo>
                      <a:pt x="76262" y="200274"/>
                    </a:lnTo>
                    <a:lnTo>
                      <a:pt x="193933" y="200274"/>
                    </a:lnTo>
                    <a:lnTo>
                      <a:pt x="241533" y="308341"/>
                    </a:lnTo>
                    <a:lnTo>
                      <a:pt x="270123" y="308341"/>
                    </a:lnTo>
                    <a:lnTo>
                      <a:pt x="135025" y="0"/>
                    </a:lnTo>
                    <a:close/>
                    <a:moveTo>
                      <a:pt x="87640" y="174104"/>
                    </a:moveTo>
                    <a:lnTo>
                      <a:pt x="134809" y="66181"/>
                    </a:lnTo>
                    <a:lnTo>
                      <a:pt x="182338" y="174104"/>
                    </a:lnTo>
                    <a:lnTo>
                      <a:pt x="87568" y="174104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xmlns="" id="{AAE2622E-A004-4CE1-ACDB-4174CB87E6CD}"/>
                  </a:ext>
                </a:extLst>
              </p:cNvPr>
              <p:cNvSpPr/>
              <p:nvPr/>
            </p:nvSpPr>
            <p:spPr>
              <a:xfrm>
                <a:off x="11126107" y="3329421"/>
                <a:ext cx="26140" cy="301852"/>
              </a:xfrm>
              <a:custGeom>
                <a:avLst/>
                <a:gdLst>
                  <a:gd name="connsiteX0" fmla="*/ 0 w 26140"/>
                  <a:gd name="connsiteY0" fmla="*/ 0 h 301852"/>
                  <a:gd name="connsiteX1" fmla="*/ 26141 w 26140"/>
                  <a:gd name="connsiteY1" fmla="*/ 0 h 301852"/>
                  <a:gd name="connsiteX2" fmla="*/ 26141 w 26140"/>
                  <a:gd name="connsiteY2" fmla="*/ 301852 h 301852"/>
                  <a:gd name="connsiteX3" fmla="*/ 0 w 26140"/>
                  <a:gd name="connsiteY3" fmla="*/ 301852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40" h="301852">
                    <a:moveTo>
                      <a:pt x="0" y="0"/>
                    </a:moveTo>
                    <a:lnTo>
                      <a:pt x="26141" y="0"/>
                    </a:lnTo>
                    <a:lnTo>
                      <a:pt x="26141" y="301852"/>
                    </a:lnTo>
                    <a:lnTo>
                      <a:pt x="0" y="30185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096F5F9B-6993-F225-A518-5BC19EC4A6AE}"/>
                  </a:ext>
                </a:extLst>
              </p:cNvPr>
              <p:cNvSpPr/>
              <p:nvPr/>
            </p:nvSpPr>
            <p:spPr>
              <a:xfrm>
                <a:off x="10168471" y="3323509"/>
                <a:ext cx="276820" cy="307763"/>
              </a:xfrm>
              <a:custGeom>
                <a:avLst/>
                <a:gdLst>
                  <a:gd name="connsiteX0" fmla="*/ 137762 w 276820"/>
                  <a:gd name="connsiteY0" fmla="*/ 139139 h 307763"/>
                  <a:gd name="connsiteX1" fmla="*/ 0 w 276820"/>
                  <a:gd name="connsiteY1" fmla="*/ 144 h 307763"/>
                  <a:gd name="connsiteX2" fmla="*/ 144 w 276820"/>
                  <a:gd name="connsiteY2" fmla="*/ 307764 h 307763"/>
                  <a:gd name="connsiteX3" fmla="*/ 26285 w 276820"/>
                  <a:gd name="connsiteY3" fmla="*/ 307764 h 307763"/>
                  <a:gd name="connsiteX4" fmla="*/ 26285 w 276820"/>
                  <a:gd name="connsiteY4" fmla="*/ 63946 h 307763"/>
                  <a:gd name="connsiteX5" fmla="*/ 137474 w 276820"/>
                  <a:gd name="connsiteY5" fmla="*/ 176555 h 307763"/>
                  <a:gd name="connsiteX6" fmla="*/ 250679 w 276820"/>
                  <a:gd name="connsiteY6" fmla="*/ 63370 h 307763"/>
                  <a:gd name="connsiteX7" fmla="*/ 250679 w 276820"/>
                  <a:gd name="connsiteY7" fmla="*/ 307764 h 307763"/>
                  <a:gd name="connsiteX8" fmla="*/ 276820 w 276820"/>
                  <a:gd name="connsiteY8" fmla="*/ 307764 h 307763"/>
                  <a:gd name="connsiteX9" fmla="*/ 276820 w 276820"/>
                  <a:gd name="connsiteY9" fmla="*/ 0 h 307763"/>
                  <a:gd name="connsiteX10" fmla="*/ 137762 w 276820"/>
                  <a:gd name="connsiteY10" fmla="*/ 139139 h 30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6820" h="307763">
                    <a:moveTo>
                      <a:pt x="137762" y="139139"/>
                    </a:moveTo>
                    <a:lnTo>
                      <a:pt x="0" y="144"/>
                    </a:lnTo>
                    <a:lnTo>
                      <a:pt x="144" y="307764"/>
                    </a:lnTo>
                    <a:lnTo>
                      <a:pt x="26285" y="307764"/>
                    </a:lnTo>
                    <a:lnTo>
                      <a:pt x="26285" y="63946"/>
                    </a:lnTo>
                    <a:lnTo>
                      <a:pt x="137474" y="176555"/>
                    </a:lnTo>
                    <a:lnTo>
                      <a:pt x="250679" y="63370"/>
                    </a:lnTo>
                    <a:lnTo>
                      <a:pt x="250679" y="307764"/>
                    </a:lnTo>
                    <a:lnTo>
                      <a:pt x="276820" y="307764"/>
                    </a:lnTo>
                    <a:lnTo>
                      <a:pt x="276820" y="0"/>
                    </a:lnTo>
                    <a:lnTo>
                      <a:pt x="137762" y="13913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ACD5CFEB-8CB8-B0AB-C429-38CD24EEA3C2}"/>
                  </a:ext>
                </a:extLst>
              </p:cNvPr>
              <p:cNvSpPr/>
              <p:nvPr/>
            </p:nvSpPr>
            <p:spPr>
              <a:xfrm>
                <a:off x="11259260" y="3324302"/>
                <a:ext cx="228210" cy="313459"/>
              </a:xfrm>
              <a:custGeom>
                <a:avLst/>
                <a:gdLst>
                  <a:gd name="connsiteX0" fmla="*/ 201998 w 228210"/>
                  <a:gd name="connsiteY0" fmla="*/ 5119 h 313459"/>
                  <a:gd name="connsiteX1" fmla="*/ 201998 w 228210"/>
                  <a:gd name="connsiteY1" fmla="*/ 240213 h 313459"/>
                  <a:gd name="connsiteX2" fmla="*/ 0 w 228210"/>
                  <a:gd name="connsiteY2" fmla="*/ 0 h 313459"/>
                  <a:gd name="connsiteX3" fmla="*/ 0 w 228210"/>
                  <a:gd name="connsiteY3" fmla="*/ 41814 h 313459"/>
                  <a:gd name="connsiteX4" fmla="*/ 0 w 228210"/>
                  <a:gd name="connsiteY4" fmla="*/ 306971 h 313459"/>
                  <a:gd name="connsiteX5" fmla="*/ 26141 w 228210"/>
                  <a:gd name="connsiteY5" fmla="*/ 306971 h 313459"/>
                  <a:gd name="connsiteX6" fmla="*/ 26141 w 228210"/>
                  <a:gd name="connsiteY6" fmla="*/ 72958 h 313459"/>
                  <a:gd name="connsiteX7" fmla="*/ 228211 w 228210"/>
                  <a:gd name="connsiteY7" fmla="*/ 313459 h 313459"/>
                  <a:gd name="connsiteX8" fmla="*/ 228211 w 228210"/>
                  <a:gd name="connsiteY8" fmla="*/ 5119 h 313459"/>
                  <a:gd name="connsiteX9" fmla="*/ 201998 w 228210"/>
                  <a:gd name="connsiteY9" fmla="*/ 5119 h 31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210" h="313459">
                    <a:moveTo>
                      <a:pt x="201998" y="5119"/>
                    </a:moveTo>
                    <a:lnTo>
                      <a:pt x="201998" y="240213"/>
                    </a:lnTo>
                    <a:lnTo>
                      <a:pt x="0" y="0"/>
                    </a:lnTo>
                    <a:lnTo>
                      <a:pt x="0" y="41814"/>
                    </a:lnTo>
                    <a:lnTo>
                      <a:pt x="0" y="306971"/>
                    </a:lnTo>
                    <a:lnTo>
                      <a:pt x="26141" y="306971"/>
                    </a:lnTo>
                    <a:lnTo>
                      <a:pt x="26141" y="72958"/>
                    </a:lnTo>
                    <a:lnTo>
                      <a:pt x="228211" y="313459"/>
                    </a:lnTo>
                    <a:lnTo>
                      <a:pt x="228211" y="5119"/>
                    </a:lnTo>
                    <a:lnTo>
                      <a:pt x="201998" y="511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75A41AB4-05CE-513F-7FE1-11970F94D1F6}"/>
                  </a:ext>
                </a:extLst>
              </p:cNvPr>
              <p:cNvSpPr/>
              <p:nvPr/>
            </p:nvSpPr>
            <p:spPr>
              <a:xfrm>
                <a:off x="10827179" y="3329637"/>
                <a:ext cx="218993" cy="301780"/>
              </a:xfrm>
              <a:custGeom>
                <a:avLst/>
                <a:gdLst>
                  <a:gd name="connsiteX0" fmla="*/ 189468 w 218993"/>
                  <a:gd name="connsiteY0" fmla="*/ 301780 h 301780"/>
                  <a:gd name="connsiteX1" fmla="*/ 218993 w 218993"/>
                  <a:gd name="connsiteY1" fmla="*/ 301780 h 301780"/>
                  <a:gd name="connsiteX2" fmla="*/ 146692 w 218993"/>
                  <a:gd name="connsiteY2" fmla="*/ 160478 h 301780"/>
                  <a:gd name="connsiteX3" fmla="*/ 206319 w 218993"/>
                  <a:gd name="connsiteY3" fmla="*/ 89467 h 301780"/>
                  <a:gd name="connsiteX4" fmla="*/ 206391 w 218993"/>
                  <a:gd name="connsiteY4" fmla="*/ 89467 h 301780"/>
                  <a:gd name="connsiteX5" fmla="*/ 206391 w 218993"/>
                  <a:gd name="connsiteY5" fmla="*/ 87809 h 301780"/>
                  <a:gd name="connsiteX6" fmla="*/ 206679 w 218993"/>
                  <a:gd name="connsiteY6" fmla="*/ 82979 h 301780"/>
                  <a:gd name="connsiteX7" fmla="*/ 206391 w 218993"/>
                  <a:gd name="connsiteY7" fmla="*/ 82979 h 301780"/>
                  <a:gd name="connsiteX8" fmla="*/ 206391 w 218993"/>
                  <a:gd name="connsiteY8" fmla="*/ 80167 h 301780"/>
                  <a:gd name="connsiteX9" fmla="*/ 206679 w 218993"/>
                  <a:gd name="connsiteY9" fmla="*/ 80167 h 301780"/>
                  <a:gd name="connsiteX10" fmla="*/ 206391 w 218993"/>
                  <a:gd name="connsiteY10" fmla="*/ 75265 h 301780"/>
                  <a:gd name="connsiteX11" fmla="*/ 206391 w 218993"/>
                  <a:gd name="connsiteY11" fmla="*/ 75265 h 301780"/>
                  <a:gd name="connsiteX12" fmla="*/ 126600 w 218993"/>
                  <a:gd name="connsiteY12" fmla="*/ 0 h 301780"/>
                  <a:gd name="connsiteX13" fmla="*/ 0 w 218993"/>
                  <a:gd name="connsiteY13" fmla="*/ 0 h 301780"/>
                  <a:gd name="connsiteX14" fmla="*/ 0 w 218993"/>
                  <a:gd name="connsiteY14" fmla="*/ 301708 h 301780"/>
                  <a:gd name="connsiteX15" fmla="*/ 26141 w 218993"/>
                  <a:gd name="connsiteY15" fmla="*/ 301708 h 301780"/>
                  <a:gd name="connsiteX16" fmla="*/ 26141 w 218993"/>
                  <a:gd name="connsiteY16" fmla="*/ 163002 h 301780"/>
                  <a:gd name="connsiteX17" fmla="*/ 118390 w 218993"/>
                  <a:gd name="connsiteY17" fmla="*/ 163002 h 301780"/>
                  <a:gd name="connsiteX18" fmla="*/ 189468 w 218993"/>
                  <a:gd name="connsiteY18" fmla="*/ 301780 h 301780"/>
                  <a:gd name="connsiteX19" fmla="*/ 26141 w 218993"/>
                  <a:gd name="connsiteY19" fmla="*/ 26242 h 301780"/>
                  <a:gd name="connsiteX20" fmla="*/ 126600 w 218993"/>
                  <a:gd name="connsiteY20" fmla="*/ 26242 h 301780"/>
                  <a:gd name="connsiteX21" fmla="*/ 180250 w 218993"/>
                  <a:gd name="connsiteY21" fmla="*/ 79014 h 301780"/>
                  <a:gd name="connsiteX22" fmla="*/ 180250 w 218993"/>
                  <a:gd name="connsiteY22" fmla="*/ 83988 h 301780"/>
                  <a:gd name="connsiteX23" fmla="*/ 126600 w 218993"/>
                  <a:gd name="connsiteY23" fmla="*/ 136688 h 301780"/>
                  <a:gd name="connsiteX24" fmla="*/ 126600 w 218993"/>
                  <a:gd name="connsiteY24" fmla="*/ 136688 h 301780"/>
                  <a:gd name="connsiteX25" fmla="*/ 26141 w 218993"/>
                  <a:gd name="connsiteY25" fmla="*/ 136760 h 301780"/>
                  <a:gd name="connsiteX26" fmla="*/ 26141 w 218993"/>
                  <a:gd name="connsiteY26" fmla="*/ 26242 h 301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8993" h="301780">
                    <a:moveTo>
                      <a:pt x="189468" y="301780"/>
                    </a:moveTo>
                    <a:lnTo>
                      <a:pt x="218993" y="301780"/>
                    </a:lnTo>
                    <a:cubicBezTo>
                      <a:pt x="218993" y="301780"/>
                      <a:pt x="146692" y="160478"/>
                      <a:pt x="146692" y="160478"/>
                    </a:cubicBezTo>
                    <a:cubicBezTo>
                      <a:pt x="179098" y="152044"/>
                      <a:pt x="203582" y="123855"/>
                      <a:pt x="206319" y="89467"/>
                    </a:cubicBezTo>
                    <a:lnTo>
                      <a:pt x="206391" y="89467"/>
                    </a:lnTo>
                    <a:lnTo>
                      <a:pt x="206391" y="87809"/>
                    </a:lnTo>
                    <a:cubicBezTo>
                      <a:pt x="206463" y="86223"/>
                      <a:pt x="206679" y="84565"/>
                      <a:pt x="206679" y="82979"/>
                    </a:cubicBezTo>
                    <a:lnTo>
                      <a:pt x="206391" y="82979"/>
                    </a:lnTo>
                    <a:lnTo>
                      <a:pt x="206391" y="80167"/>
                    </a:lnTo>
                    <a:lnTo>
                      <a:pt x="206679" y="80167"/>
                    </a:lnTo>
                    <a:cubicBezTo>
                      <a:pt x="206679" y="78509"/>
                      <a:pt x="206535" y="76923"/>
                      <a:pt x="206391" y="75265"/>
                    </a:cubicBezTo>
                    <a:lnTo>
                      <a:pt x="206391" y="75265"/>
                    </a:lnTo>
                    <a:cubicBezTo>
                      <a:pt x="203798" y="33235"/>
                      <a:pt x="169160" y="0"/>
                      <a:pt x="126600" y="0"/>
                    </a:cubicBezTo>
                    <a:lnTo>
                      <a:pt x="0" y="0"/>
                    </a:lnTo>
                    <a:lnTo>
                      <a:pt x="0" y="301708"/>
                    </a:lnTo>
                    <a:lnTo>
                      <a:pt x="26141" y="301708"/>
                    </a:lnTo>
                    <a:lnTo>
                      <a:pt x="26141" y="163002"/>
                    </a:lnTo>
                    <a:lnTo>
                      <a:pt x="118390" y="163002"/>
                    </a:lnTo>
                    <a:lnTo>
                      <a:pt x="189468" y="301780"/>
                    </a:lnTo>
                    <a:close/>
                    <a:moveTo>
                      <a:pt x="26141" y="26242"/>
                    </a:moveTo>
                    <a:lnTo>
                      <a:pt x="126600" y="26242"/>
                    </a:lnTo>
                    <a:cubicBezTo>
                      <a:pt x="155909" y="26242"/>
                      <a:pt x="179674" y="49816"/>
                      <a:pt x="180250" y="79014"/>
                    </a:cubicBezTo>
                    <a:lnTo>
                      <a:pt x="180250" y="83988"/>
                    </a:lnTo>
                    <a:cubicBezTo>
                      <a:pt x="179674" y="113186"/>
                      <a:pt x="155909" y="136688"/>
                      <a:pt x="126600" y="136688"/>
                    </a:cubicBezTo>
                    <a:lnTo>
                      <a:pt x="126600" y="136688"/>
                    </a:lnTo>
                    <a:cubicBezTo>
                      <a:pt x="126600" y="136688"/>
                      <a:pt x="26141" y="136760"/>
                      <a:pt x="26141" y="136760"/>
                    </a:cubicBezTo>
                    <a:lnTo>
                      <a:pt x="26141" y="2624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4914365E-FCBF-0C97-0BB1-017E11B152CB}"/>
                  </a:ext>
                </a:extLst>
              </p:cNvPr>
              <p:cNvSpPr/>
              <p:nvPr/>
            </p:nvSpPr>
            <p:spPr>
              <a:xfrm>
                <a:off x="9387557" y="3329493"/>
                <a:ext cx="212944" cy="301852"/>
              </a:xfrm>
              <a:custGeom>
                <a:avLst/>
                <a:gdLst>
                  <a:gd name="connsiteX0" fmla="*/ 212656 w 212944"/>
                  <a:gd name="connsiteY0" fmla="*/ 212818 h 301852"/>
                  <a:gd name="connsiteX1" fmla="*/ 201422 w 212944"/>
                  <a:gd name="connsiteY1" fmla="*/ 173455 h 301852"/>
                  <a:gd name="connsiteX2" fmla="*/ 174273 w 212944"/>
                  <a:gd name="connsiteY2" fmla="*/ 147358 h 301852"/>
                  <a:gd name="connsiteX3" fmla="*/ 206247 w 212944"/>
                  <a:gd name="connsiteY3" fmla="*/ 89539 h 301852"/>
                  <a:gd name="connsiteX4" fmla="*/ 206319 w 212944"/>
                  <a:gd name="connsiteY4" fmla="*/ 89539 h 301852"/>
                  <a:gd name="connsiteX5" fmla="*/ 206319 w 212944"/>
                  <a:gd name="connsiteY5" fmla="*/ 87881 h 301852"/>
                  <a:gd name="connsiteX6" fmla="*/ 206535 w 212944"/>
                  <a:gd name="connsiteY6" fmla="*/ 83051 h 301852"/>
                  <a:gd name="connsiteX7" fmla="*/ 206319 w 212944"/>
                  <a:gd name="connsiteY7" fmla="*/ 83051 h 301852"/>
                  <a:gd name="connsiteX8" fmla="*/ 206319 w 212944"/>
                  <a:gd name="connsiteY8" fmla="*/ 80239 h 301852"/>
                  <a:gd name="connsiteX9" fmla="*/ 206535 w 212944"/>
                  <a:gd name="connsiteY9" fmla="*/ 80239 h 301852"/>
                  <a:gd name="connsiteX10" fmla="*/ 206319 w 212944"/>
                  <a:gd name="connsiteY10" fmla="*/ 75337 h 301852"/>
                  <a:gd name="connsiteX11" fmla="*/ 206319 w 212944"/>
                  <a:gd name="connsiteY11" fmla="*/ 75337 h 301852"/>
                  <a:gd name="connsiteX12" fmla="*/ 206319 w 212944"/>
                  <a:gd name="connsiteY12" fmla="*/ 75265 h 301852"/>
                  <a:gd name="connsiteX13" fmla="*/ 126456 w 212944"/>
                  <a:gd name="connsiteY13" fmla="*/ 72 h 301852"/>
                  <a:gd name="connsiteX14" fmla="*/ 126456 w 212944"/>
                  <a:gd name="connsiteY14" fmla="*/ 216 h 301852"/>
                  <a:gd name="connsiteX15" fmla="*/ 0 w 212944"/>
                  <a:gd name="connsiteY15" fmla="*/ 0 h 301852"/>
                  <a:gd name="connsiteX16" fmla="*/ 0 w 212944"/>
                  <a:gd name="connsiteY16" fmla="*/ 301852 h 301852"/>
                  <a:gd name="connsiteX17" fmla="*/ 131425 w 212944"/>
                  <a:gd name="connsiteY17" fmla="*/ 301852 h 301852"/>
                  <a:gd name="connsiteX18" fmla="*/ 212800 w 212944"/>
                  <a:gd name="connsiteY18" fmla="*/ 221541 h 301852"/>
                  <a:gd name="connsiteX19" fmla="*/ 212944 w 212944"/>
                  <a:gd name="connsiteY19" fmla="*/ 221541 h 301852"/>
                  <a:gd name="connsiteX20" fmla="*/ 212944 w 212944"/>
                  <a:gd name="connsiteY20" fmla="*/ 212818 h 301852"/>
                  <a:gd name="connsiteX21" fmla="*/ 212800 w 212944"/>
                  <a:gd name="connsiteY21" fmla="*/ 212818 h 301852"/>
                  <a:gd name="connsiteX22" fmla="*/ 126528 w 212944"/>
                  <a:gd name="connsiteY22" fmla="*/ 26386 h 301852"/>
                  <a:gd name="connsiteX23" fmla="*/ 126528 w 212944"/>
                  <a:gd name="connsiteY23" fmla="*/ 26386 h 301852"/>
                  <a:gd name="connsiteX24" fmla="*/ 180250 w 212944"/>
                  <a:gd name="connsiteY24" fmla="*/ 79302 h 301852"/>
                  <a:gd name="connsiteX25" fmla="*/ 180250 w 212944"/>
                  <a:gd name="connsiteY25" fmla="*/ 83988 h 301852"/>
                  <a:gd name="connsiteX26" fmla="*/ 126528 w 212944"/>
                  <a:gd name="connsiteY26" fmla="*/ 137048 h 301852"/>
                  <a:gd name="connsiteX27" fmla="*/ 26141 w 212944"/>
                  <a:gd name="connsiteY27" fmla="*/ 137048 h 301852"/>
                  <a:gd name="connsiteX28" fmla="*/ 26141 w 212944"/>
                  <a:gd name="connsiteY28" fmla="*/ 26386 h 301852"/>
                  <a:gd name="connsiteX29" fmla="*/ 126528 w 212944"/>
                  <a:gd name="connsiteY29" fmla="*/ 26386 h 301852"/>
                  <a:gd name="connsiteX30" fmla="*/ 186659 w 212944"/>
                  <a:gd name="connsiteY30" fmla="*/ 220171 h 301852"/>
                  <a:gd name="connsiteX31" fmla="*/ 186443 w 212944"/>
                  <a:gd name="connsiteY31" fmla="*/ 220171 h 301852"/>
                  <a:gd name="connsiteX32" fmla="*/ 130921 w 212944"/>
                  <a:gd name="connsiteY32" fmla="*/ 275755 h 301852"/>
                  <a:gd name="connsiteX33" fmla="*/ 130921 w 212944"/>
                  <a:gd name="connsiteY33" fmla="*/ 275755 h 301852"/>
                  <a:gd name="connsiteX34" fmla="*/ 26141 w 212944"/>
                  <a:gd name="connsiteY34" fmla="*/ 275755 h 301852"/>
                  <a:gd name="connsiteX35" fmla="*/ 26141 w 212944"/>
                  <a:gd name="connsiteY35" fmla="*/ 163362 h 301852"/>
                  <a:gd name="connsiteX36" fmla="*/ 134593 w 212944"/>
                  <a:gd name="connsiteY36" fmla="*/ 163795 h 301852"/>
                  <a:gd name="connsiteX37" fmla="*/ 134593 w 212944"/>
                  <a:gd name="connsiteY37" fmla="*/ 163795 h 301852"/>
                  <a:gd name="connsiteX38" fmla="*/ 179458 w 212944"/>
                  <a:gd name="connsiteY38" fmla="*/ 187946 h 301852"/>
                  <a:gd name="connsiteX39" fmla="*/ 186515 w 212944"/>
                  <a:gd name="connsiteY39" fmla="*/ 214836 h 301852"/>
                  <a:gd name="connsiteX40" fmla="*/ 186731 w 212944"/>
                  <a:gd name="connsiteY40" fmla="*/ 214836 h 301852"/>
                  <a:gd name="connsiteX41" fmla="*/ 186731 w 212944"/>
                  <a:gd name="connsiteY41" fmla="*/ 220171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12944" h="301852">
                    <a:moveTo>
                      <a:pt x="212656" y="212818"/>
                    </a:moveTo>
                    <a:cubicBezTo>
                      <a:pt x="212296" y="198183"/>
                      <a:pt x="208623" y="185134"/>
                      <a:pt x="201422" y="173455"/>
                    </a:cubicBezTo>
                    <a:cubicBezTo>
                      <a:pt x="194509" y="162425"/>
                      <a:pt x="185219" y="153558"/>
                      <a:pt x="174273" y="147358"/>
                    </a:cubicBezTo>
                    <a:cubicBezTo>
                      <a:pt x="192204" y="133948"/>
                      <a:pt x="204374" y="113186"/>
                      <a:pt x="206247" y="89539"/>
                    </a:cubicBezTo>
                    <a:lnTo>
                      <a:pt x="206319" y="89539"/>
                    </a:lnTo>
                    <a:lnTo>
                      <a:pt x="206319" y="87881"/>
                    </a:lnTo>
                    <a:cubicBezTo>
                      <a:pt x="206391" y="86295"/>
                      <a:pt x="206535" y="84637"/>
                      <a:pt x="206535" y="83051"/>
                    </a:cubicBezTo>
                    <a:lnTo>
                      <a:pt x="206319" y="83051"/>
                    </a:lnTo>
                    <a:lnTo>
                      <a:pt x="206319" y="80239"/>
                    </a:lnTo>
                    <a:lnTo>
                      <a:pt x="206535" y="80239"/>
                    </a:lnTo>
                    <a:cubicBezTo>
                      <a:pt x="206535" y="78581"/>
                      <a:pt x="206391" y="76995"/>
                      <a:pt x="206319" y="75337"/>
                    </a:cubicBezTo>
                    <a:lnTo>
                      <a:pt x="206319" y="75337"/>
                    </a:lnTo>
                    <a:cubicBezTo>
                      <a:pt x="206319" y="75337"/>
                      <a:pt x="206319" y="75265"/>
                      <a:pt x="206319" y="75265"/>
                    </a:cubicBezTo>
                    <a:cubicBezTo>
                      <a:pt x="203726" y="33307"/>
                      <a:pt x="169016" y="72"/>
                      <a:pt x="126456" y="72"/>
                    </a:cubicBezTo>
                    <a:lnTo>
                      <a:pt x="126456" y="216"/>
                    </a:lnTo>
                    <a:lnTo>
                      <a:pt x="0" y="0"/>
                    </a:lnTo>
                    <a:lnTo>
                      <a:pt x="0" y="301852"/>
                    </a:lnTo>
                    <a:lnTo>
                      <a:pt x="131425" y="301852"/>
                    </a:lnTo>
                    <a:cubicBezTo>
                      <a:pt x="175857" y="301564"/>
                      <a:pt x="211864" y="265878"/>
                      <a:pt x="212800" y="221541"/>
                    </a:cubicBezTo>
                    <a:lnTo>
                      <a:pt x="212944" y="221541"/>
                    </a:lnTo>
                    <a:lnTo>
                      <a:pt x="212944" y="212818"/>
                    </a:lnTo>
                    <a:lnTo>
                      <a:pt x="212800" y="212818"/>
                    </a:lnTo>
                    <a:close/>
                    <a:moveTo>
                      <a:pt x="126528" y="26386"/>
                    </a:moveTo>
                    <a:lnTo>
                      <a:pt x="126528" y="26386"/>
                    </a:lnTo>
                    <a:cubicBezTo>
                      <a:pt x="155909" y="26386"/>
                      <a:pt x="179746" y="50032"/>
                      <a:pt x="180250" y="79302"/>
                    </a:cubicBezTo>
                    <a:lnTo>
                      <a:pt x="180250" y="83988"/>
                    </a:lnTo>
                    <a:cubicBezTo>
                      <a:pt x="179746" y="113258"/>
                      <a:pt x="155909" y="137048"/>
                      <a:pt x="126528" y="137048"/>
                    </a:cubicBezTo>
                    <a:lnTo>
                      <a:pt x="26141" y="137048"/>
                    </a:lnTo>
                    <a:lnTo>
                      <a:pt x="26141" y="26386"/>
                    </a:lnTo>
                    <a:lnTo>
                      <a:pt x="126528" y="26386"/>
                    </a:lnTo>
                    <a:close/>
                    <a:moveTo>
                      <a:pt x="186659" y="220171"/>
                    </a:moveTo>
                    <a:lnTo>
                      <a:pt x="186443" y="220171"/>
                    </a:lnTo>
                    <a:cubicBezTo>
                      <a:pt x="186443" y="250883"/>
                      <a:pt x="161598" y="275755"/>
                      <a:pt x="130921" y="275755"/>
                    </a:cubicBezTo>
                    <a:lnTo>
                      <a:pt x="130921" y="275755"/>
                    </a:lnTo>
                    <a:cubicBezTo>
                      <a:pt x="130921" y="275755"/>
                      <a:pt x="26141" y="275755"/>
                      <a:pt x="26141" y="275755"/>
                    </a:cubicBezTo>
                    <a:lnTo>
                      <a:pt x="26141" y="163362"/>
                    </a:lnTo>
                    <a:lnTo>
                      <a:pt x="134593" y="163795"/>
                    </a:lnTo>
                    <a:lnTo>
                      <a:pt x="134593" y="163795"/>
                    </a:lnTo>
                    <a:cubicBezTo>
                      <a:pt x="153461" y="163795"/>
                      <a:pt x="169880" y="173095"/>
                      <a:pt x="179458" y="187946"/>
                    </a:cubicBezTo>
                    <a:cubicBezTo>
                      <a:pt x="183490" y="196381"/>
                      <a:pt x="186515" y="204888"/>
                      <a:pt x="186515" y="214836"/>
                    </a:cubicBezTo>
                    <a:lnTo>
                      <a:pt x="186731" y="214836"/>
                    </a:lnTo>
                    <a:lnTo>
                      <a:pt x="186731" y="220171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3470D9A2-CE19-4047-5C94-78C91D313B9A}"/>
                  </a:ext>
                </a:extLst>
              </p:cNvPr>
              <p:cNvSpPr/>
              <p:nvPr/>
            </p:nvSpPr>
            <p:spPr>
              <a:xfrm>
                <a:off x="9791480" y="3324302"/>
                <a:ext cx="311818" cy="312017"/>
              </a:xfrm>
              <a:custGeom>
                <a:avLst/>
                <a:gdLst>
                  <a:gd name="connsiteX0" fmla="*/ 1368 w 311818"/>
                  <a:gd name="connsiteY0" fmla="*/ 175618 h 312017"/>
                  <a:gd name="connsiteX1" fmla="*/ 155981 w 311818"/>
                  <a:gd name="connsiteY1" fmla="*/ 312017 h 312017"/>
                  <a:gd name="connsiteX2" fmla="*/ 310594 w 311818"/>
                  <a:gd name="connsiteY2" fmla="*/ 175546 h 312017"/>
                  <a:gd name="connsiteX3" fmla="*/ 311819 w 311818"/>
                  <a:gd name="connsiteY3" fmla="*/ 156513 h 312017"/>
                  <a:gd name="connsiteX4" fmla="*/ 310954 w 311818"/>
                  <a:gd name="connsiteY4" fmla="*/ 139499 h 312017"/>
                  <a:gd name="connsiteX5" fmla="*/ 155981 w 311818"/>
                  <a:gd name="connsiteY5" fmla="*/ 0 h 312017"/>
                  <a:gd name="connsiteX6" fmla="*/ 1008 w 311818"/>
                  <a:gd name="connsiteY6" fmla="*/ 139499 h 312017"/>
                  <a:gd name="connsiteX7" fmla="*/ 864 w 311818"/>
                  <a:gd name="connsiteY7" fmla="*/ 139499 h 312017"/>
                  <a:gd name="connsiteX8" fmla="*/ 0 w 311818"/>
                  <a:gd name="connsiteY8" fmla="*/ 156513 h 312017"/>
                  <a:gd name="connsiteX9" fmla="*/ 1224 w 311818"/>
                  <a:gd name="connsiteY9" fmla="*/ 175546 h 312017"/>
                  <a:gd name="connsiteX10" fmla="*/ 155981 w 311818"/>
                  <a:gd name="connsiteY10" fmla="*/ 285487 h 312017"/>
                  <a:gd name="connsiteX11" fmla="*/ 28085 w 311818"/>
                  <a:gd name="connsiteY11" fmla="*/ 175618 h 312017"/>
                  <a:gd name="connsiteX12" fmla="*/ 27941 w 311818"/>
                  <a:gd name="connsiteY12" fmla="*/ 175618 h 312017"/>
                  <a:gd name="connsiteX13" fmla="*/ 26501 w 311818"/>
                  <a:gd name="connsiteY13" fmla="*/ 156513 h 312017"/>
                  <a:gd name="connsiteX14" fmla="*/ 27509 w 311818"/>
                  <a:gd name="connsiteY14" fmla="*/ 140004 h 312017"/>
                  <a:gd name="connsiteX15" fmla="*/ 27581 w 311818"/>
                  <a:gd name="connsiteY15" fmla="*/ 140004 h 312017"/>
                  <a:gd name="connsiteX16" fmla="*/ 155909 w 311818"/>
                  <a:gd name="connsiteY16" fmla="*/ 26530 h 312017"/>
                  <a:gd name="connsiteX17" fmla="*/ 284165 w 311818"/>
                  <a:gd name="connsiteY17" fmla="*/ 139788 h 312017"/>
                  <a:gd name="connsiteX18" fmla="*/ 285246 w 311818"/>
                  <a:gd name="connsiteY18" fmla="*/ 156585 h 312017"/>
                  <a:gd name="connsiteX19" fmla="*/ 283805 w 311818"/>
                  <a:gd name="connsiteY19" fmla="*/ 175906 h 312017"/>
                  <a:gd name="connsiteX20" fmla="*/ 155909 w 311818"/>
                  <a:gd name="connsiteY20" fmla="*/ 285559 h 312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1818" h="312017">
                    <a:moveTo>
                      <a:pt x="1368" y="175618"/>
                    </a:moveTo>
                    <a:cubicBezTo>
                      <a:pt x="11018" y="252541"/>
                      <a:pt x="76550" y="312017"/>
                      <a:pt x="155981" y="312017"/>
                    </a:cubicBezTo>
                    <a:cubicBezTo>
                      <a:pt x="235412" y="312017"/>
                      <a:pt x="300945" y="252469"/>
                      <a:pt x="310594" y="175546"/>
                    </a:cubicBezTo>
                    <a:cubicBezTo>
                      <a:pt x="311315" y="169346"/>
                      <a:pt x="311819" y="162930"/>
                      <a:pt x="311819" y="156513"/>
                    </a:cubicBezTo>
                    <a:cubicBezTo>
                      <a:pt x="311819" y="150602"/>
                      <a:pt x="311603" y="145267"/>
                      <a:pt x="310954" y="139499"/>
                    </a:cubicBezTo>
                    <a:cubicBezTo>
                      <a:pt x="302889" y="60846"/>
                      <a:pt x="236636" y="0"/>
                      <a:pt x="155981" y="0"/>
                    </a:cubicBezTo>
                    <a:cubicBezTo>
                      <a:pt x="75326" y="0"/>
                      <a:pt x="9218" y="61135"/>
                      <a:pt x="1008" y="139499"/>
                    </a:cubicBezTo>
                    <a:lnTo>
                      <a:pt x="864" y="139499"/>
                    </a:lnTo>
                    <a:cubicBezTo>
                      <a:pt x="216" y="145267"/>
                      <a:pt x="0" y="150602"/>
                      <a:pt x="0" y="156513"/>
                    </a:cubicBezTo>
                    <a:cubicBezTo>
                      <a:pt x="0" y="162930"/>
                      <a:pt x="432" y="169346"/>
                      <a:pt x="1224" y="175546"/>
                    </a:cubicBezTo>
                    <a:moveTo>
                      <a:pt x="155981" y="285487"/>
                    </a:moveTo>
                    <a:cubicBezTo>
                      <a:pt x="91169" y="285487"/>
                      <a:pt x="37519" y="237834"/>
                      <a:pt x="28085" y="175618"/>
                    </a:cubicBezTo>
                    <a:lnTo>
                      <a:pt x="27941" y="175618"/>
                    </a:lnTo>
                    <a:cubicBezTo>
                      <a:pt x="27005" y="169346"/>
                      <a:pt x="26501" y="163074"/>
                      <a:pt x="26501" y="156513"/>
                    </a:cubicBezTo>
                    <a:cubicBezTo>
                      <a:pt x="26501" y="150818"/>
                      <a:pt x="26789" y="145483"/>
                      <a:pt x="27509" y="140004"/>
                    </a:cubicBezTo>
                    <a:lnTo>
                      <a:pt x="27581" y="140004"/>
                    </a:lnTo>
                    <a:cubicBezTo>
                      <a:pt x="35431" y="76058"/>
                      <a:pt x="89873" y="26530"/>
                      <a:pt x="155909" y="26530"/>
                    </a:cubicBezTo>
                    <a:cubicBezTo>
                      <a:pt x="221946" y="26530"/>
                      <a:pt x="276316" y="75769"/>
                      <a:pt x="284165" y="139788"/>
                    </a:cubicBezTo>
                    <a:cubicBezTo>
                      <a:pt x="284886" y="145411"/>
                      <a:pt x="285246" y="150818"/>
                      <a:pt x="285246" y="156585"/>
                    </a:cubicBezTo>
                    <a:cubicBezTo>
                      <a:pt x="285246" y="163218"/>
                      <a:pt x="284741" y="169562"/>
                      <a:pt x="283805" y="175906"/>
                    </a:cubicBezTo>
                    <a:cubicBezTo>
                      <a:pt x="274372" y="238122"/>
                      <a:pt x="220721" y="285559"/>
                      <a:pt x="155909" y="285559"/>
                    </a:cubicBez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E6F44602-0753-0A36-15FC-CE3CEC9DBA9C}"/>
                  </a:ext>
                </a:extLst>
              </p:cNvPr>
              <p:cNvSpPr/>
              <p:nvPr/>
            </p:nvSpPr>
            <p:spPr>
              <a:xfrm>
                <a:off x="11529743" y="3323653"/>
                <a:ext cx="42343" cy="42390"/>
              </a:xfrm>
              <a:custGeom>
                <a:avLst/>
                <a:gdLst>
                  <a:gd name="connsiteX0" fmla="*/ 0 w 42343"/>
                  <a:gd name="connsiteY0" fmla="*/ 21123 h 42390"/>
                  <a:gd name="connsiteX1" fmla="*/ 21244 w 42343"/>
                  <a:gd name="connsiteY1" fmla="*/ 0 h 42390"/>
                  <a:gd name="connsiteX2" fmla="*/ 42344 w 42343"/>
                  <a:gd name="connsiteY2" fmla="*/ 21123 h 42390"/>
                  <a:gd name="connsiteX3" fmla="*/ 21244 w 42343"/>
                  <a:gd name="connsiteY3" fmla="*/ 42391 h 42390"/>
                  <a:gd name="connsiteX4" fmla="*/ 0 w 42343"/>
                  <a:gd name="connsiteY4" fmla="*/ 21123 h 42390"/>
                  <a:gd name="connsiteX5" fmla="*/ 38959 w 42343"/>
                  <a:gd name="connsiteY5" fmla="*/ 21123 h 42390"/>
                  <a:gd name="connsiteX6" fmla="*/ 21244 w 42343"/>
                  <a:gd name="connsiteY6" fmla="*/ 2812 h 42390"/>
                  <a:gd name="connsiteX7" fmla="*/ 3385 w 42343"/>
                  <a:gd name="connsiteY7" fmla="*/ 21123 h 42390"/>
                  <a:gd name="connsiteX8" fmla="*/ 21244 w 42343"/>
                  <a:gd name="connsiteY8" fmla="*/ 39579 h 42390"/>
                  <a:gd name="connsiteX9" fmla="*/ 38959 w 42343"/>
                  <a:gd name="connsiteY9" fmla="*/ 21123 h 42390"/>
                  <a:gd name="connsiteX10" fmla="*/ 31758 w 42343"/>
                  <a:gd name="connsiteY10" fmla="*/ 32946 h 42390"/>
                  <a:gd name="connsiteX11" fmla="*/ 28301 w 42343"/>
                  <a:gd name="connsiteY11" fmla="*/ 32946 h 42390"/>
                  <a:gd name="connsiteX12" fmla="*/ 21532 w 42343"/>
                  <a:gd name="connsiteY12" fmla="*/ 22060 h 42390"/>
                  <a:gd name="connsiteX13" fmla="*/ 16203 w 42343"/>
                  <a:gd name="connsiteY13" fmla="*/ 22060 h 42390"/>
                  <a:gd name="connsiteX14" fmla="*/ 16203 w 42343"/>
                  <a:gd name="connsiteY14" fmla="*/ 32946 h 42390"/>
                  <a:gd name="connsiteX15" fmla="*/ 13323 w 42343"/>
                  <a:gd name="connsiteY15" fmla="*/ 32946 h 42390"/>
                  <a:gd name="connsiteX16" fmla="*/ 13323 w 42343"/>
                  <a:gd name="connsiteY16" fmla="*/ 9300 h 42390"/>
                  <a:gd name="connsiteX17" fmla="*/ 23693 w 42343"/>
                  <a:gd name="connsiteY17" fmla="*/ 9300 h 42390"/>
                  <a:gd name="connsiteX18" fmla="*/ 32046 w 42343"/>
                  <a:gd name="connsiteY18" fmla="*/ 15572 h 42390"/>
                  <a:gd name="connsiteX19" fmla="*/ 24629 w 42343"/>
                  <a:gd name="connsiteY19" fmla="*/ 22060 h 42390"/>
                  <a:gd name="connsiteX20" fmla="*/ 31758 w 42343"/>
                  <a:gd name="connsiteY20" fmla="*/ 32946 h 42390"/>
                  <a:gd name="connsiteX21" fmla="*/ 20668 w 42343"/>
                  <a:gd name="connsiteY21" fmla="*/ 19753 h 42390"/>
                  <a:gd name="connsiteX22" fmla="*/ 28949 w 42343"/>
                  <a:gd name="connsiteY22" fmla="*/ 15500 h 42390"/>
                  <a:gd name="connsiteX23" fmla="*/ 23044 w 42343"/>
                  <a:gd name="connsiteY23" fmla="*/ 11391 h 42390"/>
                  <a:gd name="connsiteX24" fmla="*/ 16275 w 42343"/>
                  <a:gd name="connsiteY24" fmla="*/ 11391 h 42390"/>
                  <a:gd name="connsiteX25" fmla="*/ 16275 w 42343"/>
                  <a:gd name="connsiteY25" fmla="*/ 19753 h 42390"/>
                  <a:gd name="connsiteX26" fmla="*/ 20668 w 42343"/>
                  <a:gd name="connsiteY26" fmla="*/ 19753 h 4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2343" h="42390">
                    <a:moveTo>
                      <a:pt x="0" y="21123"/>
                    </a:moveTo>
                    <a:cubicBezTo>
                      <a:pt x="0" y="9516"/>
                      <a:pt x="9506" y="0"/>
                      <a:pt x="21244" y="0"/>
                    </a:cubicBezTo>
                    <a:cubicBezTo>
                      <a:pt x="32982" y="0"/>
                      <a:pt x="42344" y="9516"/>
                      <a:pt x="42344" y="21123"/>
                    </a:cubicBezTo>
                    <a:cubicBezTo>
                      <a:pt x="42344" y="32730"/>
                      <a:pt x="32910" y="42391"/>
                      <a:pt x="21244" y="42391"/>
                    </a:cubicBezTo>
                    <a:cubicBezTo>
                      <a:pt x="9578" y="42391"/>
                      <a:pt x="0" y="32874"/>
                      <a:pt x="0" y="21123"/>
                    </a:cubicBezTo>
                    <a:close/>
                    <a:moveTo>
                      <a:pt x="38959" y="21123"/>
                    </a:moveTo>
                    <a:cubicBezTo>
                      <a:pt x="38959" y="10814"/>
                      <a:pt x="31470" y="2812"/>
                      <a:pt x="21244" y="2812"/>
                    </a:cubicBezTo>
                    <a:cubicBezTo>
                      <a:pt x="11018" y="2812"/>
                      <a:pt x="3385" y="10886"/>
                      <a:pt x="3385" y="21123"/>
                    </a:cubicBezTo>
                    <a:cubicBezTo>
                      <a:pt x="3385" y="31360"/>
                      <a:pt x="10946" y="39579"/>
                      <a:pt x="21244" y="39579"/>
                    </a:cubicBezTo>
                    <a:cubicBezTo>
                      <a:pt x="31542" y="39579"/>
                      <a:pt x="38959" y="31505"/>
                      <a:pt x="38959" y="21123"/>
                    </a:cubicBezTo>
                    <a:close/>
                    <a:moveTo>
                      <a:pt x="31758" y="32946"/>
                    </a:moveTo>
                    <a:lnTo>
                      <a:pt x="28301" y="32946"/>
                    </a:lnTo>
                    <a:lnTo>
                      <a:pt x="21532" y="22060"/>
                    </a:lnTo>
                    <a:lnTo>
                      <a:pt x="16203" y="22060"/>
                    </a:lnTo>
                    <a:lnTo>
                      <a:pt x="16203" y="32946"/>
                    </a:lnTo>
                    <a:lnTo>
                      <a:pt x="13323" y="32946"/>
                    </a:lnTo>
                    <a:lnTo>
                      <a:pt x="13323" y="9300"/>
                    </a:lnTo>
                    <a:lnTo>
                      <a:pt x="23693" y="9300"/>
                    </a:lnTo>
                    <a:cubicBezTo>
                      <a:pt x="29958" y="9300"/>
                      <a:pt x="32046" y="11679"/>
                      <a:pt x="32046" y="15572"/>
                    </a:cubicBezTo>
                    <a:cubicBezTo>
                      <a:pt x="32046" y="20186"/>
                      <a:pt x="28805" y="21916"/>
                      <a:pt x="24629" y="22060"/>
                    </a:cubicBezTo>
                    <a:lnTo>
                      <a:pt x="31758" y="32946"/>
                    </a:lnTo>
                    <a:close/>
                    <a:moveTo>
                      <a:pt x="20668" y="19753"/>
                    </a:moveTo>
                    <a:cubicBezTo>
                      <a:pt x="24052" y="19753"/>
                      <a:pt x="28949" y="20330"/>
                      <a:pt x="28949" y="15500"/>
                    </a:cubicBezTo>
                    <a:cubicBezTo>
                      <a:pt x="28949" y="11823"/>
                      <a:pt x="25925" y="11391"/>
                      <a:pt x="23044" y="11391"/>
                    </a:cubicBezTo>
                    <a:lnTo>
                      <a:pt x="16275" y="11391"/>
                    </a:lnTo>
                    <a:lnTo>
                      <a:pt x="16275" y="19753"/>
                    </a:lnTo>
                    <a:lnTo>
                      <a:pt x="20668" y="19753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7EDFC5BE-3B37-BBD6-FFF1-35BBAD29D665}"/>
                </a:ext>
              </a:extLst>
            </p:cNvPr>
            <p:cNvSpPr/>
            <p:nvPr/>
          </p:nvSpPr>
          <p:spPr>
            <a:xfrm>
              <a:off x="9662576" y="3326249"/>
              <a:ext cx="70213" cy="41020"/>
            </a:xfrm>
            <a:custGeom>
              <a:avLst/>
              <a:gdLst>
                <a:gd name="connsiteX0" fmla="*/ 15267 w 70213"/>
                <a:gd name="connsiteY0" fmla="*/ 4398 h 41020"/>
                <a:gd name="connsiteX1" fmla="*/ 9434 w 70213"/>
                <a:gd name="connsiteY1" fmla="*/ 7714 h 41020"/>
                <a:gd name="connsiteX2" fmla="*/ 4321 w 70213"/>
                <a:gd name="connsiteY2" fmla="*/ 11607 h 41020"/>
                <a:gd name="connsiteX3" fmla="*/ 2737 w 70213"/>
                <a:gd name="connsiteY3" fmla="*/ 15139 h 41020"/>
                <a:gd name="connsiteX4" fmla="*/ 648 w 70213"/>
                <a:gd name="connsiteY4" fmla="*/ 18167 h 41020"/>
                <a:gd name="connsiteX5" fmla="*/ 144 w 70213"/>
                <a:gd name="connsiteY5" fmla="*/ 19249 h 41020"/>
                <a:gd name="connsiteX6" fmla="*/ 0 w 70213"/>
                <a:gd name="connsiteY6" fmla="*/ 20330 h 41020"/>
                <a:gd name="connsiteX7" fmla="*/ 288 w 70213"/>
                <a:gd name="connsiteY7" fmla="*/ 21556 h 41020"/>
                <a:gd name="connsiteX8" fmla="*/ 2232 w 70213"/>
                <a:gd name="connsiteY8" fmla="*/ 26891 h 41020"/>
                <a:gd name="connsiteX9" fmla="*/ 5617 w 70213"/>
                <a:gd name="connsiteY9" fmla="*/ 28981 h 41020"/>
                <a:gd name="connsiteX10" fmla="*/ 9506 w 70213"/>
                <a:gd name="connsiteY10" fmla="*/ 33379 h 41020"/>
                <a:gd name="connsiteX11" fmla="*/ 12314 w 70213"/>
                <a:gd name="connsiteY11" fmla="*/ 36046 h 41020"/>
                <a:gd name="connsiteX12" fmla="*/ 16347 w 70213"/>
                <a:gd name="connsiteY12" fmla="*/ 37993 h 41020"/>
                <a:gd name="connsiteX13" fmla="*/ 20380 w 70213"/>
                <a:gd name="connsiteY13" fmla="*/ 39218 h 41020"/>
                <a:gd name="connsiteX14" fmla="*/ 26069 w 70213"/>
                <a:gd name="connsiteY14" fmla="*/ 39218 h 41020"/>
                <a:gd name="connsiteX15" fmla="*/ 29814 w 70213"/>
                <a:gd name="connsiteY15" fmla="*/ 39939 h 41020"/>
                <a:gd name="connsiteX16" fmla="*/ 33846 w 70213"/>
                <a:gd name="connsiteY16" fmla="*/ 40300 h 41020"/>
                <a:gd name="connsiteX17" fmla="*/ 39319 w 70213"/>
                <a:gd name="connsiteY17" fmla="*/ 40660 h 41020"/>
                <a:gd name="connsiteX18" fmla="*/ 44576 w 70213"/>
                <a:gd name="connsiteY18" fmla="*/ 41021 h 41020"/>
                <a:gd name="connsiteX19" fmla="*/ 51130 w 70213"/>
                <a:gd name="connsiteY19" fmla="*/ 40516 h 41020"/>
                <a:gd name="connsiteX20" fmla="*/ 56099 w 70213"/>
                <a:gd name="connsiteY20" fmla="*/ 39074 h 41020"/>
                <a:gd name="connsiteX21" fmla="*/ 62076 w 70213"/>
                <a:gd name="connsiteY21" fmla="*/ 36623 h 41020"/>
                <a:gd name="connsiteX22" fmla="*/ 64740 w 70213"/>
                <a:gd name="connsiteY22" fmla="*/ 33595 h 41020"/>
                <a:gd name="connsiteX23" fmla="*/ 67765 w 70213"/>
                <a:gd name="connsiteY23" fmla="*/ 30784 h 41020"/>
                <a:gd name="connsiteX24" fmla="*/ 70213 w 70213"/>
                <a:gd name="connsiteY24" fmla="*/ 26891 h 41020"/>
                <a:gd name="connsiteX25" fmla="*/ 70069 w 70213"/>
                <a:gd name="connsiteY25" fmla="*/ 22853 h 41020"/>
                <a:gd name="connsiteX26" fmla="*/ 68989 w 70213"/>
                <a:gd name="connsiteY26" fmla="*/ 17014 h 41020"/>
                <a:gd name="connsiteX27" fmla="*/ 62652 w 70213"/>
                <a:gd name="connsiteY27" fmla="*/ 7786 h 41020"/>
                <a:gd name="connsiteX28" fmla="*/ 57035 w 70213"/>
                <a:gd name="connsiteY28" fmla="*/ 3533 h 41020"/>
                <a:gd name="connsiteX29" fmla="*/ 54226 w 70213"/>
                <a:gd name="connsiteY29" fmla="*/ 2163 h 41020"/>
                <a:gd name="connsiteX30" fmla="*/ 52138 w 70213"/>
                <a:gd name="connsiteY30" fmla="*/ 1370 h 41020"/>
                <a:gd name="connsiteX31" fmla="*/ 50121 w 70213"/>
                <a:gd name="connsiteY31" fmla="*/ 1081 h 41020"/>
                <a:gd name="connsiteX32" fmla="*/ 43568 w 70213"/>
                <a:gd name="connsiteY32" fmla="*/ 1586 h 41020"/>
                <a:gd name="connsiteX33" fmla="*/ 37015 w 70213"/>
                <a:gd name="connsiteY33" fmla="*/ 505 h 41020"/>
                <a:gd name="connsiteX34" fmla="*/ 33846 w 70213"/>
                <a:gd name="connsiteY34" fmla="*/ 0 h 41020"/>
                <a:gd name="connsiteX35" fmla="*/ 29814 w 70213"/>
                <a:gd name="connsiteY35" fmla="*/ 865 h 41020"/>
                <a:gd name="connsiteX36" fmla="*/ 24485 w 70213"/>
                <a:gd name="connsiteY36" fmla="*/ 1586 h 41020"/>
                <a:gd name="connsiteX37" fmla="*/ 21100 w 70213"/>
                <a:gd name="connsiteY37" fmla="*/ 2812 h 41020"/>
                <a:gd name="connsiteX38" fmla="*/ 15267 w 70213"/>
                <a:gd name="connsiteY38" fmla="*/ 4398 h 4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0213" h="41020">
                  <a:moveTo>
                    <a:pt x="15267" y="4398"/>
                  </a:moveTo>
                  <a:lnTo>
                    <a:pt x="9434" y="7714"/>
                  </a:lnTo>
                  <a:lnTo>
                    <a:pt x="4321" y="11607"/>
                  </a:lnTo>
                  <a:lnTo>
                    <a:pt x="2737" y="15139"/>
                  </a:lnTo>
                  <a:lnTo>
                    <a:pt x="648" y="18167"/>
                  </a:lnTo>
                  <a:lnTo>
                    <a:pt x="144" y="19249"/>
                  </a:lnTo>
                  <a:lnTo>
                    <a:pt x="0" y="20330"/>
                  </a:lnTo>
                  <a:lnTo>
                    <a:pt x="288" y="21556"/>
                  </a:lnTo>
                  <a:lnTo>
                    <a:pt x="2232" y="26891"/>
                  </a:lnTo>
                  <a:lnTo>
                    <a:pt x="5617" y="28981"/>
                  </a:lnTo>
                  <a:lnTo>
                    <a:pt x="9506" y="33379"/>
                  </a:lnTo>
                  <a:lnTo>
                    <a:pt x="12314" y="36046"/>
                  </a:lnTo>
                  <a:lnTo>
                    <a:pt x="16347" y="37993"/>
                  </a:lnTo>
                  <a:lnTo>
                    <a:pt x="20380" y="39218"/>
                  </a:lnTo>
                  <a:lnTo>
                    <a:pt x="26069" y="39218"/>
                  </a:lnTo>
                  <a:lnTo>
                    <a:pt x="29814" y="39939"/>
                  </a:lnTo>
                  <a:lnTo>
                    <a:pt x="33846" y="40300"/>
                  </a:lnTo>
                  <a:lnTo>
                    <a:pt x="39319" y="40660"/>
                  </a:lnTo>
                  <a:lnTo>
                    <a:pt x="44576" y="41021"/>
                  </a:lnTo>
                  <a:lnTo>
                    <a:pt x="51130" y="40516"/>
                  </a:lnTo>
                  <a:lnTo>
                    <a:pt x="56099" y="39074"/>
                  </a:lnTo>
                  <a:lnTo>
                    <a:pt x="62076" y="36623"/>
                  </a:lnTo>
                  <a:lnTo>
                    <a:pt x="64740" y="33595"/>
                  </a:lnTo>
                  <a:lnTo>
                    <a:pt x="67765" y="30784"/>
                  </a:lnTo>
                  <a:lnTo>
                    <a:pt x="70213" y="26891"/>
                  </a:lnTo>
                  <a:lnTo>
                    <a:pt x="70069" y="22853"/>
                  </a:lnTo>
                  <a:lnTo>
                    <a:pt x="68989" y="17014"/>
                  </a:lnTo>
                  <a:lnTo>
                    <a:pt x="62652" y="7786"/>
                  </a:lnTo>
                  <a:lnTo>
                    <a:pt x="57035" y="3533"/>
                  </a:lnTo>
                  <a:lnTo>
                    <a:pt x="54226" y="2163"/>
                  </a:lnTo>
                  <a:lnTo>
                    <a:pt x="52138" y="1370"/>
                  </a:lnTo>
                  <a:lnTo>
                    <a:pt x="50121" y="1081"/>
                  </a:lnTo>
                  <a:lnTo>
                    <a:pt x="43568" y="1586"/>
                  </a:lnTo>
                  <a:lnTo>
                    <a:pt x="37015" y="505"/>
                  </a:lnTo>
                  <a:lnTo>
                    <a:pt x="33846" y="0"/>
                  </a:lnTo>
                  <a:lnTo>
                    <a:pt x="29814" y="865"/>
                  </a:lnTo>
                  <a:lnTo>
                    <a:pt x="24485" y="1586"/>
                  </a:lnTo>
                  <a:lnTo>
                    <a:pt x="21100" y="2812"/>
                  </a:lnTo>
                  <a:lnTo>
                    <a:pt x="15267" y="4398"/>
                  </a:lnTo>
                </a:path>
              </a:pathLst>
            </a:custGeom>
            <a:solidFill>
              <a:srgbClr val="F26531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25236F41-D9C9-0F6D-F019-4F9252BAE04D}"/>
                </a:ext>
              </a:extLst>
            </p:cNvPr>
            <p:cNvSpPr/>
            <p:nvPr/>
          </p:nvSpPr>
          <p:spPr>
            <a:xfrm>
              <a:off x="9668265" y="3427034"/>
              <a:ext cx="59915" cy="15932"/>
            </a:xfrm>
            <a:custGeom>
              <a:avLst/>
              <a:gdLst>
                <a:gd name="connsiteX0" fmla="*/ 1224 w 59915"/>
                <a:gd name="connsiteY0" fmla="*/ 360 h 15932"/>
                <a:gd name="connsiteX1" fmla="*/ 32694 w 59915"/>
                <a:gd name="connsiteY1" fmla="*/ 1081 h 15932"/>
                <a:gd name="connsiteX2" fmla="*/ 37375 w 59915"/>
                <a:gd name="connsiteY2" fmla="*/ 144 h 15932"/>
                <a:gd name="connsiteX3" fmla="*/ 43424 w 59915"/>
                <a:gd name="connsiteY3" fmla="*/ 0 h 15932"/>
                <a:gd name="connsiteX4" fmla="*/ 49473 w 59915"/>
                <a:gd name="connsiteY4" fmla="*/ 649 h 15932"/>
                <a:gd name="connsiteX5" fmla="*/ 54082 w 59915"/>
                <a:gd name="connsiteY5" fmla="*/ 1947 h 15932"/>
                <a:gd name="connsiteX6" fmla="*/ 57611 w 59915"/>
                <a:gd name="connsiteY6" fmla="*/ 4326 h 15932"/>
                <a:gd name="connsiteX7" fmla="*/ 58907 w 59915"/>
                <a:gd name="connsiteY7" fmla="*/ 5984 h 15932"/>
                <a:gd name="connsiteX8" fmla="*/ 59699 w 59915"/>
                <a:gd name="connsiteY8" fmla="*/ 7714 h 15932"/>
                <a:gd name="connsiteX9" fmla="*/ 59915 w 59915"/>
                <a:gd name="connsiteY9" fmla="*/ 9588 h 15932"/>
                <a:gd name="connsiteX10" fmla="*/ 59339 w 59915"/>
                <a:gd name="connsiteY10" fmla="*/ 11535 h 15932"/>
                <a:gd name="connsiteX11" fmla="*/ 57971 w 59915"/>
                <a:gd name="connsiteY11" fmla="*/ 13409 h 15932"/>
                <a:gd name="connsiteX12" fmla="*/ 55522 w 59915"/>
                <a:gd name="connsiteY12" fmla="*/ 15212 h 15932"/>
                <a:gd name="connsiteX13" fmla="*/ 51922 w 59915"/>
                <a:gd name="connsiteY13" fmla="*/ 15932 h 15932"/>
                <a:gd name="connsiteX14" fmla="*/ 45513 w 59915"/>
                <a:gd name="connsiteY14" fmla="*/ 15932 h 15932"/>
                <a:gd name="connsiteX15" fmla="*/ 28229 w 59915"/>
                <a:gd name="connsiteY15" fmla="*/ 14635 h 15932"/>
                <a:gd name="connsiteX16" fmla="*/ 1872 w 59915"/>
                <a:gd name="connsiteY16" fmla="*/ 11607 h 15932"/>
                <a:gd name="connsiteX17" fmla="*/ 864 w 59915"/>
                <a:gd name="connsiteY17" fmla="*/ 11174 h 15932"/>
                <a:gd name="connsiteX18" fmla="*/ 288 w 59915"/>
                <a:gd name="connsiteY18" fmla="*/ 10165 h 15932"/>
                <a:gd name="connsiteX19" fmla="*/ 0 w 59915"/>
                <a:gd name="connsiteY19" fmla="*/ 6921 h 15932"/>
                <a:gd name="connsiteX20" fmla="*/ 1224 w 59915"/>
                <a:gd name="connsiteY20" fmla="*/ 360 h 1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9915" h="15932">
                  <a:moveTo>
                    <a:pt x="1224" y="360"/>
                  </a:moveTo>
                  <a:lnTo>
                    <a:pt x="32694" y="1081"/>
                  </a:lnTo>
                  <a:lnTo>
                    <a:pt x="37375" y="144"/>
                  </a:lnTo>
                  <a:lnTo>
                    <a:pt x="43424" y="0"/>
                  </a:lnTo>
                  <a:lnTo>
                    <a:pt x="49473" y="649"/>
                  </a:lnTo>
                  <a:lnTo>
                    <a:pt x="54082" y="1947"/>
                  </a:lnTo>
                  <a:lnTo>
                    <a:pt x="57611" y="4326"/>
                  </a:lnTo>
                  <a:lnTo>
                    <a:pt x="58907" y="5984"/>
                  </a:lnTo>
                  <a:lnTo>
                    <a:pt x="59699" y="7714"/>
                  </a:lnTo>
                  <a:lnTo>
                    <a:pt x="59915" y="9588"/>
                  </a:lnTo>
                  <a:lnTo>
                    <a:pt x="59339" y="11535"/>
                  </a:lnTo>
                  <a:lnTo>
                    <a:pt x="57971" y="13409"/>
                  </a:lnTo>
                  <a:lnTo>
                    <a:pt x="55522" y="15212"/>
                  </a:lnTo>
                  <a:lnTo>
                    <a:pt x="51922" y="15932"/>
                  </a:lnTo>
                  <a:lnTo>
                    <a:pt x="45513" y="15932"/>
                  </a:lnTo>
                  <a:lnTo>
                    <a:pt x="28229" y="14635"/>
                  </a:lnTo>
                  <a:lnTo>
                    <a:pt x="1872" y="11607"/>
                  </a:lnTo>
                  <a:lnTo>
                    <a:pt x="864" y="11174"/>
                  </a:lnTo>
                  <a:lnTo>
                    <a:pt x="288" y="10165"/>
                  </a:lnTo>
                  <a:lnTo>
                    <a:pt x="0" y="6921"/>
                  </a:lnTo>
                  <a:lnTo>
                    <a:pt x="1224" y="360"/>
                  </a:lnTo>
                </a:path>
              </a:pathLst>
            </a:custGeom>
            <a:solidFill>
              <a:srgbClr val="ED1849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B6CAA282-CF1C-B2C3-4C94-0031012ADC00}"/>
                </a:ext>
              </a:extLst>
            </p:cNvPr>
            <p:cNvSpPr/>
            <p:nvPr/>
          </p:nvSpPr>
          <p:spPr>
            <a:xfrm>
              <a:off x="9671290" y="3456448"/>
              <a:ext cx="57754" cy="15644"/>
            </a:xfrm>
            <a:custGeom>
              <a:avLst/>
              <a:gdLst>
                <a:gd name="connsiteX0" fmla="*/ 7057 w 57754"/>
                <a:gd name="connsiteY0" fmla="*/ 0 h 15644"/>
                <a:gd name="connsiteX1" fmla="*/ 9794 w 57754"/>
                <a:gd name="connsiteY1" fmla="*/ 1658 h 15644"/>
                <a:gd name="connsiteX2" fmla="*/ 11522 w 57754"/>
                <a:gd name="connsiteY2" fmla="*/ 2667 h 15644"/>
                <a:gd name="connsiteX3" fmla="*/ 13467 w 57754"/>
                <a:gd name="connsiteY3" fmla="*/ 3172 h 15644"/>
                <a:gd name="connsiteX4" fmla="*/ 14835 w 57754"/>
                <a:gd name="connsiteY4" fmla="*/ 2884 h 15644"/>
                <a:gd name="connsiteX5" fmla="*/ 16419 w 57754"/>
                <a:gd name="connsiteY5" fmla="*/ 2163 h 15644"/>
                <a:gd name="connsiteX6" fmla="*/ 18003 w 57754"/>
                <a:gd name="connsiteY6" fmla="*/ 1370 h 15644"/>
                <a:gd name="connsiteX7" fmla="*/ 19588 w 57754"/>
                <a:gd name="connsiteY7" fmla="*/ 1009 h 15644"/>
                <a:gd name="connsiteX8" fmla="*/ 22324 w 57754"/>
                <a:gd name="connsiteY8" fmla="*/ 2019 h 15644"/>
                <a:gd name="connsiteX9" fmla="*/ 25277 w 57754"/>
                <a:gd name="connsiteY9" fmla="*/ 3028 h 15644"/>
                <a:gd name="connsiteX10" fmla="*/ 27725 w 57754"/>
                <a:gd name="connsiteY10" fmla="*/ 2235 h 15644"/>
                <a:gd name="connsiteX11" fmla="*/ 30246 w 57754"/>
                <a:gd name="connsiteY11" fmla="*/ 1514 h 15644"/>
                <a:gd name="connsiteX12" fmla="*/ 33198 w 57754"/>
                <a:gd name="connsiteY12" fmla="*/ 2595 h 15644"/>
                <a:gd name="connsiteX13" fmla="*/ 34638 w 57754"/>
                <a:gd name="connsiteY13" fmla="*/ 3172 h 15644"/>
                <a:gd name="connsiteX14" fmla="*/ 36079 w 57754"/>
                <a:gd name="connsiteY14" fmla="*/ 3172 h 15644"/>
                <a:gd name="connsiteX15" fmla="*/ 45224 w 57754"/>
                <a:gd name="connsiteY15" fmla="*/ 1947 h 15644"/>
                <a:gd name="connsiteX16" fmla="*/ 52210 w 57754"/>
                <a:gd name="connsiteY16" fmla="*/ 3100 h 15644"/>
                <a:gd name="connsiteX17" fmla="*/ 52642 w 57754"/>
                <a:gd name="connsiteY17" fmla="*/ 3388 h 15644"/>
                <a:gd name="connsiteX18" fmla="*/ 52858 w 57754"/>
                <a:gd name="connsiteY18" fmla="*/ 3749 h 15644"/>
                <a:gd name="connsiteX19" fmla="*/ 52642 w 57754"/>
                <a:gd name="connsiteY19" fmla="*/ 4614 h 15644"/>
                <a:gd name="connsiteX20" fmla="*/ 52354 w 57754"/>
                <a:gd name="connsiteY20" fmla="*/ 5551 h 15644"/>
                <a:gd name="connsiteX21" fmla="*/ 52642 w 57754"/>
                <a:gd name="connsiteY21" fmla="*/ 6416 h 15644"/>
                <a:gd name="connsiteX22" fmla="*/ 54370 w 57754"/>
                <a:gd name="connsiteY22" fmla="*/ 7426 h 15644"/>
                <a:gd name="connsiteX23" fmla="*/ 56315 w 57754"/>
                <a:gd name="connsiteY23" fmla="*/ 8219 h 15644"/>
                <a:gd name="connsiteX24" fmla="*/ 57107 w 57754"/>
                <a:gd name="connsiteY24" fmla="*/ 8795 h 15644"/>
                <a:gd name="connsiteX25" fmla="*/ 57611 w 57754"/>
                <a:gd name="connsiteY25" fmla="*/ 9660 h 15644"/>
                <a:gd name="connsiteX26" fmla="*/ 57755 w 57754"/>
                <a:gd name="connsiteY26" fmla="*/ 10958 h 15644"/>
                <a:gd name="connsiteX27" fmla="*/ 57395 w 57754"/>
                <a:gd name="connsiteY27" fmla="*/ 12760 h 15644"/>
                <a:gd name="connsiteX28" fmla="*/ 56819 w 57754"/>
                <a:gd name="connsiteY28" fmla="*/ 13626 h 15644"/>
                <a:gd name="connsiteX29" fmla="*/ 55522 w 57754"/>
                <a:gd name="connsiteY29" fmla="*/ 14346 h 15644"/>
                <a:gd name="connsiteX30" fmla="*/ 51562 w 57754"/>
                <a:gd name="connsiteY30" fmla="*/ 15212 h 15644"/>
                <a:gd name="connsiteX31" fmla="*/ 39031 w 57754"/>
                <a:gd name="connsiteY31" fmla="*/ 15644 h 15644"/>
                <a:gd name="connsiteX32" fmla="*/ 21100 w 57754"/>
                <a:gd name="connsiteY32" fmla="*/ 13337 h 15644"/>
                <a:gd name="connsiteX33" fmla="*/ 5545 w 57754"/>
                <a:gd name="connsiteY33" fmla="*/ 10453 h 15644"/>
                <a:gd name="connsiteX34" fmla="*/ 3241 w 57754"/>
                <a:gd name="connsiteY34" fmla="*/ 9516 h 15644"/>
                <a:gd name="connsiteX35" fmla="*/ 1512 w 57754"/>
                <a:gd name="connsiteY35" fmla="*/ 7426 h 15644"/>
                <a:gd name="connsiteX36" fmla="*/ 360 w 57754"/>
                <a:gd name="connsiteY36" fmla="*/ 4974 h 15644"/>
                <a:gd name="connsiteX37" fmla="*/ 0 w 57754"/>
                <a:gd name="connsiteY37" fmla="*/ 2812 h 15644"/>
                <a:gd name="connsiteX38" fmla="*/ 7057 w 57754"/>
                <a:gd name="connsiteY38" fmla="*/ 0 h 1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754" h="15644">
                  <a:moveTo>
                    <a:pt x="7057" y="0"/>
                  </a:moveTo>
                  <a:lnTo>
                    <a:pt x="9794" y="1658"/>
                  </a:lnTo>
                  <a:lnTo>
                    <a:pt x="11522" y="2667"/>
                  </a:lnTo>
                  <a:lnTo>
                    <a:pt x="13467" y="3172"/>
                  </a:lnTo>
                  <a:lnTo>
                    <a:pt x="14835" y="2884"/>
                  </a:lnTo>
                  <a:lnTo>
                    <a:pt x="16419" y="2163"/>
                  </a:lnTo>
                  <a:lnTo>
                    <a:pt x="18003" y="1370"/>
                  </a:lnTo>
                  <a:lnTo>
                    <a:pt x="19588" y="1009"/>
                  </a:lnTo>
                  <a:lnTo>
                    <a:pt x="22324" y="2019"/>
                  </a:lnTo>
                  <a:lnTo>
                    <a:pt x="25277" y="3028"/>
                  </a:lnTo>
                  <a:lnTo>
                    <a:pt x="27725" y="2235"/>
                  </a:lnTo>
                  <a:lnTo>
                    <a:pt x="30246" y="1514"/>
                  </a:lnTo>
                  <a:lnTo>
                    <a:pt x="33198" y="2595"/>
                  </a:lnTo>
                  <a:lnTo>
                    <a:pt x="34638" y="3172"/>
                  </a:lnTo>
                  <a:lnTo>
                    <a:pt x="36079" y="3172"/>
                  </a:lnTo>
                  <a:lnTo>
                    <a:pt x="45224" y="1947"/>
                  </a:lnTo>
                  <a:lnTo>
                    <a:pt x="52210" y="3100"/>
                  </a:lnTo>
                  <a:lnTo>
                    <a:pt x="52642" y="3388"/>
                  </a:lnTo>
                  <a:lnTo>
                    <a:pt x="52858" y="3749"/>
                  </a:lnTo>
                  <a:lnTo>
                    <a:pt x="52642" y="4614"/>
                  </a:lnTo>
                  <a:lnTo>
                    <a:pt x="52354" y="5551"/>
                  </a:lnTo>
                  <a:lnTo>
                    <a:pt x="52642" y="6416"/>
                  </a:lnTo>
                  <a:lnTo>
                    <a:pt x="54370" y="7426"/>
                  </a:lnTo>
                  <a:lnTo>
                    <a:pt x="56315" y="8219"/>
                  </a:lnTo>
                  <a:lnTo>
                    <a:pt x="57107" y="8795"/>
                  </a:lnTo>
                  <a:lnTo>
                    <a:pt x="57611" y="9660"/>
                  </a:lnTo>
                  <a:lnTo>
                    <a:pt x="57755" y="10958"/>
                  </a:lnTo>
                  <a:lnTo>
                    <a:pt x="57395" y="12760"/>
                  </a:lnTo>
                  <a:lnTo>
                    <a:pt x="56819" y="13626"/>
                  </a:lnTo>
                  <a:lnTo>
                    <a:pt x="55522" y="14346"/>
                  </a:lnTo>
                  <a:lnTo>
                    <a:pt x="51562" y="15212"/>
                  </a:lnTo>
                  <a:lnTo>
                    <a:pt x="39031" y="15644"/>
                  </a:lnTo>
                  <a:lnTo>
                    <a:pt x="21100" y="13337"/>
                  </a:lnTo>
                  <a:lnTo>
                    <a:pt x="5545" y="10453"/>
                  </a:lnTo>
                  <a:lnTo>
                    <a:pt x="3241" y="9516"/>
                  </a:lnTo>
                  <a:lnTo>
                    <a:pt x="1512" y="7426"/>
                  </a:lnTo>
                  <a:lnTo>
                    <a:pt x="360" y="4974"/>
                  </a:lnTo>
                  <a:lnTo>
                    <a:pt x="0" y="2812"/>
                  </a:lnTo>
                  <a:lnTo>
                    <a:pt x="705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17A1D138-063B-B1CB-6EAA-AE2B5BFDEE6A}"/>
                </a:ext>
              </a:extLst>
            </p:cNvPr>
            <p:cNvSpPr/>
            <p:nvPr/>
          </p:nvSpPr>
          <p:spPr>
            <a:xfrm>
              <a:off x="9668481" y="3473390"/>
              <a:ext cx="59771" cy="17013"/>
            </a:xfrm>
            <a:custGeom>
              <a:avLst/>
              <a:gdLst>
                <a:gd name="connsiteX0" fmla="*/ 5617 w 59771"/>
                <a:gd name="connsiteY0" fmla="*/ 0 h 17013"/>
                <a:gd name="connsiteX1" fmla="*/ 10442 w 59771"/>
                <a:gd name="connsiteY1" fmla="*/ 1874 h 17013"/>
                <a:gd name="connsiteX2" fmla="*/ 12818 w 59771"/>
                <a:gd name="connsiteY2" fmla="*/ 2740 h 17013"/>
                <a:gd name="connsiteX3" fmla="*/ 15195 w 59771"/>
                <a:gd name="connsiteY3" fmla="*/ 2667 h 17013"/>
                <a:gd name="connsiteX4" fmla="*/ 36583 w 59771"/>
                <a:gd name="connsiteY4" fmla="*/ 1658 h 17013"/>
                <a:gd name="connsiteX5" fmla="*/ 45152 w 59771"/>
                <a:gd name="connsiteY5" fmla="*/ 2451 h 17013"/>
                <a:gd name="connsiteX6" fmla="*/ 51850 w 59771"/>
                <a:gd name="connsiteY6" fmla="*/ 4109 h 17013"/>
                <a:gd name="connsiteX7" fmla="*/ 54874 w 59771"/>
                <a:gd name="connsiteY7" fmla="*/ 4902 h 17013"/>
                <a:gd name="connsiteX8" fmla="*/ 56603 w 59771"/>
                <a:gd name="connsiteY8" fmla="*/ 5623 h 17013"/>
                <a:gd name="connsiteX9" fmla="*/ 57971 w 59771"/>
                <a:gd name="connsiteY9" fmla="*/ 6633 h 17013"/>
                <a:gd name="connsiteX10" fmla="*/ 59483 w 59771"/>
                <a:gd name="connsiteY10" fmla="*/ 9300 h 17013"/>
                <a:gd name="connsiteX11" fmla="*/ 59771 w 59771"/>
                <a:gd name="connsiteY11" fmla="*/ 11895 h 17013"/>
                <a:gd name="connsiteX12" fmla="*/ 59123 w 59771"/>
                <a:gd name="connsiteY12" fmla="*/ 14130 h 17013"/>
                <a:gd name="connsiteX13" fmla="*/ 57971 w 59771"/>
                <a:gd name="connsiteY13" fmla="*/ 15572 h 17013"/>
                <a:gd name="connsiteX14" fmla="*/ 57971 w 59771"/>
                <a:gd name="connsiteY14" fmla="*/ 17014 h 17013"/>
                <a:gd name="connsiteX15" fmla="*/ 37015 w 59771"/>
                <a:gd name="connsiteY15" fmla="*/ 16942 h 17013"/>
                <a:gd name="connsiteX16" fmla="*/ 30030 w 59771"/>
                <a:gd name="connsiteY16" fmla="*/ 17014 h 17013"/>
                <a:gd name="connsiteX17" fmla="*/ 23116 w 59771"/>
                <a:gd name="connsiteY17" fmla="*/ 16437 h 17013"/>
                <a:gd name="connsiteX18" fmla="*/ 16203 w 59771"/>
                <a:gd name="connsiteY18" fmla="*/ 15212 h 17013"/>
                <a:gd name="connsiteX19" fmla="*/ 10010 w 59771"/>
                <a:gd name="connsiteY19" fmla="*/ 14202 h 17013"/>
                <a:gd name="connsiteX20" fmla="*/ 5545 w 59771"/>
                <a:gd name="connsiteY20" fmla="*/ 13481 h 17013"/>
                <a:gd name="connsiteX21" fmla="*/ 3745 w 59771"/>
                <a:gd name="connsiteY21" fmla="*/ 13049 h 17013"/>
                <a:gd name="connsiteX22" fmla="*/ 2520 w 59771"/>
                <a:gd name="connsiteY22" fmla="*/ 11895 h 17013"/>
                <a:gd name="connsiteX23" fmla="*/ 792 w 59771"/>
                <a:gd name="connsiteY23" fmla="*/ 8219 h 17013"/>
                <a:gd name="connsiteX24" fmla="*/ 0 w 59771"/>
                <a:gd name="connsiteY24" fmla="*/ 4253 h 17013"/>
                <a:gd name="connsiteX25" fmla="*/ 5617 w 59771"/>
                <a:gd name="connsiteY25" fmla="*/ 0 h 17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9771" h="17013">
                  <a:moveTo>
                    <a:pt x="5617" y="0"/>
                  </a:moveTo>
                  <a:lnTo>
                    <a:pt x="10442" y="1874"/>
                  </a:lnTo>
                  <a:lnTo>
                    <a:pt x="12818" y="2740"/>
                  </a:lnTo>
                  <a:lnTo>
                    <a:pt x="15195" y="2667"/>
                  </a:lnTo>
                  <a:lnTo>
                    <a:pt x="36583" y="1658"/>
                  </a:lnTo>
                  <a:lnTo>
                    <a:pt x="45152" y="2451"/>
                  </a:lnTo>
                  <a:lnTo>
                    <a:pt x="51850" y="4109"/>
                  </a:lnTo>
                  <a:lnTo>
                    <a:pt x="54874" y="4902"/>
                  </a:lnTo>
                  <a:lnTo>
                    <a:pt x="56603" y="5623"/>
                  </a:lnTo>
                  <a:lnTo>
                    <a:pt x="57971" y="6633"/>
                  </a:lnTo>
                  <a:lnTo>
                    <a:pt x="59483" y="9300"/>
                  </a:lnTo>
                  <a:lnTo>
                    <a:pt x="59771" y="11895"/>
                  </a:lnTo>
                  <a:lnTo>
                    <a:pt x="59123" y="14130"/>
                  </a:lnTo>
                  <a:lnTo>
                    <a:pt x="57971" y="15572"/>
                  </a:lnTo>
                  <a:lnTo>
                    <a:pt x="57971" y="17014"/>
                  </a:lnTo>
                  <a:lnTo>
                    <a:pt x="37015" y="16942"/>
                  </a:lnTo>
                  <a:lnTo>
                    <a:pt x="30030" y="17014"/>
                  </a:lnTo>
                  <a:lnTo>
                    <a:pt x="23116" y="16437"/>
                  </a:lnTo>
                  <a:lnTo>
                    <a:pt x="16203" y="15212"/>
                  </a:lnTo>
                  <a:lnTo>
                    <a:pt x="10010" y="14202"/>
                  </a:lnTo>
                  <a:lnTo>
                    <a:pt x="5545" y="13481"/>
                  </a:lnTo>
                  <a:lnTo>
                    <a:pt x="3745" y="13049"/>
                  </a:lnTo>
                  <a:lnTo>
                    <a:pt x="2520" y="11895"/>
                  </a:lnTo>
                  <a:lnTo>
                    <a:pt x="792" y="8219"/>
                  </a:lnTo>
                  <a:lnTo>
                    <a:pt x="0" y="4253"/>
                  </a:lnTo>
                  <a:lnTo>
                    <a:pt x="561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DB4C70FB-4D8B-F2B1-2933-13A2F390D735}"/>
                </a:ext>
              </a:extLst>
            </p:cNvPr>
            <p:cNvSpPr/>
            <p:nvPr/>
          </p:nvSpPr>
          <p:spPr>
            <a:xfrm>
              <a:off x="9668553" y="3498406"/>
              <a:ext cx="60779" cy="27899"/>
            </a:xfrm>
            <a:custGeom>
              <a:avLst/>
              <a:gdLst>
                <a:gd name="connsiteX0" fmla="*/ 7129 w 60779"/>
                <a:gd name="connsiteY0" fmla="*/ 0 h 27899"/>
                <a:gd name="connsiteX1" fmla="*/ 16635 w 60779"/>
                <a:gd name="connsiteY1" fmla="*/ 1226 h 27899"/>
                <a:gd name="connsiteX2" fmla="*/ 19804 w 60779"/>
                <a:gd name="connsiteY2" fmla="*/ 1586 h 27899"/>
                <a:gd name="connsiteX3" fmla="*/ 22540 w 60779"/>
                <a:gd name="connsiteY3" fmla="*/ 1081 h 27899"/>
                <a:gd name="connsiteX4" fmla="*/ 26213 w 60779"/>
                <a:gd name="connsiteY4" fmla="*/ 721 h 27899"/>
                <a:gd name="connsiteX5" fmla="*/ 31974 w 60779"/>
                <a:gd name="connsiteY5" fmla="*/ 1153 h 27899"/>
                <a:gd name="connsiteX6" fmla="*/ 40256 w 60779"/>
                <a:gd name="connsiteY6" fmla="*/ 1298 h 27899"/>
                <a:gd name="connsiteX7" fmla="*/ 48609 w 60779"/>
                <a:gd name="connsiteY7" fmla="*/ 865 h 27899"/>
                <a:gd name="connsiteX8" fmla="*/ 51490 w 60779"/>
                <a:gd name="connsiteY8" fmla="*/ 793 h 27899"/>
                <a:gd name="connsiteX9" fmla="*/ 53938 w 60779"/>
                <a:gd name="connsiteY9" fmla="*/ 1802 h 27899"/>
                <a:gd name="connsiteX10" fmla="*/ 58259 w 60779"/>
                <a:gd name="connsiteY10" fmla="*/ 5407 h 27899"/>
                <a:gd name="connsiteX11" fmla="*/ 59699 w 60779"/>
                <a:gd name="connsiteY11" fmla="*/ 7209 h 27899"/>
                <a:gd name="connsiteX12" fmla="*/ 60563 w 60779"/>
                <a:gd name="connsiteY12" fmla="*/ 9300 h 27899"/>
                <a:gd name="connsiteX13" fmla="*/ 60779 w 60779"/>
                <a:gd name="connsiteY13" fmla="*/ 11607 h 27899"/>
                <a:gd name="connsiteX14" fmla="*/ 60203 w 60779"/>
                <a:gd name="connsiteY14" fmla="*/ 13914 h 27899"/>
                <a:gd name="connsiteX15" fmla="*/ 57683 w 60779"/>
                <a:gd name="connsiteY15" fmla="*/ 20979 h 27899"/>
                <a:gd name="connsiteX16" fmla="*/ 56243 w 60779"/>
                <a:gd name="connsiteY16" fmla="*/ 24079 h 27899"/>
                <a:gd name="connsiteX17" fmla="*/ 54154 w 60779"/>
                <a:gd name="connsiteY17" fmla="*/ 26602 h 27899"/>
                <a:gd name="connsiteX18" fmla="*/ 52930 w 60779"/>
                <a:gd name="connsiteY18" fmla="*/ 27179 h 27899"/>
                <a:gd name="connsiteX19" fmla="*/ 51490 w 60779"/>
                <a:gd name="connsiteY19" fmla="*/ 27251 h 27899"/>
                <a:gd name="connsiteX20" fmla="*/ 47961 w 60779"/>
                <a:gd name="connsiteY20" fmla="*/ 26602 h 27899"/>
                <a:gd name="connsiteX21" fmla="*/ 44288 w 60779"/>
                <a:gd name="connsiteY21" fmla="*/ 25593 h 27899"/>
                <a:gd name="connsiteX22" fmla="*/ 41120 w 60779"/>
                <a:gd name="connsiteY22" fmla="*/ 25160 h 27899"/>
                <a:gd name="connsiteX23" fmla="*/ 38815 w 60779"/>
                <a:gd name="connsiteY23" fmla="*/ 25737 h 27899"/>
                <a:gd name="connsiteX24" fmla="*/ 36799 w 60779"/>
                <a:gd name="connsiteY24" fmla="*/ 26746 h 27899"/>
                <a:gd name="connsiteX25" fmla="*/ 34711 w 60779"/>
                <a:gd name="connsiteY25" fmla="*/ 27612 h 27899"/>
                <a:gd name="connsiteX26" fmla="*/ 32334 w 60779"/>
                <a:gd name="connsiteY26" fmla="*/ 27900 h 27899"/>
                <a:gd name="connsiteX27" fmla="*/ 25565 w 60779"/>
                <a:gd name="connsiteY27" fmla="*/ 26098 h 27899"/>
                <a:gd name="connsiteX28" fmla="*/ 21748 w 60779"/>
                <a:gd name="connsiteY28" fmla="*/ 25593 h 27899"/>
                <a:gd name="connsiteX29" fmla="*/ 17355 w 60779"/>
                <a:gd name="connsiteY29" fmla="*/ 26314 h 27899"/>
                <a:gd name="connsiteX30" fmla="*/ 16203 w 60779"/>
                <a:gd name="connsiteY30" fmla="*/ 26458 h 27899"/>
                <a:gd name="connsiteX31" fmla="*/ 15123 w 60779"/>
                <a:gd name="connsiteY31" fmla="*/ 25953 h 27899"/>
                <a:gd name="connsiteX32" fmla="*/ 13971 w 60779"/>
                <a:gd name="connsiteY32" fmla="*/ 25377 h 27899"/>
                <a:gd name="connsiteX33" fmla="*/ 12746 w 60779"/>
                <a:gd name="connsiteY33" fmla="*/ 25088 h 27899"/>
                <a:gd name="connsiteX34" fmla="*/ 10082 w 60779"/>
                <a:gd name="connsiteY34" fmla="*/ 25016 h 27899"/>
                <a:gd name="connsiteX35" fmla="*/ 9074 w 60779"/>
                <a:gd name="connsiteY35" fmla="*/ 24656 h 27899"/>
                <a:gd name="connsiteX36" fmla="*/ 8570 w 60779"/>
                <a:gd name="connsiteY36" fmla="*/ 24079 h 27899"/>
                <a:gd name="connsiteX37" fmla="*/ 5329 w 60779"/>
                <a:gd name="connsiteY37" fmla="*/ 19105 h 27899"/>
                <a:gd name="connsiteX38" fmla="*/ 1872 w 60779"/>
                <a:gd name="connsiteY38" fmla="*/ 14995 h 27899"/>
                <a:gd name="connsiteX39" fmla="*/ 432 w 60779"/>
                <a:gd name="connsiteY39" fmla="*/ 13121 h 27899"/>
                <a:gd name="connsiteX40" fmla="*/ 0 w 60779"/>
                <a:gd name="connsiteY40" fmla="*/ 10958 h 27899"/>
                <a:gd name="connsiteX41" fmla="*/ 792 w 60779"/>
                <a:gd name="connsiteY41" fmla="*/ 8363 h 27899"/>
                <a:gd name="connsiteX42" fmla="*/ 2664 w 60779"/>
                <a:gd name="connsiteY42" fmla="*/ 5623 h 27899"/>
                <a:gd name="connsiteX43" fmla="*/ 7129 w 60779"/>
                <a:gd name="connsiteY43" fmla="*/ 0 h 27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0779" h="27899">
                  <a:moveTo>
                    <a:pt x="7129" y="0"/>
                  </a:moveTo>
                  <a:lnTo>
                    <a:pt x="16635" y="1226"/>
                  </a:lnTo>
                  <a:lnTo>
                    <a:pt x="19804" y="1586"/>
                  </a:lnTo>
                  <a:lnTo>
                    <a:pt x="22540" y="1081"/>
                  </a:lnTo>
                  <a:lnTo>
                    <a:pt x="26213" y="721"/>
                  </a:lnTo>
                  <a:lnTo>
                    <a:pt x="31974" y="1153"/>
                  </a:lnTo>
                  <a:lnTo>
                    <a:pt x="40256" y="1298"/>
                  </a:lnTo>
                  <a:lnTo>
                    <a:pt x="48609" y="865"/>
                  </a:lnTo>
                  <a:lnTo>
                    <a:pt x="51490" y="793"/>
                  </a:lnTo>
                  <a:lnTo>
                    <a:pt x="53938" y="1802"/>
                  </a:lnTo>
                  <a:lnTo>
                    <a:pt x="58259" y="5407"/>
                  </a:lnTo>
                  <a:lnTo>
                    <a:pt x="59699" y="7209"/>
                  </a:lnTo>
                  <a:lnTo>
                    <a:pt x="60563" y="9300"/>
                  </a:lnTo>
                  <a:lnTo>
                    <a:pt x="60779" y="11607"/>
                  </a:lnTo>
                  <a:lnTo>
                    <a:pt x="60203" y="13914"/>
                  </a:lnTo>
                  <a:lnTo>
                    <a:pt x="57683" y="20979"/>
                  </a:lnTo>
                  <a:lnTo>
                    <a:pt x="56243" y="24079"/>
                  </a:lnTo>
                  <a:lnTo>
                    <a:pt x="54154" y="26602"/>
                  </a:lnTo>
                  <a:lnTo>
                    <a:pt x="52930" y="27179"/>
                  </a:lnTo>
                  <a:lnTo>
                    <a:pt x="51490" y="27251"/>
                  </a:lnTo>
                  <a:lnTo>
                    <a:pt x="47961" y="26602"/>
                  </a:lnTo>
                  <a:lnTo>
                    <a:pt x="44288" y="25593"/>
                  </a:lnTo>
                  <a:lnTo>
                    <a:pt x="41120" y="25160"/>
                  </a:lnTo>
                  <a:lnTo>
                    <a:pt x="38815" y="25737"/>
                  </a:lnTo>
                  <a:lnTo>
                    <a:pt x="36799" y="26746"/>
                  </a:lnTo>
                  <a:lnTo>
                    <a:pt x="34711" y="27612"/>
                  </a:lnTo>
                  <a:lnTo>
                    <a:pt x="32334" y="27900"/>
                  </a:lnTo>
                  <a:lnTo>
                    <a:pt x="25565" y="26098"/>
                  </a:lnTo>
                  <a:lnTo>
                    <a:pt x="21748" y="25593"/>
                  </a:lnTo>
                  <a:lnTo>
                    <a:pt x="17355" y="26314"/>
                  </a:lnTo>
                  <a:lnTo>
                    <a:pt x="16203" y="26458"/>
                  </a:lnTo>
                  <a:lnTo>
                    <a:pt x="15123" y="25953"/>
                  </a:lnTo>
                  <a:lnTo>
                    <a:pt x="13971" y="25377"/>
                  </a:lnTo>
                  <a:lnTo>
                    <a:pt x="12746" y="25088"/>
                  </a:lnTo>
                  <a:lnTo>
                    <a:pt x="10082" y="25016"/>
                  </a:lnTo>
                  <a:lnTo>
                    <a:pt x="9074" y="24656"/>
                  </a:lnTo>
                  <a:lnTo>
                    <a:pt x="8570" y="24079"/>
                  </a:lnTo>
                  <a:lnTo>
                    <a:pt x="5329" y="19105"/>
                  </a:lnTo>
                  <a:lnTo>
                    <a:pt x="1872" y="14995"/>
                  </a:lnTo>
                  <a:lnTo>
                    <a:pt x="432" y="13121"/>
                  </a:lnTo>
                  <a:lnTo>
                    <a:pt x="0" y="10958"/>
                  </a:lnTo>
                  <a:lnTo>
                    <a:pt x="792" y="8363"/>
                  </a:lnTo>
                  <a:lnTo>
                    <a:pt x="2664" y="5623"/>
                  </a:lnTo>
                  <a:lnTo>
                    <a:pt x="7129" y="0"/>
                  </a:lnTo>
                </a:path>
              </a:pathLst>
            </a:custGeom>
            <a:solidFill>
              <a:srgbClr val="A9218E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EE7AB76A-9AE2-BE1A-AB4C-CCF96580FAA6}"/>
                </a:ext>
              </a:extLst>
            </p:cNvPr>
            <p:cNvSpPr/>
            <p:nvPr/>
          </p:nvSpPr>
          <p:spPr>
            <a:xfrm>
              <a:off x="9664305" y="3546780"/>
              <a:ext cx="69565" cy="39506"/>
            </a:xfrm>
            <a:custGeom>
              <a:avLst/>
              <a:gdLst>
                <a:gd name="connsiteX0" fmla="*/ 22180 w 69565"/>
                <a:gd name="connsiteY0" fmla="*/ 216 h 39506"/>
                <a:gd name="connsiteX1" fmla="*/ 25709 w 69565"/>
                <a:gd name="connsiteY1" fmla="*/ 0 h 39506"/>
                <a:gd name="connsiteX2" fmla="*/ 29238 w 69565"/>
                <a:gd name="connsiteY2" fmla="*/ 360 h 39506"/>
                <a:gd name="connsiteX3" fmla="*/ 49545 w 69565"/>
                <a:gd name="connsiteY3" fmla="*/ 2379 h 39506"/>
                <a:gd name="connsiteX4" fmla="*/ 55234 w 69565"/>
                <a:gd name="connsiteY4" fmla="*/ 3244 h 39506"/>
                <a:gd name="connsiteX5" fmla="*/ 60635 w 69565"/>
                <a:gd name="connsiteY5" fmla="*/ 4758 h 39506"/>
                <a:gd name="connsiteX6" fmla="*/ 63084 w 69565"/>
                <a:gd name="connsiteY6" fmla="*/ 6272 h 39506"/>
                <a:gd name="connsiteX7" fmla="*/ 65244 w 69565"/>
                <a:gd name="connsiteY7" fmla="*/ 8435 h 39506"/>
                <a:gd name="connsiteX8" fmla="*/ 67045 w 69565"/>
                <a:gd name="connsiteY8" fmla="*/ 11679 h 39506"/>
                <a:gd name="connsiteX9" fmla="*/ 68485 w 69565"/>
                <a:gd name="connsiteY9" fmla="*/ 16005 h 39506"/>
                <a:gd name="connsiteX10" fmla="*/ 69565 w 69565"/>
                <a:gd name="connsiteY10" fmla="*/ 23358 h 39506"/>
                <a:gd name="connsiteX11" fmla="*/ 69205 w 69565"/>
                <a:gd name="connsiteY11" fmla="*/ 27035 h 39506"/>
                <a:gd name="connsiteX12" fmla="*/ 67837 w 69565"/>
                <a:gd name="connsiteY12" fmla="*/ 30423 h 39506"/>
                <a:gd name="connsiteX13" fmla="*/ 65964 w 69565"/>
                <a:gd name="connsiteY13" fmla="*/ 32586 h 39506"/>
                <a:gd name="connsiteX14" fmla="*/ 63516 w 69565"/>
                <a:gd name="connsiteY14" fmla="*/ 34460 h 39506"/>
                <a:gd name="connsiteX15" fmla="*/ 56963 w 69565"/>
                <a:gd name="connsiteY15" fmla="*/ 37272 h 39506"/>
                <a:gd name="connsiteX16" fmla="*/ 39751 w 69565"/>
                <a:gd name="connsiteY16" fmla="*/ 39507 h 39506"/>
                <a:gd name="connsiteX17" fmla="*/ 34278 w 69565"/>
                <a:gd name="connsiteY17" fmla="*/ 38786 h 39506"/>
                <a:gd name="connsiteX18" fmla="*/ 29021 w 69565"/>
                <a:gd name="connsiteY18" fmla="*/ 37272 h 39506"/>
                <a:gd name="connsiteX19" fmla="*/ 23764 w 69565"/>
                <a:gd name="connsiteY19" fmla="*/ 35830 h 39506"/>
                <a:gd name="connsiteX20" fmla="*/ 18652 w 69565"/>
                <a:gd name="connsiteY20" fmla="*/ 35253 h 39506"/>
                <a:gd name="connsiteX21" fmla="*/ 11450 w 69565"/>
                <a:gd name="connsiteY21" fmla="*/ 34388 h 39506"/>
                <a:gd name="connsiteX22" fmla="*/ 6049 w 69565"/>
                <a:gd name="connsiteY22" fmla="*/ 31721 h 39506"/>
                <a:gd name="connsiteX23" fmla="*/ 2448 w 69565"/>
                <a:gd name="connsiteY23" fmla="*/ 27900 h 39506"/>
                <a:gd name="connsiteX24" fmla="*/ 504 w 69565"/>
                <a:gd name="connsiteY24" fmla="*/ 23574 h 39506"/>
                <a:gd name="connsiteX25" fmla="*/ 0 w 69565"/>
                <a:gd name="connsiteY25" fmla="*/ 18816 h 39506"/>
                <a:gd name="connsiteX26" fmla="*/ 1152 w 69565"/>
                <a:gd name="connsiteY26" fmla="*/ 14707 h 39506"/>
                <a:gd name="connsiteX27" fmla="*/ 3529 w 69565"/>
                <a:gd name="connsiteY27" fmla="*/ 11246 h 39506"/>
                <a:gd name="connsiteX28" fmla="*/ 6625 w 69565"/>
                <a:gd name="connsiteY28" fmla="*/ 8507 h 39506"/>
                <a:gd name="connsiteX29" fmla="*/ 13395 w 69565"/>
                <a:gd name="connsiteY29" fmla="*/ 4758 h 39506"/>
                <a:gd name="connsiteX30" fmla="*/ 18003 w 69565"/>
                <a:gd name="connsiteY30" fmla="*/ 3100 h 39506"/>
                <a:gd name="connsiteX31" fmla="*/ 19156 w 69565"/>
                <a:gd name="connsiteY31" fmla="*/ 2523 h 39506"/>
                <a:gd name="connsiteX32" fmla="*/ 19948 w 69565"/>
                <a:gd name="connsiteY32" fmla="*/ 1730 h 39506"/>
                <a:gd name="connsiteX33" fmla="*/ 20812 w 69565"/>
                <a:gd name="connsiteY33" fmla="*/ 865 h 39506"/>
                <a:gd name="connsiteX34" fmla="*/ 22180 w 69565"/>
                <a:gd name="connsiteY34" fmla="*/ 216 h 3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9565" h="39506">
                  <a:moveTo>
                    <a:pt x="22180" y="216"/>
                  </a:moveTo>
                  <a:lnTo>
                    <a:pt x="25709" y="0"/>
                  </a:lnTo>
                  <a:lnTo>
                    <a:pt x="29238" y="360"/>
                  </a:lnTo>
                  <a:lnTo>
                    <a:pt x="49545" y="2379"/>
                  </a:lnTo>
                  <a:lnTo>
                    <a:pt x="55234" y="3244"/>
                  </a:lnTo>
                  <a:lnTo>
                    <a:pt x="60635" y="4758"/>
                  </a:lnTo>
                  <a:lnTo>
                    <a:pt x="63084" y="6272"/>
                  </a:lnTo>
                  <a:lnTo>
                    <a:pt x="65244" y="8435"/>
                  </a:lnTo>
                  <a:lnTo>
                    <a:pt x="67045" y="11679"/>
                  </a:lnTo>
                  <a:lnTo>
                    <a:pt x="68485" y="16005"/>
                  </a:lnTo>
                  <a:lnTo>
                    <a:pt x="69565" y="23358"/>
                  </a:lnTo>
                  <a:lnTo>
                    <a:pt x="69205" y="27035"/>
                  </a:lnTo>
                  <a:lnTo>
                    <a:pt x="67837" y="30423"/>
                  </a:lnTo>
                  <a:lnTo>
                    <a:pt x="65964" y="32586"/>
                  </a:lnTo>
                  <a:lnTo>
                    <a:pt x="63516" y="34460"/>
                  </a:lnTo>
                  <a:lnTo>
                    <a:pt x="56963" y="37272"/>
                  </a:lnTo>
                  <a:lnTo>
                    <a:pt x="39751" y="39507"/>
                  </a:lnTo>
                  <a:lnTo>
                    <a:pt x="34278" y="38786"/>
                  </a:lnTo>
                  <a:lnTo>
                    <a:pt x="29021" y="37272"/>
                  </a:lnTo>
                  <a:lnTo>
                    <a:pt x="23764" y="35830"/>
                  </a:lnTo>
                  <a:lnTo>
                    <a:pt x="18652" y="35253"/>
                  </a:lnTo>
                  <a:lnTo>
                    <a:pt x="11450" y="34388"/>
                  </a:lnTo>
                  <a:lnTo>
                    <a:pt x="6049" y="31721"/>
                  </a:lnTo>
                  <a:lnTo>
                    <a:pt x="2448" y="27900"/>
                  </a:lnTo>
                  <a:lnTo>
                    <a:pt x="504" y="23574"/>
                  </a:lnTo>
                  <a:lnTo>
                    <a:pt x="0" y="18816"/>
                  </a:lnTo>
                  <a:lnTo>
                    <a:pt x="1152" y="14707"/>
                  </a:lnTo>
                  <a:lnTo>
                    <a:pt x="3529" y="11246"/>
                  </a:lnTo>
                  <a:lnTo>
                    <a:pt x="6625" y="8507"/>
                  </a:lnTo>
                  <a:lnTo>
                    <a:pt x="13395" y="4758"/>
                  </a:lnTo>
                  <a:lnTo>
                    <a:pt x="18003" y="3100"/>
                  </a:lnTo>
                  <a:lnTo>
                    <a:pt x="19156" y="2523"/>
                  </a:lnTo>
                  <a:lnTo>
                    <a:pt x="19948" y="1730"/>
                  </a:lnTo>
                  <a:lnTo>
                    <a:pt x="20812" y="865"/>
                  </a:lnTo>
                  <a:lnTo>
                    <a:pt x="22180" y="216"/>
                  </a:lnTo>
                </a:path>
              </a:pathLst>
            </a:custGeom>
            <a:solidFill>
              <a:srgbClr val="353D98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949B839D-50A9-DEFF-A217-77181B1FCB07}"/>
                </a:ext>
              </a:extLst>
            </p:cNvPr>
            <p:cNvSpPr/>
            <p:nvPr/>
          </p:nvSpPr>
          <p:spPr>
            <a:xfrm>
              <a:off x="9669201" y="3603950"/>
              <a:ext cx="58186" cy="38137"/>
            </a:xfrm>
            <a:custGeom>
              <a:avLst/>
              <a:gdLst>
                <a:gd name="connsiteX0" fmla="*/ 32838 w 58186"/>
                <a:gd name="connsiteY0" fmla="*/ 0 h 38137"/>
                <a:gd name="connsiteX1" fmla="*/ 39463 w 58186"/>
                <a:gd name="connsiteY1" fmla="*/ 577 h 38137"/>
                <a:gd name="connsiteX2" fmla="*/ 46377 w 58186"/>
                <a:gd name="connsiteY2" fmla="*/ 3100 h 38137"/>
                <a:gd name="connsiteX3" fmla="*/ 48393 w 58186"/>
                <a:gd name="connsiteY3" fmla="*/ 5046 h 38137"/>
                <a:gd name="connsiteX4" fmla="*/ 50049 w 58186"/>
                <a:gd name="connsiteY4" fmla="*/ 6560 h 38137"/>
                <a:gd name="connsiteX5" fmla="*/ 53506 w 58186"/>
                <a:gd name="connsiteY5" fmla="*/ 7281 h 38137"/>
                <a:gd name="connsiteX6" fmla="*/ 55162 w 58186"/>
                <a:gd name="connsiteY6" fmla="*/ 7786 h 38137"/>
                <a:gd name="connsiteX7" fmla="*/ 56243 w 58186"/>
                <a:gd name="connsiteY7" fmla="*/ 8723 h 38137"/>
                <a:gd name="connsiteX8" fmla="*/ 58043 w 58186"/>
                <a:gd name="connsiteY8" fmla="*/ 16653 h 38137"/>
                <a:gd name="connsiteX9" fmla="*/ 58187 w 58186"/>
                <a:gd name="connsiteY9" fmla="*/ 21700 h 38137"/>
                <a:gd name="connsiteX10" fmla="*/ 57395 w 58186"/>
                <a:gd name="connsiteY10" fmla="*/ 25881 h 38137"/>
                <a:gd name="connsiteX11" fmla="*/ 55882 w 58186"/>
                <a:gd name="connsiteY11" fmla="*/ 28477 h 38137"/>
                <a:gd name="connsiteX12" fmla="*/ 53722 w 58186"/>
                <a:gd name="connsiteY12" fmla="*/ 30784 h 38137"/>
                <a:gd name="connsiteX13" fmla="*/ 48033 w 58186"/>
                <a:gd name="connsiteY13" fmla="*/ 34388 h 38137"/>
                <a:gd name="connsiteX14" fmla="*/ 40904 w 58186"/>
                <a:gd name="connsiteY14" fmla="*/ 36767 h 38137"/>
                <a:gd name="connsiteX15" fmla="*/ 32910 w 58186"/>
                <a:gd name="connsiteY15" fmla="*/ 37993 h 38137"/>
                <a:gd name="connsiteX16" fmla="*/ 24701 w 58186"/>
                <a:gd name="connsiteY16" fmla="*/ 38137 h 38137"/>
                <a:gd name="connsiteX17" fmla="*/ 16851 w 58186"/>
                <a:gd name="connsiteY17" fmla="*/ 37200 h 38137"/>
                <a:gd name="connsiteX18" fmla="*/ 9938 w 58186"/>
                <a:gd name="connsiteY18" fmla="*/ 35398 h 38137"/>
                <a:gd name="connsiteX19" fmla="*/ 4681 w 58186"/>
                <a:gd name="connsiteY19" fmla="*/ 32730 h 38137"/>
                <a:gd name="connsiteX20" fmla="*/ 3025 w 58186"/>
                <a:gd name="connsiteY20" fmla="*/ 31144 h 38137"/>
                <a:gd name="connsiteX21" fmla="*/ 1872 w 58186"/>
                <a:gd name="connsiteY21" fmla="*/ 29270 h 38137"/>
                <a:gd name="connsiteX22" fmla="*/ 432 w 58186"/>
                <a:gd name="connsiteY22" fmla="*/ 25016 h 38137"/>
                <a:gd name="connsiteX23" fmla="*/ 0 w 58186"/>
                <a:gd name="connsiteY23" fmla="*/ 20330 h 38137"/>
                <a:gd name="connsiteX24" fmla="*/ 936 w 58186"/>
                <a:gd name="connsiteY24" fmla="*/ 16221 h 38137"/>
                <a:gd name="connsiteX25" fmla="*/ 3097 w 58186"/>
                <a:gd name="connsiteY25" fmla="*/ 12688 h 38137"/>
                <a:gd name="connsiteX26" fmla="*/ 5977 w 58186"/>
                <a:gd name="connsiteY26" fmla="*/ 9733 h 38137"/>
                <a:gd name="connsiteX27" fmla="*/ 13106 w 58186"/>
                <a:gd name="connsiteY27" fmla="*/ 5623 h 38137"/>
                <a:gd name="connsiteX28" fmla="*/ 19732 w 58186"/>
                <a:gd name="connsiteY28" fmla="*/ 3821 h 38137"/>
                <a:gd name="connsiteX29" fmla="*/ 26429 w 58186"/>
                <a:gd name="connsiteY29" fmla="*/ 1802 h 38137"/>
                <a:gd name="connsiteX30" fmla="*/ 32838 w 58186"/>
                <a:gd name="connsiteY30" fmla="*/ 0 h 3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8186" h="38137">
                  <a:moveTo>
                    <a:pt x="32838" y="0"/>
                  </a:moveTo>
                  <a:lnTo>
                    <a:pt x="39463" y="577"/>
                  </a:lnTo>
                  <a:lnTo>
                    <a:pt x="46377" y="3100"/>
                  </a:lnTo>
                  <a:lnTo>
                    <a:pt x="48393" y="5046"/>
                  </a:lnTo>
                  <a:lnTo>
                    <a:pt x="50049" y="6560"/>
                  </a:lnTo>
                  <a:lnTo>
                    <a:pt x="53506" y="7281"/>
                  </a:lnTo>
                  <a:lnTo>
                    <a:pt x="55162" y="7786"/>
                  </a:lnTo>
                  <a:lnTo>
                    <a:pt x="56243" y="8723"/>
                  </a:lnTo>
                  <a:lnTo>
                    <a:pt x="58043" y="16653"/>
                  </a:lnTo>
                  <a:lnTo>
                    <a:pt x="58187" y="21700"/>
                  </a:lnTo>
                  <a:lnTo>
                    <a:pt x="57395" y="25881"/>
                  </a:lnTo>
                  <a:lnTo>
                    <a:pt x="55882" y="28477"/>
                  </a:lnTo>
                  <a:lnTo>
                    <a:pt x="53722" y="30784"/>
                  </a:lnTo>
                  <a:lnTo>
                    <a:pt x="48033" y="34388"/>
                  </a:lnTo>
                  <a:lnTo>
                    <a:pt x="40904" y="36767"/>
                  </a:lnTo>
                  <a:lnTo>
                    <a:pt x="32910" y="37993"/>
                  </a:lnTo>
                  <a:lnTo>
                    <a:pt x="24701" y="38137"/>
                  </a:lnTo>
                  <a:lnTo>
                    <a:pt x="16851" y="37200"/>
                  </a:lnTo>
                  <a:lnTo>
                    <a:pt x="9938" y="35398"/>
                  </a:lnTo>
                  <a:lnTo>
                    <a:pt x="4681" y="32730"/>
                  </a:lnTo>
                  <a:lnTo>
                    <a:pt x="3025" y="31144"/>
                  </a:lnTo>
                  <a:lnTo>
                    <a:pt x="1872" y="29270"/>
                  </a:lnTo>
                  <a:lnTo>
                    <a:pt x="432" y="25016"/>
                  </a:lnTo>
                  <a:lnTo>
                    <a:pt x="0" y="20330"/>
                  </a:lnTo>
                  <a:lnTo>
                    <a:pt x="936" y="16221"/>
                  </a:lnTo>
                  <a:lnTo>
                    <a:pt x="3097" y="12688"/>
                  </a:lnTo>
                  <a:lnTo>
                    <a:pt x="5977" y="9733"/>
                  </a:lnTo>
                  <a:lnTo>
                    <a:pt x="13106" y="5623"/>
                  </a:lnTo>
                  <a:lnTo>
                    <a:pt x="19732" y="3821"/>
                  </a:lnTo>
                  <a:lnTo>
                    <a:pt x="26429" y="1802"/>
                  </a:lnTo>
                  <a:lnTo>
                    <a:pt x="32838" y="0"/>
                  </a:lnTo>
                </a:path>
              </a:pathLst>
            </a:custGeom>
            <a:solidFill>
              <a:srgbClr val="002E56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091288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usiness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hape&#10;&#10;Description automatically generated">
            <a:extLst>
              <a:ext uri="{FF2B5EF4-FFF2-40B4-BE49-F238E27FC236}">
                <a16:creationId xmlns:a16="http://schemas.microsoft.com/office/drawing/2014/main" xmlns="" id="{CFE1371C-AA36-73A5-A9D2-CF40B86D92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30269DC-591D-B944-A479-80E360E756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4404" y="3834884"/>
            <a:ext cx="5133724" cy="658717"/>
          </a:xfrm>
        </p:spPr>
        <p:txBody>
          <a:bodyPr lIns="91440" tIns="45720" rIns="91440" bIns="45720">
            <a:noAutofit/>
          </a:bodyPr>
          <a:lstStyle>
            <a:lvl1pPr marL="0" indent="0" algn="r">
              <a:buNone/>
              <a:defRPr sz="2400" b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(Arial 24pt)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2F7201-0FDA-CE47-A9F3-7594A2B9A9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4404" y="2574295"/>
            <a:ext cx="5133724" cy="1237410"/>
          </a:xfrm>
        </p:spPr>
        <p:txBody>
          <a:bodyPr lIns="91440" tIns="45720" rIns="91440" bIns="45720" anchor="b">
            <a:noAutofit/>
          </a:bodyPr>
          <a:lstStyle>
            <a:lvl1pPr algn="r">
              <a:defRPr sz="4000" b="0" i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40pt)</a:t>
            </a:r>
            <a:endParaRPr lang="x-none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701A952A-CF5D-B981-4A5B-9F40CFA091C3}"/>
              </a:ext>
            </a:extLst>
          </p:cNvPr>
          <p:cNvGrpSpPr/>
          <p:nvPr userDrawn="1"/>
        </p:nvGrpSpPr>
        <p:grpSpPr>
          <a:xfrm>
            <a:off x="9387557" y="3323005"/>
            <a:ext cx="2184530" cy="319082"/>
            <a:chOff x="9387557" y="3323005"/>
            <a:chExt cx="2184530" cy="319082"/>
          </a:xfrm>
        </p:grpSpPr>
        <p:grpSp>
          <p:nvGrpSpPr>
            <p:cNvPr id="6" name="Picture 7">
              <a:extLst>
                <a:ext uri="{FF2B5EF4-FFF2-40B4-BE49-F238E27FC236}">
                  <a16:creationId xmlns:a16="http://schemas.microsoft.com/office/drawing/2014/main" xmlns="" id="{DB975A9B-A016-B521-403A-710C814FB8EC}"/>
                </a:ext>
              </a:extLst>
            </p:cNvPr>
            <p:cNvGrpSpPr/>
            <p:nvPr/>
          </p:nvGrpSpPr>
          <p:grpSpPr>
            <a:xfrm>
              <a:off x="9387557" y="3323005"/>
              <a:ext cx="2184530" cy="314756"/>
              <a:chOff x="9387557" y="3323005"/>
              <a:chExt cx="2184530" cy="314756"/>
            </a:xfrm>
            <a:solidFill>
              <a:srgbClr val="28509C"/>
            </a:solidFill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AC0137AD-36E3-F9EB-0995-6A8627239953}"/>
                  </a:ext>
                </a:extLst>
              </p:cNvPr>
              <p:cNvSpPr/>
              <p:nvPr/>
            </p:nvSpPr>
            <p:spPr>
              <a:xfrm>
                <a:off x="10500022" y="3323005"/>
                <a:ext cx="270122" cy="308340"/>
              </a:xfrm>
              <a:custGeom>
                <a:avLst/>
                <a:gdLst>
                  <a:gd name="connsiteX0" fmla="*/ 135025 w 270122"/>
                  <a:gd name="connsiteY0" fmla="*/ 0 h 308340"/>
                  <a:gd name="connsiteX1" fmla="*/ 0 w 270122"/>
                  <a:gd name="connsiteY1" fmla="*/ 308341 h 308340"/>
                  <a:gd name="connsiteX2" fmla="*/ 28949 w 270122"/>
                  <a:gd name="connsiteY2" fmla="*/ 308341 h 308340"/>
                  <a:gd name="connsiteX3" fmla="*/ 76262 w 270122"/>
                  <a:gd name="connsiteY3" fmla="*/ 200274 h 308340"/>
                  <a:gd name="connsiteX4" fmla="*/ 193933 w 270122"/>
                  <a:gd name="connsiteY4" fmla="*/ 200274 h 308340"/>
                  <a:gd name="connsiteX5" fmla="*/ 241533 w 270122"/>
                  <a:gd name="connsiteY5" fmla="*/ 308341 h 308340"/>
                  <a:gd name="connsiteX6" fmla="*/ 270123 w 270122"/>
                  <a:gd name="connsiteY6" fmla="*/ 308341 h 308340"/>
                  <a:gd name="connsiteX7" fmla="*/ 135025 w 270122"/>
                  <a:gd name="connsiteY7" fmla="*/ 0 h 308340"/>
                  <a:gd name="connsiteX8" fmla="*/ 87640 w 270122"/>
                  <a:gd name="connsiteY8" fmla="*/ 174104 h 308340"/>
                  <a:gd name="connsiteX9" fmla="*/ 134809 w 270122"/>
                  <a:gd name="connsiteY9" fmla="*/ 66181 h 308340"/>
                  <a:gd name="connsiteX10" fmla="*/ 182338 w 270122"/>
                  <a:gd name="connsiteY10" fmla="*/ 174104 h 308340"/>
                  <a:gd name="connsiteX11" fmla="*/ 87568 w 270122"/>
                  <a:gd name="connsiteY11" fmla="*/ 174104 h 30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0122" h="308340">
                    <a:moveTo>
                      <a:pt x="135025" y="0"/>
                    </a:moveTo>
                    <a:lnTo>
                      <a:pt x="0" y="308341"/>
                    </a:lnTo>
                    <a:lnTo>
                      <a:pt x="28949" y="308341"/>
                    </a:lnTo>
                    <a:lnTo>
                      <a:pt x="76262" y="200274"/>
                    </a:lnTo>
                    <a:lnTo>
                      <a:pt x="193933" y="200274"/>
                    </a:lnTo>
                    <a:lnTo>
                      <a:pt x="241533" y="308341"/>
                    </a:lnTo>
                    <a:lnTo>
                      <a:pt x="270123" y="308341"/>
                    </a:lnTo>
                    <a:lnTo>
                      <a:pt x="135025" y="0"/>
                    </a:lnTo>
                    <a:close/>
                    <a:moveTo>
                      <a:pt x="87640" y="174104"/>
                    </a:moveTo>
                    <a:lnTo>
                      <a:pt x="134809" y="66181"/>
                    </a:lnTo>
                    <a:lnTo>
                      <a:pt x="182338" y="174104"/>
                    </a:lnTo>
                    <a:lnTo>
                      <a:pt x="87568" y="174104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xmlns="" id="{612D183E-9905-85DD-8663-19D1EE2A0630}"/>
                  </a:ext>
                </a:extLst>
              </p:cNvPr>
              <p:cNvSpPr/>
              <p:nvPr/>
            </p:nvSpPr>
            <p:spPr>
              <a:xfrm>
                <a:off x="11126107" y="3329421"/>
                <a:ext cx="26140" cy="301852"/>
              </a:xfrm>
              <a:custGeom>
                <a:avLst/>
                <a:gdLst>
                  <a:gd name="connsiteX0" fmla="*/ 0 w 26140"/>
                  <a:gd name="connsiteY0" fmla="*/ 0 h 301852"/>
                  <a:gd name="connsiteX1" fmla="*/ 26141 w 26140"/>
                  <a:gd name="connsiteY1" fmla="*/ 0 h 301852"/>
                  <a:gd name="connsiteX2" fmla="*/ 26141 w 26140"/>
                  <a:gd name="connsiteY2" fmla="*/ 301852 h 301852"/>
                  <a:gd name="connsiteX3" fmla="*/ 0 w 26140"/>
                  <a:gd name="connsiteY3" fmla="*/ 301852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40" h="301852">
                    <a:moveTo>
                      <a:pt x="0" y="0"/>
                    </a:moveTo>
                    <a:lnTo>
                      <a:pt x="26141" y="0"/>
                    </a:lnTo>
                    <a:lnTo>
                      <a:pt x="26141" y="301852"/>
                    </a:lnTo>
                    <a:lnTo>
                      <a:pt x="0" y="30185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D9816B13-1F10-9CC7-96AC-2B8041F3917A}"/>
                  </a:ext>
                </a:extLst>
              </p:cNvPr>
              <p:cNvSpPr/>
              <p:nvPr/>
            </p:nvSpPr>
            <p:spPr>
              <a:xfrm>
                <a:off x="10168471" y="3323509"/>
                <a:ext cx="276820" cy="307763"/>
              </a:xfrm>
              <a:custGeom>
                <a:avLst/>
                <a:gdLst>
                  <a:gd name="connsiteX0" fmla="*/ 137762 w 276820"/>
                  <a:gd name="connsiteY0" fmla="*/ 139139 h 307763"/>
                  <a:gd name="connsiteX1" fmla="*/ 0 w 276820"/>
                  <a:gd name="connsiteY1" fmla="*/ 144 h 307763"/>
                  <a:gd name="connsiteX2" fmla="*/ 144 w 276820"/>
                  <a:gd name="connsiteY2" fmla="*/ 307764 h 307763"/>
                  <a:gd name="connsiteX3" fmla="*/ 26285 w 276820"/>
                  <a:gd name="connsiteY3" fmla="*/ 307764 h 307763"/>
                  <a:gd name="connsiteX4" fmla="*/ 26285 w 276820"/>
                  <a:gd name="connsiteY4" fmla="*/ 63946 h 307763"/>
                  <a:gd name="connsiteX5" fmla="*/ 137474 w 276820"/>
                  <a:gd name="connsiteY5" fmla="*/ 176555 h 307763"/>
                  <a:gd name="connsiteX6" fmla="*/ 250679 w 276820"/>
                  <a:gd name="connsiteY6" fmla="*/ 63370 h 307763"/>
                  <a:gd name="connsiteX7" fmla="*/ 250679 w 276820"/>
                  <a:gd name="connsiteY7" fmla="*/ 307764 h 307763"/>
                  <a:gd name="connsiteX8" fmla="*/ 276820 w 276820"/>
                  <a:gd name="connsiteY8" fmla="*/ 307764 h 307763"/>
                  <a:gd name="connsiteX9" fmla="*/ 276820 w 276820"/>
                  <a:gd name="connsiteY9" fmla="*/ 0 h 307763"/>
                  <a:gd name="connsiteX10" fmla="*/ 137762 w 276820"/>
                  <a:gd name="connsiteY10" fmla="*/ 139139 h 30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6820" h="307763">
                    <a:moveTo>
                      <a:pt x="137762" y="139139"/>
                    </a:moveTo>
                    <a:lnTo>
                      <a:pt x="0" y="144"/>
                    </a:lnTo>
                    <a:lnTo>
                      <a:pt x="144" y="307764"/>
                    </a:lnTo>
                    <a:lnTo>
                      <a:pt x="26285" y="307764"/>
                    </a:lnTo>
                    <a:lnTo>
                      <a:pt x="26285" y="63946"/>
                    </a:lnTo>
                    <a:lnTo>
                      <a:pt x="137474" y="176555"/>
                    </a:lnTo>
                    <a:lnTo>
                      <a:pt x="250679" y="63370"/>
                    </a:lnTo>
                    <a:lnTo>
                      <a:pt x="250679" y="307764"/>
                    </a:lnTo>
                    <a:lnTo>
                      <a:pt x="276820" y="307764"/>
                    </a:lnTo>
                    <a:lnTo>
                      <a:pt x="276820" y="0"/>
                    </a:lnTo>
                    <a:lnTo>
                      <a:pt x="137762" y="13913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7BE25172-29DE-324A-12BF-05D095018AFD}"/>
                  </a:ext>
                </a:extLst>
              </p:cNvPr>
              <p:cNvSpPr/>
              <p:nvPr/>
            </p:nvSpPr>
            <p:spPr>
              <a:xfrm>
                <a:off x="11259260" y="3324302"/>
                <a:ext cx="228210" cy="313459"/>
              </a:xfrm>
              <a:custGeom>
                <a:avLst/>
                <a:gdLst>
                  <a:gd name="connsiteX0" fmla="*/ 201998 w 228210"/>
                  <a:gd name="connsiteY0" fmla="*/ 5119 h 313459"/>
                  <a:gd name="connsiteX1" fmla="*/ 201998 w 228210"/>
                  <a:gd name="connsiteY1" fmla="*/ 240213 h 313459"/>
                  <a:gd name="connsiteX2" fmla="*/ 0 w 228210"/>
                  <a:gd name="connsiteY2" fmla="*/ 0 h 313459"/>
                  <a:gd name="connsiteX3" fmla="*/ 0 w 228210"/>
                  <a:gd name="connsiteY3" fmla="*/ 41814 h 313459"/>
                  <a:gd name="connsiteX4" fmla="*/ 0 w 228210"/>
                  <a:gd name="connsiteY4" fmla="*/ 306971 h 313459"/>
                  <a:gd name="connsiteX5" fmla="*/ 26141 w 228210"/>
                  <a:gd name="connsiteY5" fmla="*/ 306971 h 313459"/>
                  <a:gd name="connsiteX6" fmla="*/ 26141 w 228210"/>
                  <a:gd name="connsiteY6" fmla="*/ 72958 h 313459"/>
                  <a:gd name="connsiteX7" fmla="*/ 228211 w 228210"/>
                  <a:gd name="connsiteY7" fmla="*/ 313459 h 313459"/>
                  <a:gd name="connsiteX8" fmla="*/ 228211 w 228210"/>
                  <a:gd name="connsiteY8" fmla="*/ 5119 h 313459"/>
                  <a:gd name="connsiteX9" fmla="*/ 201998 w 228210"/>
                  <a:gd name="connsiteY9" fmla="*/ 5119 h 31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210" h="313459">
                    <a:moveTo>
                      <a:pt x="201998" y="5119"/>
                    </a:moveTo>
                    <a:lnTo>
                      <a:pt x="201998" y="240213"/>
                    </a:lnTo>
                    <a:lnTo>
                      <a:pt x="0" y="0"/>
                    </a:lnTo>
                    <a:lnTo>
                      <a:pt x="0" y="41814"/>
                    </a:lnTo>
                    <a:lnTo>
                      <a:pt x="0" y="306971"/>
                    </a:lnTo>
                    <a:lnTo>
                      <a:pt x="26141" y="306971"/>
                    </a:lnTo>
                    <a:lnTo>
                      <a:pt x="26141" y="72958"/>
                    </a:lnTo>
                    <a:lnTo>
                      <a:pt x="228211" y="313459"/>
                    </a:lnTo>
                    <a:lnTo>
                      <a:pt x="228211" y="5119"/>
                    </a:lnTo>
                    <a:lnTo>
                      <a:pt x="201998" y="511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5CB19575-1D51-1960-753B-D34443044AEB}"/>
                  </a:ext>
                </a:extLst>
              </p:cNvPr>
              <p:cNvSpPr/>
              <p:nvPr/>
            </p:nvSpPr>
            <p:spPr>
              <a:xfrm>
                <a:off x="10827179" y="3329637"/>
                <a:ext cx="218993" cy="301780"/>
              </a:xfrm>
              <a:custGeom>
                <a:avLst/>
                <a:gdLst>
                  <a:gd name="connsiteX0" fmla="*/ 189468 w 218993"/>
                  <a:gd name="connsiteY0" fmla="*/ 301780 h 301780"/>
                  <a:gd name="connsiteX1" fmla="*/ 218993 w 218993"/>
                  <a:gd name="connsiteY1" fmla="*/ 301780 h 301780"/>
                  <a:gd name="connsiteX2" fmla="*/ 146692 w 218993"/>
                  <a:gd name="connsiteY2" fmla="*/ 160478 h 301780"/>
                  <a:gd name="connsiteX3" fmla="*/ 206319 w 218993"/>
                  <a:gd name="connsiteY3" fmla="*/ 89467 h 301780"/>
                  <a:gd name="connsiteX4" fmla="*/ 206391 w 218993"/>
                  <a:gd name="connsiteY4" fmla="*/ 89467 h 301780"/>
                  <a:gd name="connsiteX5" fmla="*/ 206391 w 218993"/>
                  <a:gd name="connsiteY5" fmla="*/ 87809 h 301780"/>
                  <a:gd name="connsiteX6" fmla="*/ 206679 w 218993"/>
                  <a:gd name="connsiteY6" fmla="*/ 82979 h 301780"/>
                  <a:gd name="connsiteX7" fmla="*/ 206391 w 218993"/>
                  <a:gd name="connsiteY7" fmla="*/ 82979 h 301780"/>
                  <a:gd name="connsiteX8" fmla="*/ 206391 w 218993"/>
                  <a:gd name="connsiteY8" fmla="*/ 80167 h 301780"/>
                  <a:gd name="connsiteX9" fmla="*/ 206679 w 218993"/>
                  <a:gd name="connsiteY9" fmla="*/ 80167 h 301780"/>
                  <a:gd name="connsiteX10" fmla="*/ 206391 w 218993"/>
                  <a:gd name="connsiteY10" fmla="*/ 75265 h 301780"/>
                  <a:gd name="connsiteX11" fmla="*/ 206391 w 218993"/>
                  <a:gd name="connsiteY11" fmla="*/ 75265 h 301780"/>
                  <a:gd name="connsiteX12" fmla="*/ 126600 w 218993"/>
                  <a:gd name="connsiteY12" fmla="*/ 0 h 301780"/>
                  <a:gd name="connsiteX13" fmla="*/ 0 w 218993"/>
                  <a:gd name="connsiteY13" fmla="*/ 0 h 301780"/>
                  <a:gd name="connsiteX14" fmla="*/ 0 w 218993"/>
                  <a:gd name="connsiteY14" fmla="*/ 301708 h 301780"/>
                  <a:gd name="connsiteX15" fmla="*/ 26141 w 218993"/>
                  <a:gd name="connsiteY15" fmla="*/ 301708 h 301780"/>
                  <a:gd name="connsiteX16" fmla="*/ 26141 w 218993"/>
                  <a:gd name="connsiteY16" fmla="*/ 163002 h 301780"/>
                  <a:gd name="connsiteX17" fmla="*/ 118390 w 218993"/>
                  <a:gd name="connsiteY17" fmla="*/ 163002 h 301780"/>
                  <a:gd name="connsiteX18" fmla="*/ 189468 w 218993"/>
                  <a:gd name="connsiteY18" fmla="*/ 301780 h 301780"/>
                  <a:gd name="connsiteX19" fmla="*/ 26141 w 218993"/>
                  <a:gd name="connsiteY19" fmla="*/ 26242 h 301780"/>
                  <a:gd name="connsiteX20" fmla="*/ 126600 w 218993"/>
                  <a:gd name="connsiteY20" fmla="*/ 26242 h 301780"/>
                  <a:gd name="connsiteX21" fmla="*/ 180250 w 218993"/>
                  <a:gd name="connsiteY21" fmla="*/ 79014 h 301780"/>
                  <a:gd name="connsiteX22" fmla="*/ 180250 w 218993"/>
                  <a:gd name="connsiteY22" fmla="*/ 83988 h 301780"/>
                  <a:gd name="connsiteX23" fmla="*/ 126600 w 218993"/>
                  <a:gd name="connsiteY23" fmla="*/ 136688 h 301780"/>
                  <a:gd name="connsiteX24" fmla="*/ 126600 w 218993"/>
                  <a:gd name="connsiteY24" fmla="*/ 136688 h 301780"/>
                  <a:gd name="connsiteX25" fmla="*/ 26141 w 218993"/>
                  <a:gd name="connsiteY25" fmla="*/ 136760 h 301780"/>
                  <a:gd name="connsiteX26" fmla="*/ 26141 w 218993"/>
                  <a:gd name="connsiteY26" fmla="*/ 26242 h 301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8993" h="301780">
                    <a:moveTo>
                      <a:pt x="189468" y="301780"/>
                    </a:moveTo>
                    <a:lnTo>
                      <a:pt x="218993" y="301780"/>
                    </a:lnTo>
                    <a:cubicBezTo>
                      <a:pt x="218993" y="301780"/>
                      <a:pt x="146692" y="160478"/>
                      <a:pt x="146692" y="160478"/>
                    </a:cubicBezTo>
                    <a:cubicBezTo>
                      <a:pt x="179098" y="152044"/>
                      <a:pt x="203582" y="123855"/>
                      <a:pt x="206319" y="89467"/>
                    </a:cubicBezTo>
                    <a:lnTo>
                      <a:pt x="206391" y="89467"/>
                    </a:lnTo>
                    <a:lnTo>
                      <a:pt x="206391" y="87809"/>
                    </a:lnTo>
                    <a:cubicBezTo>
                      <a:pt x="206463" y="86223"/>
                      <a:pt x="206679" y="84565"/>
                      <a:pt x="206679" y="82979"/>
                    </a:cubicBezTo>
                    <a:lnTo>
                      <a:pt x="206391" y="82979"/>
                    </a:lnTo>
                    <a:lnTo>
                      <a:pt x="206391" y="80167"/>
                    </a:lnTo>
                    <a:lnTo>
                      <a:pt x="206679" y="80167"/>
                    </a:lnTo>
                    <a:cubicBezTo>
                      <a:pt x="206679" y="78509"/>
                      <a:pt x="206535" y="76923"/>
                      <a:pt x="206391" y="75265"/>
                    </a:cubicBezTo>
                    <a:lnTo>
                      <a:pt x="206391" y="75265"/>
                    </a:lnTo>
                    <a:cubicBezTo>
                      <a:pt x="203798" y="33235"/>
                      <a:pt x="169160" y="0"/>
                      <a:pt x="126600" y="0"/>
                    </a:cubicBezTo>
                    <a:lnTo>
                      <a:pt x="0" y="0"/>
                    </a:lnTo>
                    <a:lnTo>
                      <a:pt x="0" y="301708"/>
                    </a:lnTo>
                    <a:lnTo>
                      <a:pt x="26141" y="301708"/>
                    </a:lnTo>
                    <a:lnTo>
                      <a:pt x="26141" y="163002"/>
                    </a:lnTo>
                    <a:lnTo>
                      <a:pt x="118390" y="163002"/>
                    </a:lnTo>
                    <a:lnTo>
                      <a:pt x="189468" y="301780"/>
                    </a:lnTo>
                    <a:close/>
                    <a:moveTo>
                      <a:pt x="26141" y="26242"/>
                    </a:moveTo>
                    <a:lnTo>
                      <a:pt x="126600" y="26242"/>
                    </a:lnTo>
                    <a:cubicBezTo>
                      <a:pt x="155909" y="26242"/>
                      <a:pt x="179674" y="49816"/>
                      <a:pt x="180250" y="79014"/>
                    </a:cubicBezTo>
                    <a:lnTo>
                      <a:pt x="180250" y="83988"/>
                    </a:lnTo>
                    <a:cubicBezTo>
                      <a:pt x="179674" y="113186"/>
                      <a:pt x="155909" y="136688"/>
                      <a:pt x="126600" y="136688"/>
                    </a:cubicBezTo>
                    <a:lnTo>
                      <a:pt x="126600" y="136688"/>
                    </a:lnTo>
                    <a:cubicBezTo>
                      <a:pt x="126600" y="136688"/>
                      <a:pt x="26141" y="136760"/>
                      <a:pt x="26141" y="136760"/>
                    </a:cubicBezTo>
                    <a:lnTo>
                      <a:pt x="26141" y="2624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6999C5C8-051C-7E39-E8BD-BAC6BD60B12B}"/>
                  </a:ext>
                </a:extLst>
              </p:cNvPr>
              <p:cNvSpPr/>
              <p:nvPr/>
            </p:nvSpPr>
            <p:spPr>
              <a:xfrm>
                <a:off x="9387557" y="3329493"/>
                <a:ext cx="212944" cy="301852"/>
              </a:xfrm>
              <a:custGeom>
                <a:avLst/>
                <a:gdLst>
                  <a:gd name="connsiteX0" fmla="*/ 212656 w 212944"/>
                  <a:gd name="connsiteY0" fmla="*/ 212818 h 301852"/>
                  <a:gd name="connsiteX1" fmla="*/ 201422 w 212944"/>
                  <a:gd name="connsiteY1" fmla="*/ 173455 h 301852"/>
                  <a:gd name="connsiteX2" fmla="*/ 174273 w 212944"/>
                  <a:gd name="connsiteY2" fmla="*/ 147358 h 301852"/>
                  <a:gd name="connsiteX3" fmla="*/ 206247 w 212944"/>
                  <a:gd name="connsiteY3" fmla="*/ 89539 h 301852"/>
                  <a:gd name="connsiteX4" fmla="*/ 206319 w 212944"/>
                  <a:gd name="connsiteY4" fmla="*/ 89539 h 301852"/>
                  <a:gd name="connsiteX5" fmla="*/ 206319 w 212944"/>
                  <a:gd name="connsiteY5" fmla="*/ 87881 h 301852"/>
                  <a:gd name="connsiteX6" fmla="*/ 206535 w 212944"/>
                  <a:gd name="connsiteY6" fmla="*/ 83051 h 301852"/>
                  <a:gd name="connsiteX7" fmla="*/ 206319 w 212944"/>
                  <a:gd name="connsiteY7" fmla="*/ 83051 h 301852"/>
                  <a:gd name="connsiteX8" fmla="*/ 206319 w 212944"/>
                  <a:gd name="connsiteY8" fmla="*/ 80239 h 301852"/>
                  <a:gd name="connsiteX9" fmla="*/ 206535 w 212944"/>
                  <a:gd name="connsiteY9" fmla="*/ 80239 h 301852"/>
                  <a:gd name="connsiteX10" fmla="*/ 206319 w 212944"/>
                  <a:gd name="connsiteY10" fmla="*/ 75337 h 301852"/>
                  <a:gd name="connsiteX11" fmla="*/ 206319 w 212944"/>
                  <a:gd name="connsiteY11" fmla="*/ 75337 h 301852"/>
                  <a:gd name="connsiteX12" fmla="*/ 206319 w 212944"/>
                  <a:gd name="connsiteY12" fmla="*/ 75265 h 301852"/>
                  <a:gd name="connsiteX13" fmla="*/ 126456 w 212944"/>
                  <a:gd name="connsiteY13" fmla="*/ 72 h 301852"/>
                  <a:gd name="connsiteX14" fmla="*/ 126456 w 212944"/>
                  <a:gd name="connsiteY14" fmla="*/ 216 h 301852"/>
                  <a:gd name="connsiteX15" fmla="*/ 0 w 212944"/>
                  <a:gd name="connsiteY15" fmla="*/ 0 h 301852"/>
                  <a:gd name="connsiteX16" fmla="*/ 0 w 212944"/>
                  <a:gd name="connsiteY16" fmla="*/ 301852 h 301852"/>
                  <a:gd name="connsiteX17" fmla="*/ 131425 w 212944"/>
                  <a:gd name="connsiteY17" fmla="*/ 301852 h 301852"/>
                  <a:gd name="connsiteX18" fmla="*/ 212800 w 212944"/>
                  <a:gd name="connsiteY18" fmla="*/ 221541 h 301852"/>
                  <a:gd name="connsiteX19" fmla="*/ 212944 w 212944"/>
                  <a:gd name="connsiteY19" fmla="*/ 221541 h 301852"/>
                  <a:gd name="connsiteX20" fmla="*/ 212944 w 212944"/>
                  <a:gd name="connsiteY20" fmla="*/ 212818 h 301852"/>
                  <a:gd name="connsiteX21" fmla="*/ 212800 w 212944"/>
                  <a:gd name="connsiteY21" fmla="*/ 212818 h 301852"/>
                  <a:gd name="connsiteX22" fmla="*/ 126528 w 212944"/>
                  <a:gd name="connsiteY22" fmla="*/ 26386 h 301852"/>
                  <a:gd name="connsiteX23" fmla="*/ 126528 w 212944"/>
                  <a:gd name="connsiteY23" fmla="*/ 26386 h 301852"/>
                  <a:gd name="connsiteX24" fmla="*/ 180250 w 212944"/>
                  <a:gd name="connsiteY24" fmla="*/ 79302 h 301852"/>
                  <a:gd name="connsiteX25" fmla="*/ 180250 w 212944"/>
                  <a:gd name="connsiteY25" fmla="*/ 83988 h 301852"/>
                  <a:gd name="connsiteX26" fmla="*/ 126528 w 212944"/>
                  <a:gd name="connsiteY26" fmla="*/ 137048 h 301852"/>
                  <a:gd name="connsiteX27" fmla="*/ 26141 w 212944"/>
                  <a:gd name="connsiteY27" fmla="*/ 137048 h 301852"/>
                  <a:gd name="connsiteX28" fmla="*/ 26141 w 212944"/>
                  <a:gd name="connsiteY28" fmla="*/ 26386 h 301852"/>
                  <a:gd name="connsiteX29" fmla="*/ 126528 w 212944"/>
                  <a:gd name="connsiteY29" fmla="*/ 26386 h 301852"/>
                  <a:gd name="connsiteX30" fmla="*/ 186659 w 212944"/>
                  <a:gd name="connsiteY30" fmla="*/ 220171 h 301852"/>
                  <a:gd name="connsiteX31" fmla="*/ 186443 w 212944"/>
                  <a:gd name="connsiteY31" fmla="*/ 220171 h 301852"/>
                  <a:gd name="connsiteX32" fmla="*/ 130921 w 212944"/>
                  <a:gd name="connsiteY32" fmla="*/ 275755 h 301852"/>
                  <a:gd name="connsiteX33" fmla="*/ 130921 w 212944"/>
                  <a:gd name="connsiteY33" fmla="*/ 275755 h 301852"/>
                  <a:gd name="connsiteX34" fmla="*/ 26141 w 212944"/>
                  <a:gd name="connsiteY34" fmla="*/ 275755 h 301852"/>
                  <a:gd name="connsiteX35" fmla="*/ 26141 w 212944"/>
                  <a:gd name="connsiteY35" fmla="*/ 163362 h 301852"/>
                  <a:gd name="connsiteX36" fmla="*/ 134593 w 212944"/>
                  <a:gd name="connsiteY36" fmla="*/ 163795 h 301852"/>
                  <a:gd name="connsiteX37" fmla="*/ 134593 w 212944"/>
                  <a:gd name="connsiteY37" fmla="*/ 163795 h 301852"/>
                  <a:gd name="connsiteX38" fmla="*/ 179458 w 212944"/>
                  <a:gd name="connsiteY38" fmla="*/ 187946 h 301852"/>
                  <a:gd name="connsiteX39" fmla="*/ 186515 w 212944"/>
                  <a:gd name="connsiteY39" fmla="*/ 214836 h 301852"/>
                  <a:gd name="connsiteX40" fmla="*/ 186731 w 212944"/>
                  <a:gd name="connsiteY40" fmla="*/ 214836 h 301852"/>
                  <a:gd name="connsiteX41" fmla="*/ 186731 w 212944"/>
                  <a:gd name="connsiteY41" fmla="*/ 220171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12944" h="301852">
                    <a:moveTo>
                      <a:pt x="212656" y="212818"/>
                    </a:moveTo>
                    <a:cubicBezTo>
                      <a:pt x="212296" y="198183"/>
                      <a:pt x="208623" y="185134"/>
                      <a:pt x="201422" y="173455"/>
                    </a:cubicBezTo>
                    <a:cubicBezTo>
                      <a:pt x="194509" y="162425"/>
                      <a:pt x="185219" y="153558"/>
                      <a:pt x="174273" y="147358"/>
                    </a:cubicBezTo>
                    <a:cubicBezTo>
                      <a:pt x="192204" y="133948"/>
                      <a:pt x="204374" y="113186"/>
                      <a:pt x="206247" y="89539"/>
                    </a:cubicBezTo>
                    <a:lnTo>
                      <a:pt x="206319" y="89539"/>
                    </a:lnTo>
                    <a:lnTo>
                      <a:pt x="206319" y="87881"/>
                    </a:lnTo>
                    <a:cubicBezTo>
                      <a:pt x="206391" y="86295"/>
                      <a:pt x="206535" y="84637"/>
                      <a:pt x="206535" y="83051"/>
                    </a:cubicBezTo>
                    <a:lnTo>
                      <a:pt x="206319" y="83051"/>
                    </a:lnTo>
                    <a:lnTo>
                      <a:pt x="206319" y="80239"/>
                    </a:lnTo>
                    <a:lnTo>
                      <a:pt x="206535" y="80239"/>
                    </a:lnTo>
                    <a:cubicBezTo>
                      <a:pt x="206535" y="78581"/>
                      <a:pt x="206391" y="76995"/>
                      <a:pt x="206319" y="75337"/>
                    </a:cubicBezTo>
                    <a:lnTo>
                      <a:pt x="206319" y="75337"/>
                    </a:lnTo>
                    <a:cubicBezTo>
                      <a:pt x="206319" y="75337"/>
                      <a:pt x="206319" y="75265"/>
                      <a:pt x="206319" y="75265"/>
                    </a:cubicBezTo>
                    <a:cubicBezTo>
                      <a:pt x="203726" y="33307"/>
                      <a:pt x="169016" y="72"/>
                      <a:pt x="126456" y="72"/>
                    </a:cubicBezTo>
                    <a:lnTo>
                      <a:pt x="126456" y="216"/>
                    </a:lnTo>
                    <a:lnTo>
                      <a:pt x="0" y="0"/>
                    </a:lnTo>
                    <a:lnTo>
                      <a:pt x="0" y="301852"/>
                    </a:lnTo>
                    <a:lnTo>
                      <a:pt x="131425" y="301852"/>
                    </a:lnTo>
                    <a:cubicBezTo>
                      <a:pt x="175857" y="301564"/>
                      <a:pt x="211864" y="265878"/>
                      <a:pt x="212800" y="221541"/>
                    </a:cubicBezTo>
                    <a:lnTo>
                      <a:pt x="212944" y="221541"/>
                    </a:lnTo>
                    <a:lnTo>
                      <a:pt x="212944" y="212818"/>
                    </a:lnTo>
                    <a:lnTo>
                      <a:pt x="212800" y="212818"/>
                    </a:lnTo>
                    <a:close/>
                    <a:moveTo>
                      <a:pt x="126528" y="26386"/>
                    </a:moveTo>
                    <a:lnTo>
                      <a:pt x="126528" y="26386"/>
                    </a:lnTo>
                    <a:cubicBezTo>
                      <a:pt x="155909" y="26386"/>
                      <a:pt x="179746" y="50032"/>
                      <a:pt x="180250" y="79302"/>
                    </a:cubicBezTo>
                    <a:lnTo>
                      <a:pt x="180250" y="83988"/>
                    </a:lnTo>
                    <a:cubicBezTo>
                      <a:pt x="179746" y="113258"/>
                      <a:pt x="155909" y="137048"/>
                      <a:pt x="126528" y="137048"/>
                    </a:cubicBezTo>
                    <a:lnTo>
                      <a:pt x="26141" y="137048"/>
                    </a:lnTo>
                    <a:lnTo>
                      <a:pt x="26141" y="26386"/>
                    </a:lnTo>
                    <a:lnTo>
                      <a:pt x="126528" y="26386"/>
                    </a:lnTo>
                    <a:close/>
                    <a:moveTo>
                      <a:pt x="186659" y="220171"/>
                    </a:moveTo>
                    <a:lnTo>
                      <a:pt x="186443" y="220171"/>
                    </a:lnTo>
                    <a:cubicBezTo>
                      <a:pt x="186443" y="250883"/>
                      <a:pt x="161598" y="275755"/>
                      <a:pt x="130921" y="275755"/>
                    </a:cubicBezTo>
                    <a:lnTo>
                      <a:pt x="130921" y="275755"/>
                    </a:lnTo>
                    <a:cubicBezTo>
                      <a:pt x="130921" y="275755"/>
                      <a:pt x="26141" y="275755"/>
                      <a:pt x="26141" y="275755"/>
                    </a:cubicBezTo>
                    <a:lnTo>
                      <a:pt x="26141" y="163362"/>
                    </a:lnTo>
                    <a:lnTo>
                      <a:pt x="134593" y="163795"/>
                    </a:lnTo>
                    <a:lnTo>
                      <a:pt x="134593" y="163795"/>
                    </a:lnTo>
                    <a:cubicBezTo>
                      <a:pt x="153461" y="163795"/>
                      <a:pt x="169880" y="173095"/>
                      <a:pt x="179458" y="187946"/>
                    </a:cubicBezTo>
                    <a:cubicBezTo>
                      <a:pt x="183490" y="196381"/>
                      <a:pt x="186515" y="204888"/>
                      <a:pt x="186515" y="214836"/>
                    </a:cubicBezTo>
                    <a:lnTo>
                      <a:pt x="186731" y="214836"/>
                    </a:lnTo>
                    <a:lnTo>
                      <a:pt x="186731" y="220171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46761B77-6601-D63E-1BF5-BC479616C95F}"/>
                  </a:ext>
                </a:extLst>
              </p:cNvPr>
              <p:cNvSpPr/>
              <p:nvPr/>
            </p:nvSpPr>
            <p:spPr>
              <a:xfrm>
                <a:off x="9791480" y="3324302"/>
                <a:ext cx="311818" cy="312017"/>
              </a:xfrm>
              <a:custGeom>
                <a:avLst/>
                <a:gdLst>
                  <a:gd name="connsiteX0" fmla="*/ 1368 w 311818"/>
                  <a:gd name="connsiteY0" fmla="*/ 175618 h 312017"/>
                  <a:gd name="connsiteX1" fmla="*/ 155981 w 311818"/>
                  <a:gd name="connsiteY1" fmla="*/ 312017 h 312017"/>
                  <a:gd name="connsiteX2" fmla="*/ 310594 w 311818"/>
                  <a:gd name="connsiteY2" fmla="*/ 175546 h 312017"/>
                  <a:gd name="connsiteX3" fmla="*/ 311819 w 311818"/>
                  <a:gd name="connsiteY3" fmla="*/ 156513 h 312017"/>
                  <a:gd name="connsiteX4" fmla="*/ 310954 w 311818"/>
                  <a:gd name="connsiteY4" fmla="*/ 139499 h 312017"/>
                  <a:gd name="connsiteX5" fmla="*/ 155981 w 311818"/>
                  <a:gd name="connsiteY5" fmla="*/ 0 h 312017"/>
                  <a:gd name="connsiteX6" fmla="*/ 1008 w 311818"/>
                  <a:gd name="connsiteY6" fmla="*/ 139499 h 312017"/>
                  <a:gd name="connsiteX7" fmla="*/ 864 w 311818"/>
                  <a:gd name="connsiteY7" fmla="*/ 139499 h 312017"/>
                  <a:gd name="connsiteX8" fmla="*/ 0 w 311818"/>
                  <a:gd name="connsiteY8" fmla="*/ 156513 h 312017"/>
                  <a:gd name="connsiteX9" fmla="*/ 1224 w 311818"/>
                  <a:gd name="connsiteY9" fmla="*/ 175546 h 312017"/>
                  <a:gd name="connsiteX10" fmla="*/ 155981 w 311818"/>
                  <a:gd name="connsiteY10" fmla="*/ 285487 h 312017"/>
                  <a:gd name="connsiteX11" fmla="*/ 28085 w 311818"/>
                  <a:gd name="connsiteY11" fmla="*/ 175618 h 312017"/>
                  <a:gd name="connsiteX12" fmla="*/ 27941 w 311818"/>
                  <a:gd name="connsiteY12" fmla="*/ 175618 h 312017"/>
                  <a:gd name="connsiteX13" fmla="*/ 26501 w 311818"/>
                  <a:gd name="connsiteY13" fmla="*/ 156513 h 312017"/>
                  <a:gd name="connsiteX14" fmla="*/ 27509 w 311818"/>
                  <a:gd name="connsiteY14" fmla="*/ 140004 h 312017"/>
                  <a:gd name="connsiteX15" fmla="*/ 27581 w 311818"/>
                  <a:gd name="connsiteY15" fmla="*/ 140004 h 312017"/>
                  <a:gd name="connsiteX16" fmla="*/ 155909 w 311818"/>
                  <a:gd name="connsiteY16" fmla="*/ 26530 h 312017"/>
                  <a:gd name="connsiteX17" fmla="*/ 284165 w 311818"/>
                  <a:gd name="connsiteY17" fmla="*/ 139788 h 312017"/>
                  <a:gd name="connsiteX18" fmla="*/ 285246 w 311818"/>
                  <a:gd name="connsiteY18" fmla="*/ 156585 h 312017"/>
                  <a:gd name="connsiteX19" fmla="*/ 283805 w 311818"/>
                  <a:gd name="connsiteY19" fmla="*/ 175906 h 312017"/>
                  <a:gd name="connsiteX20" fmla="*/ 155909 w 311818"/>
                  <a:gd name="connsiteY20" fmla="*/ 285559 h 312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1818" h="312017">
                    <a:moveTo>
                      <a:pt x="1368" y="175618"/>
                    </a:moveTo>
                    <a:cubicBezTo>
                      <a:pt x="11018" y="252541"/>
                      <a:pt x="76550" y="312017"/>
                      <a:pt x="155981" y="312017"/>
                    </a:cubicBezTo>
                    <a:cubicBezTo>
                      <a:pt x="235412" y="312017"/>
                      <a:pt x="300945" y="252469"/>
                      <a:pt x="310594" y="175546"/>
                    </a:cubicBezTo>
                    <a:cubicBezTo>
                      <a:pt x="311315" y="169346"/>
                      <a:pt x="311819" y="162930"/>
                      <a:pt x="311819" y="156513"/>
                    </a:cubicBezTo>
                    <a:cubicBezTo>
                      <a:pt x="311819" y="150602"/>
                      <a:pt x="311603" y="145267"/>
                      <a:pt x="310954" y="139499"/>
                    </a:cubicBezTo>
                    <a:cubicBezTo>
                      <a:pt x="302889" y="60846"/>
                      <a:pt x="236636" y="0"/>
                      <a:pt x="155981" y="0"/>
                    </a:cubicBezTo>
                    <a:cubicBezTo>
                      <a:pt x="75326" y="0"/>
                      <a:pt x="9218" y="61135"/>
                      <a:pt x="1008" y="139499"/>
                    </a:cubicBezTo>
                    <a:lnTo>
                      <a:pt x="864" y="139499"/>
                    </a:lnTo>
                    <a:cubicBezTo>
                      <a:pt x="216" y="145267"/>
                      <a:pt x="0" y="150602"/>
                      <a:pt x="0" y="156513"/>
                    </a:cubicBezTo>
                    <a:cubicBezTo>
                      <a:pt x="0" y="162930"/>
                      <a:pt x="432" y="169346"/>
                      <a:pt x="1224" y="175546"/>
                    </a:cubicBezTo>
                    <a:moveTo>
                      <a:pt x="155981" y="285487"/>
                    </a:moveTo>
                    <a:cubicBezTo>
                      <a:pt x="91169" y="285487"/>
                      <a:pt x="37519" y="237834"/>
                      <a:pt x="28085" y="175618"/>
                    </a:cubicBezTo>
                    <a:lnTo>
                      <a:pt x="27941" y="175618"/>
                    </a:lnTo>
                    <a:cubicBezTo>
                      <a:pt x="27005" y="169346"/>
                      <a:pt x="26501" y="163074"/>
                      <a:pt x="26501" y="156513"/>
                    </a:cubicBezTo>
                    <a:cubicBezTo>
                      <a:pt x="26501" y="150818"/>
                      <a:pt x="26789" y="145483"/>
                      <a:pt x="27509" y="140004"/>
                    </a:cubicBezTo>
                    <a:lnTo>
                      <a:pt x="27581" y="140004"/>
                    </a:lnTo>
                    <a:cubicBezTo>
                      <a:pt x="35431" y="76058"/>
                      <a:pt x="89873" y="26530"/>
                      <a:pt x="155909" y="26530"/>
                    </a:cubicBezTo>
                    <a:cubicBezTo>
                      <a:pt x="221946" y="26530"/>
                      <a:pt x="276316" y="75769"/>
                      <a:pt x="284165" y="139788"/>
                    </a:cubicBezTo>
                    <a:cubicBezTo>
                      <a:pt x="284886" y="145411"/>
                      <a:pt x="285246" y="150818"/>
                      <a:pt x="285246" y="156585"/>
                    </a:cubicBezTo>
                    <a:cubicBezTo>
                      <a:pt x="285246" y="163218"/>
                      <a:pt x="284741" y="169562"/>
                      <a:pt x="283805" y="175906"/>
                    </a:cubicBezTo>
                    <a:cubicBezTo>
                      <a:pt x="274372" y="238122"/>
                      <a:pt x="220721" y="285559"/>
                      <a:pt x="155909" y="285559"/>
                    </a:cubicBez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A11FA8FA-8919-65D4-DA91-EA82AFB4BC10}"/>
                  </a:ext>
                </a:extLst>
              </p:cNvPr>
              <p:cNvSpPr/>
              <p:nvPr/>
            </p:nvSpPr>
            <p:spPr>
              <a:xfrm>
                <a:off x="11529743" y="3323653"/>
                <a:ext cx="42343" cy="42390"/>
              </a:xfrm>
              <a:custGeom>
                <a:avLst/>
                <a:gdLst>
                  <a:gd name="connsiteX0" fmla="*/ 0 w 42343"/>
                  <a:gd name="connsiteY0" fmla="*/ 21123 h 42390"/>
                  <a:gd name="connsiteX1" fmla="*/ 21244 w 42343"/>
                  <a:gd name="connsiteY1" fmla="*/ 0 h 42390"/>
                  <a:gd name="connsiteX2" fmla="*/ 42344 w 42343"/>
                  <a:gd name="connsiteY2" fmla="*/ 21123 h 42390"/>
                  <a:gd name="connsiteX3" fmla="*/ 21244 w 42343"/>
                  <a:gd name="connsiteY3" fmla="*/ 42391 h 42390"/>
                  <a:gd name="connsiteX4" fmla="*/ 0 w 42343"/>
                  <a:gd name="connsiteY4" fmla="*/ 21123 h 42390"/>
                  <a:gd name="connsiteX5" fmla="*/ 38959 w 42343"/>
                  <a:gd name="connsiteY5" fmla="*/ 21123 h 42390"/>
                  <a:gd name="connsiteX6" fmla="*/ 21244 w 42343"/>
                  <a:gd name="connsiteY6" fmla="*/ 2812 h 42390"/>
                  <a:gd name="connsiteX7" fmla="*/ 3385 w 42343"/>
                  <a:gd name="connsiteY7" fmla="*/ 21123 h 42390"/>
                  <a:gd name="connsiteX8" fmla="*/ 21244 w 42343"/>
                  <a:gd name="connsiteY8" fmla="*/ 39579 h 42390"/>
                  <a:gd name="connsiteX9" fmla="*/ 38959 w 42343"/>
                  <a:gd name="connsiteY9" fmla="*/ 21123 h 42390"/>
                  <a:gd name="connsiteX10" fmla="*/ 31758 w 42343"/>
                  <a:gd name="connsiteY10" fmla="*/ 32946 h 42390"/>
                  <a:gd name="connsiteX11" fmla="*/ 28301 w 42343"/>
                  <a:gd name="connsiteY11" fmla="*/ 32946 h 42390"/>
                  <a:gd name="connsiteX12" fmla="*/ 21532 w 42343"/>
                  <a:gd name="connsiteY12" fmla="*/ 22060 h 42390"/>
                  <a:gd name="connsiteX13" fmla="*/ 16203 w 42343"/>
                  <a:gd name="connsiteY13" fmla="*/ 22060 h 42390"/>
                  <a:gd name="connsiteX14" fmla="*/ 16203 w 42343"/>
                  <a:gd name="connsiteY14" fmla="*/ 32946 h 42390"/>
                  <a:gd name="connsiteX15" fmla="*/ 13323 w 42343"/>
                  <a:gd name="connsiteY15" fmla="*/ 32946 h 42390"/>
                  <a:gd name="connsiteX16" fmla="*/ 13323 w 42343"/>
                  <a:gd name="connsiteY16" fmla="*/ 9300 h 42390"/>
                  <a:gd name="connsiteX17" fmla="*/ 23693 w 42343"/>
                  <a:gd name="connsiteY17" fmla="*/ 9300 h 42390"/>
                  <a:gd name="connsiteX18" fmla="*/ 32046 w 42343"/>
                  <a:gd name="connsiteY18" fmla="*/ 15572 h 42390"/>
                  <a:gd name="connsiteX19" fmla="*/ 24629 w 42343"/>
                  <a:gd name="connsiteY19" fmla="*/ 22060 h 42390"/>
                  <a:gd name="connsiteX20" fmla="*/ 31758 w 42343"/>
                  <a:gd name="connsiteY20" fmla="*/ 32946 h 42390"/>
                  <a:gd name="connsiteX21" fmla="*/ 20668 w 42343"/>
                  <a:gd name="connsiteY21" fmla="*/ 19753 h 42390"/>
                  <a:gd name="connsiteX22" fmla="*/ 28949 w 42343"/>
                  <a:gd name="connsiteY22" fmla="*/ 15500 h 42390"/>
                  <a:gd name="connsiteX23" fmla="*/ 23044 w 42343"/>
                  <a:gd name="connsiteY23" fmla="*/ 11391 h 42390"/>
                  <a:gd name="connsiteX24" fmla="*/ 16275 w 42343"/>
                  <a:gd name="connsiteY24" fmla="*/ 11391 h 42390"/>
                  <a:gd name="connsiteX25" fmla="*/ 16275 w 42343"/>
                  <a:gd name="connsiteY25" fmla="*/ 19753 h 42390"/>
                  <a:gd name="connsiteX26" fmla="*/ 20668 w 42343"/>
                  <a:gd name="connsiteY26" fmla="*/ 19753 h 4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2343" h="42390">
                    <a:moveTo>
                      <a:pt x="0" y="21123"/>
                    </a:moveTo>
                    <a:cubicBezTo>
                      <a:pt x="0" y="9516"/>
                      <a:pt x="9506" y="0"/>
                      <a:pt x="21244" y="0"/>
                    </a:cubicBezTo>
                    <a:cubicBezTo>
                      <a:pt x="32982" y="0"/>
                      <a:pt x="42344" y="9516"/>
                      <a:pt x="42344" y="21123"/>
                    </a:cubicBezTo>
                    <a:cubicBezTo>
                      <a:pt x="42344" y="32730"/>
                      <a:pt x="32910" y="42391"/>
                      <a:pt x="21244" y="42391"/>
                    </a:cubicBezTo>
                    <a:cubicBezTo>
                      <a:pt x="9578" y="42391"/>
                      <a:pt x="0" y="32874"/>
                      <a:pt x="0" y="21123"/>
                    </a:cubicBezTo>
                    <a:close/>
                    <a:moveTo>
                      <a:pt x="38959" y="21123"/>
                    </a:moveTo>
                    <a:cubicBezTo>
                      <a:pt x="38959" y="10814"/>
                      <a:pt x="31470" y="2812"/>
                      <a:pt x="21244" y="2812"/>
                    </a:cubicBezTo>
                    <a:cubicBezTo>
                      <a:pt x="11018" y="2812"/>
                      <a:pt x="3385" y="10886"/>
                      <a:pt x="3385" y="21123"/>
                    </a:cubicBezTo>
                    <a:cubicBezTo>
                      <a:pt x="3385" y="31360"/>
                      <a:pt x="10946" y="39579"/>
                      <a:pt x="21244" y="39579"/>
                    </a:cubicBezTo>
                    <a:cubicBezTo>
                      <a:pt x="31542" y="39579"/>
                      <a:pt x="38959" y="31505"/>
                      <a:pt x="38959" y="21123"/>
                    </a:cubicBezTo>
                    <a:close/>
                    <a:moveTo>
                      <a:pt x="31758" y="32946"/>
                    </a:moveTo>
                    <a:lnTo>
                      <a:pt x="28301" y="32946"/>
                    </a:lnTo>
                    <a:lnTo>
                      <a:pt x="21532" y="22060"/>
                    </a:lnTo>
                    <a:lnTo>
                      <a:pt x="16203" y="22060"/>
                    </a:lnTo>
                    <a:lnTo>
                      <a:pt x="16203" y="32946"/>
                    </a:lnTo>
                    <a:lnTo>
                      <a:pt x="13323" y="32946"/>
                    </a:lnTo>
                    <a:lnTo>
                      <a:pt x="13323" y="9300"/>
                    </a:lnTo>
                    <a:lnTo>
                      <a:pt x="23693" y="9300"/>
                    </a:lnTo>
                    <a:cubicBezTo>
                      <a:pt x="29958" y="9300"/>
                      <a:pt x="32046" y="11679"/>
                      <a:pt x="32046" y="15572"/>
                    </a:cubicBezTo>
                    <a:cubicBezTo>
                      <a:pt x="32046" y="20186"/>
                      <a:pt x="28805" y="21916"/>
                      <a:pt x="24629" y="22060"/>
                    </a:cubicBezTo>
                    <a:lnTo>
                      <a:pt x="31758" y="32946"/>
                    </a:lnTo>
                    <a:close/>
                    <a:moveTo>
                      <a:pt x="20668" y="19753"/>
                    </a:moveTo>
                    <a:cubicBezTo>
                      <a:pt x="24052" y="19753"/>
                      <a:pt x="28949" y="20330"/>
                      <a:pt x="28949" y="15500"/>
                    </a:cubicBezTo>
                    <a:cubicBezTo>
                      <a:pt x="28949" y="11823"/>
                      <a:pt x="25925" y="11391"/>
                      <a:pt x="23044" y="11391"/>
                    </a:cubicBezTo>
                    <a:lnTo>
                      <a:pt x="16275" y="11391"/>
                    </a:lnTo>
                    <a:lnTo>
                      <a:pt x="16275" y="19753"/>
                    </a:lnTo>
                    <a:lnTo>
                      <a:pt x="20668" y="19753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E0161F78-8290-7B9B-9E68-E314FEB3B9EE}"/>
                </a:ext>
              </a:extLst>
            </p:cNvPr>
            <p:cNvSpPr/>
            <p:nvPr/>
          </p:nvSpPr>
          <p:spPr>
            <a:xfrm>
              <a:off x="9662576" y="3326249"/>
              <a:ext cx="70213" cy="41020"/>
            </a:xfrm>
            <a:custGeom>
              <a:avLst/>
              <a:gdLst>
                <a:gd name="connsiteX0" fmla="*/ 15267 w 70213"/>
                <a:gd name="connsiteY0" fmla="*/ 4398 h 41020"/>
                <a:gd name="connsiteX1" fmla="*/ 9434 w 70213"/>
                <a:gd name="connsiteY1" fmla="*/ 7714 h 41020"/>
                <a:gd name="connsiteX2" fmla="*/ 4321 w 70213"/>
                <a:gd name="connsiteY2" fmla="*/ 11607 h 41020"/>
                <a:gd name="connsiteX3" fmla="*/ 2737 w 70213"/>
                <a:gd name="connsiteY3" fmla="*/ 15139 h 41020"/>
                <a:gd name="connsiteX4" fmla="*/ 648 w 70213"/>
                <a:gd name="connsiteY4" fmla="*/ 18167 h 41020"/>
                <a:gd name="connsiteX5" fmla="*/ 144 w 70213"/>
                <a:gd name="connsiteY5" fmla="*/ 19249 h 41020"/>
                <a:gd name="connsiteX6" fmla="*/ 0 w 70213"/>
                <a:gd name="connsiteY6" fmla="*/ 20330 h 41020"/>
                <a:gd name="connsiteX7" fmla="*/ 288 w 70213"/>
                <a:gd name="connsiteY7" fmla="*/ 21556 h 41020"/>
                <a:gd name="connsiteX8" fmla="*/ 2232 w 70213"/>
                <a:gd name="connsiteY8" fmla="*/ 26891 h 41020"/>
                <a:gd name="connsiteX9" fmla="*/ 5617 w 70213"/>
                <a:gd name="connsiteY9" fmla="*/ 28981 h 41020"/>
                <a:gd name="connsiteX10" fmla="*/ 9506 w 70213"/>
                <a:gd name="connsiteY10" fmla="*/ 33379 h 41020"/>
                <a:gd name="connsiteX11" fmla="*/ 12314 w 70213"/>
                <a:gd name="connsiteY11" fmla="*/ 36046 h 41020"/>
                <a:gd name="connsiteX12" fmla="*/ 16347 w 70213"/>
                <a:gd name="connsiteY12" fmla="*/ 37993 h 41020"/>
                <a:gd name="connsiteX13" fmla="*/ 20380 w 70213"/>
                <a:gd name="connsiteY13" fmla="*/ 39218 h 41020"/>
                <a:gd name="connsiteX14" fmla="*/ 26069 w 70213"/>
                <a:gd name="connsiteY14" fmla="*/ 39218 h 41020"/>
                <a:gd name="connsiteX15" fmla="*/ 29814 w 70213"/>
                <a:gd name="connsiteY15" fmla="*/ 39939 h 41020"/>
                <a:gd name="connsiteX16" fmla="*/ 33846 w 70213"/>
                <a:gd name="connsiteY16" fmla="*/ 40300 h 41020"/>
                <a:gd name="connsiteX17" fmla="*/ 39319 w 70213"/>
                <a:gd name="connsiteY17" fmla="*/ 40660 h 41020"/>
                <a:gd name="connsiteX18" fmla="*/ 44576 w 70213"/>
                <a:gd name="connsiteY18" fmla="*/ 41021 h 41020"/>
                <a:gd name="connsiteX19" fmla="*/ 51130 w 70213"/>
                <a:gd name="connsiteY19" fmla="*/ 40516 h 41020"/>
                <a:gd name="connsiteX20" fmla="*/ 56099 w 70213"/>
                <a:gd name="connsiteY20" fmla="*/ 39074 h 41020"/>
                <a:gd name="connsiteX21" fmla="*/ 62076 w 70213"/>
                <a:gd name="connsiteY21" fmla="*/ 36623 h 41020"/>
                <a:gd name="connsiteX22" fmla="*/ 64740 w 70213"/>
                <a:gd name="connsiteY22" fmla="*/ 33595 h 41020"/>
                <a:gd name="connsiteX23" fmla="*/ 67765 w 70213"/>
                <a:gd name="connsiteY23" fmla="*/ 30784 h 41020"/>
                <a:gd name="connsiteX24" fmla="*/ 70213 w 70213"/>
                <a:gd name="connsiteY24" fmla="*/ 26891 h 41020"/>
                <a:gd name="connsiteX25" fmla="*/ 70069 w 70213"/>
                <a:gd name="connsiteY25" fmla="*/ 22853 h 41020"/>
                <a:gd name="connsiteX26" fmla="*/ 68989 w 70213"/>
                <a:gd name="connsiteY26" fmla="*/ 17014 h 41020"/>
                <a:gd name="connsiteX27" fmla="*/ 62652 w 70213"/>
                <a:gd name="connsiteY27" fmla="*/ 7786 h 41020"/>
                <a:gd name="connsiteX28" fmla="*/ 57035 w 70213"/>
                <a:gd name="connsiteY28" fmla="*/ 3533 h 41020"/>
                <a:gd name="connsiteX29" fmla="*/ 54226 w 70213"/>
                <a:gd name="connsiteY29" fmla="*/ 2163 h 41020"/>
                <a:gd name="connsiteX30" fmla="*/ 52138 w 70213"/>
                <a:gd name="connsiteY30" fmla="*/ 1370 h 41020"/>
                <a:gd name="connsiteX31" fmla="*/ 50121 w 70213"/>
                <a:gd name="connsiteY31" fmla="*/ 1081 h 41020"/>
                <a:gd name="connsiteX32" fmla="*/ 43568 w 70213"/>
                <a:gd name="connsiteY32" fmla="*/ 1586 h 41020"/>
                <a:gd name="connsiteX33" fmla="*/ 37015 w 70213"/>
                <a:gd name="connsiteY33" fmla="*/ 505 h 41020"/>
                <a:gd name="connsiteX34" fmla="*/ 33846 w 70213"/>
                <a:gd name="connsiteY34" fmla="*/ 0 h 41020"/>
                <a:gd name="connsiteX35" fmla="*/ 29814 w 70213"/>
                <a:gd name="connsiteY35" fmla="*/ 865 h 41020"/>
                <a:gd name="connsiteX36" fmla="*/ 24485 w 70213"/>
                <a:gd name="connsiteY36" fmla="*/ 1586 h 41020"/>
                <a:gd name="connsiteX37" fmla="*/ 21100 w 70213"/>
                <a:gd name="connsiteY37" fmla="*/ 2812 h 41020"/>
                <a:gd name="connsiteX38" fmla="*/ 15267 w 70213"/>
                <a:gd name="connsiteY38" fmla="*/ 4398 h 4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0213" h="41020">
                  <a:moveTo>
                    <a:pt x="15267" y="4398"/>
                  </a:moveTo>
                  <a:lnTo>
                    <a:pt x="9434" y="7714"/>
                  </a:lnTo>
                  <a:lnTo>
                    <a:pt x="4321" y="11607"/>
                  </a:lnTo>
                  <a:lnTo>
                    <a:pt x="2737" y="15139"/>
                  </a:lnTo>
                  <a:lnTo>
                    <a:pt x="648" y="18167"/>
                  </a:lnTo>
                  <a:lnTo>
                    <a:pt x="144" y="19249"/>
                  </a:lnTo>
                  <a:lnTo>
                    <a:pt x="0" y="20330"/>
                  </a:lnTo>
                  <a:lnTo>
                    <a:pt x="288" y="21556"/>
                  </a:lnTo>
                  <a:lnTo>
                    <a:pt x="2232" y="26891"/>
                  </a:lnTo>
                  <a:lnTo>
                    <a:pt x="5617" y="28981"/>
                  </a:lnTo>
                  <a:lnTo>
                    <a:pt x="9506" y="33379"/>
                  </a:lnTo>
                  <a:lnTo>
                    <a:pt x="12314" y="36046"/>
                  </a:lnTo>
                  <a:lnTo>
                    <a:pt x="16347" y="37993"/>
                  </a:lnTo>
                  <a:lnTo>
                    <a:pt x="20380" y="39218"/>
                  </a:lnTo>
                  <a:lnTo>
                    <a:pt x="26069" y="39218"/>
                  </a:lnTo>
                  <a:lnTo>
                    <a:pt x="29814" y="39939"/>
                  </a:lnTo>
                  <a:lnTo>
                    <a:pt x="33846" y="40300"/>
                  </a:lnTo>
                  <a:lnTo>
                    <a:pt x="39319" y="40660"/>
                  </a:lnTo>
                  <a:lnTo>
                    <a:pt x="44576" y="41021"/>
                  </a:lnTo>
                  <a:lnTo>
                    <a:pt x="51130" y="40516"/>
                  </a:lnTo>
                  <a:lnTo>
                    <a:pt x="56099" y="39074"/>
                  </a:lnTo>
                  <a:lnTo>
                    <a:pt x="62076" y="36623"/>
                  </a:lnTo>
                  <a:lnTo>
                    <a:pt x="64740" y="33595"/>
                  </a:lnTo>
                  <a:lnTo>
                    <a:pt x="67765" y="30784"/>
                  </a:lnTo>
                  <a:lnTo>
                    <a:pt x="70213" y="26891"/>
                  </a:lnTo>
                  <a:lnTo>
                    <a:pt x="70069" y="22853"/>
                  </a:lnTo>
                  <a:lnTo>
                    <a:pt x="68989" y="17014"/>
                  </a:lnTo>
                  <a:lnTo>
                    <a:pt x="62652" y="7786"/>
                  </a:lnTo>
                  <a:lnTo>
                    <a:pt x="57035" y="3533"/>
                  </a:lnTo>
                  <a:lnTo>
                    <a:pt x="54226" y="2163"/>
                  </a:lnTo>
                  <a:lnTo>
                    <a:pt x="52138" y="1370"/>
                  </a:lnTo>
                  <a:lnTo>
                    <a:pt x="50121" y="1081"/>
                  </a:lnTo>
                  <a:lnTo>
                    <a:pt x="43568" y="1586"/>
                  </a:lnTo>
                  <a:lnTo>
                    <a:pt x="37015" y="505"/>
                  </a:lnTo>
                  <a:lnTo>
                    <a:pt x="33846" y="0"/>
                  </a:lnTo>
                  <a:lnTo>
                    <a:pt x="29814" y="865"/>
                  </a:lnTo>
                  <a:lnTo>
                    <a:pt x="24485" y="1586"/>
                  </a:lnTo>
                  <a:lnTo>
                    <a:pt x="21100" y="2812"/>
                  </a:lnTo>
                  <a:lnTo>
                    <a:pt x="15267" y="4398"/>
                  </a:lnTo>
                </a:path>
              </a:pathLst>
            </a:custGeom>
            <a:solidFill>
              <a:srgbClr val="F26531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5C8F7B4A-428D-B515-684C-1ECAA637B72B}"/>
                </a:ext>
              </a:extLst>
            </p:cNvPr>
            <p:cNvSpPr/>
            <p:nvPr/>
          </p:nvSpPr>
          <p:spPr>
            <a:xfrm>
              <a:off x="9668265" y="3427034"/>
              <a:ext cx="59915" cy="15932"/>
            </a:xfrm>
            <a:custGeom>
              <a:avLst/>
              <a:gdLst>
                <a:gd name="connsiteX0" fmla="*/ 1224 w 59915"/>
                <a:gd name="connsiteY0" fmla="*/ 360 h 15932"/>
                <a:gd name="connsiteX1" fmla="*/ 32694 w 59915"/>
                <a:gd name="connsiteY1" fmla="*/ 1081 h 15932"/>
                <a:gd name="connsiteX2" fmla="*/ 37375 w 59915"/>
                <a:gd name="connsiteY2" fmla="*/ 144 h 15932"/>
                <a:gd name="connsiteX3" fmla="*/ 43424 w 59915"/>
                <a:gd name="connsiteY3" fmla="*/ 0 h 15932"/>
                <a:gd name="connsiteX4" fmla="*/ 49473 w 59915"/>
                <a:gd name="connsiteY4" fmla="*/ 649 h 15932"/>
                <a:gd name="connsiteX5" fmla="*/ 54082 w 59915"/>
                <a:gd name="connsiteY5" fmla="*/ 1947 h 15932"/>
                <a:gd name="connsiteX6" fmla="*/ 57611 w 59915"/>
                <a:gd name="connsiteY6" fmla="*/ 4326 h 15932"/>
                <a:gd name="connsiteX7" fmla="*/ 58907 w 59915"/>
                <a:gd name="connsiteY7" fmla="*/ 5984 h 15932"/>
                <a:gd name="connsiteX8" fmla="*/ 59699 w 59915"/>
                <a:gd name="connsiteY8" fmla="*/ 7714 h 15932"/>
                <a:gd name="connsiteX9" fmla="*/ 59915 w 59915"/>
                <a:gd name="connsiteY9" fmla="*/ 9588 h 15932"/>
                <a:gd name="connsiteX10" fmla="*/ 59339 w 59915"/>
                <a:gd name="connsiteY10" fmla="*/ 11535 h 15932"/>
                <a:gd name="connsiteX11" fmla="*/ 57971 w 59915"/>
                <a:gd name="connsiteY11" fmla="*/ 13409 h 15932"/>
                <a:gd name="connsiteX12" fmla="*/ 55522 w 59915"/>
                <a:gd name="connsiteY12" fmla="*/ 15212 h 15932"/>
                <a:gd name="connsiteX13" fmla="*/ 51922 w 59915"/>
                <a:gd name="connsiteY13" fmla="*/ 15932 h 15932"/>
                <a:gd name="connsiteX14" fmla="*/ 45513 w 59915"/>
                <a:gd name="connsiteY14" fmla="*/ 15932 h 15932"/>
                <a:gd name="connsiteX15" fmla="*/ 28229 w 59915"/>
                <a:gd name="connsiteY15" fmla="*/ 14635 h 15932"/>
                <a:gd name="connsiteX16" fmla="*/ 1872 w 59915"/>
                <a:gd name="connsiteY16" fmla="*/ 11607 h 15932"/>
                <a:gd name="connsiteX17" fmla="*/ 864 w 59915"/>
                <a:gd name="connsiteY17" fmla="*/ 11174 h 15932"/>
                <a:gd name="connsiteX18" fmla="*/ 288 w 59915"/>
                <a:gd name="connsiteY18" fmla="*/ 10165 h 15932"/>
                <a:gd name="connsiteX19" fmla="*/ 0 w 59915"/>
                <a:gd name="connsiteY19" fmla="*/ 6921 h 15932"/>
                <a:gd name="connsiteX20" fmla="*/ 1224 w 59915"/>
                <a:gd name="connsiteY20" fmla="*/ 360 h 1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9915" h="15932">
                  <a:moveTo>
                    <a:pt x="1224" y="360"/>
                  </a:moveTo>
                  <a:lnTo>
                    <a:pt x="32694" y="1081"/>
                  </a:lnTo>
                  <a:lnTo>
                    <a:pt x="37375" y="144"/>
                  </a:lnTo>
                  <a:lnTo>
                    <a:pt x="43424" y="0"/>
                  </a:lnTo>
                  <a:lnTo>
                    <a:pt x="49473" y="649"/>
                  </a:lnTo>
                  <a:lnTo>
                    <a:pt x="54082" y="1947"/>
                  </a:lnTo>
                  <a:lnTo>
                    <a:pt x="57611" y="4326"/>
                  </a:lnTo>
                  <a:lnTo>
                    <a:pt x="58907" y="5984"/>
                  </a:lnTo>
                  <a:lnTo>
                    <a:pt x="59699" y="7714"/>
                  </a:lnTo>
                  <a:lnTo>
                    <a:pt x="59915" y="9588"/>
                  </a:lnTo>
                  <a:lnTo>
                    <a:pt x="59339" y="11535"/>
                  </a:lnTo>
                  <a:lnTo>
                    <a:pt x="57971" y="13409"/>
                  </a:lnTo>
                  <a:lnTo>
                    <a:pt x="55522" y="15212"/>
                  </a:lnTo>
                  <a:lnTo>
                    <a:pt x="51922" y="15932"/>
                  </a:lnTo>
                  <a:lnTo>
                    <a:pt x="45513" y="15932"/>
                  </a:lnTo>
                  <a:lnTo>
                    <a:pt x="28229" y="14635"/>
                  </a:lnTo>
                  <a:lnTo>
                    <a:pt x="1872" y="11607"/>
                  </a:lnTo>
                  <a:lnTo>
                    <a:pt x="864" y="11174"/>
                  </a:lnTo>
                  <a:lnTo>
                    <a:pt x="288" y="10165"/>
                  </a:lnTo>
                  <a:lnTo>
                    <a:pt x="0" y="6921"/>
                  </a:lnTo>
                  <a:lnTo>
                    <a:pt x="1224" y="360"/>
                  </a:lnTo>
                </a:path>
              </a:pathLst>
            </a:custGeom>
            <a:solidFill>
              <a:srgbClr val="ED1849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155BE972-7811-D2C5-4E89-55103C0568B6}"/>
                </a:ext>
              </a:extLst>
            </p:cNvPr>
            <p:cNvSpPr/>
            <p:nvPr/>
          </p:nvSpPr>
          <p:spPr>
            <a:xfrm>
              <a:off x="9671290" y="3456448"/>
              <a:ext cx="57754" cy="15644"/>
            </a:xfrm>
            <a:custGeom>
              <a:avLst/>
              <a:gdLst>
                <a:gd name="connsiteX0" fmla="*/ 7057 w 57754"/>
                <a:gd name="connsiteY0" fmla="*/ 0 h 15644"/>
                <a:gd name="connsiteX1" fmla="*/ 9794 w 57754"/>
                <a:gd name="connsiteY1" fmla="*/ 1658 h 15644"/>
                <a:gd name="connsiteX2" fmla="*/ 11522 w 57754"/>
                <a:gd name="connsiteY2" fmla="*/ 2667 h 15644"/>
                <a:gd name="connsiteX3" fmla="*/ 13467 w 57754"/>
                <a:gd name="connsiteY3" fmla="*/ 3172 h 15644"/>
                <a:gd name="connsiteX4" fmla="*/ 14835 w 57754"/>
                <a:gd name="connsiteY4" fmla="*/ 2884 h 15644"/>
                <a:gd name="connsiteX5" fmla="*/ 16419 w 57754"/>
                <a:gd name="connsiteY5" fmla="*/ 2163 h 15644"/>
                <a:gd name="connsiteX6" fmla="*/ 18003 w 57754"/>
                <a:gd name="connsiteY6" fmla="*/ 1370 h 15644"/>
                <a:gd name="connsiteX7" fmla="*/ 19588 w 57754"/>
                <a:gd name="connsiteY7" fmla="*/ 1009 h 15644"/>
                <a:gd name="connsiteX8" fmla="*/ 22324 w 57754"/>
                <a:gd name="connsiteY8" fmla="*/ 2019 h 15644"/>
                <a:gd name="connsiteX9" fmla="*/ 25277 w 57754"/>
                <a:gd name="connsiteY9" fmla="*/ 3028 h 15644"/>
                <a:gd name="connsiteX10" fmla="*/ 27725 w 57754"/>
                <a:gd name="connsiteY10" fmla="*/ 2235 h 15644"/>
                <a:gd name="connsiteX11" fmla="*/ 30246 w 57754"/>
                <a:gd name="connsiteY11" fmla="*/ 1514 h 15644"/>
                <a:gd name="connsiteX12" fmla="*/ 33198 w 57754"/>
                <a:gd name="connsiteY12" fmla="*/ 2595 h 15644"/>
                <a:gd name="connsiteX13" fmla="*/ 34638 w 57754"/>
                <a:gd name="connsiteY13" fmla="*/ 3172 h 15644"/>
                <a:gd name="connsiteX14" fmla="*/ 36079 w 57754"/>
                <a:gd name="connsiteY14" fmla="*/ 3172 h 15644"/>
                <a:gd name="connsiteX15" fmla="*/ 45224 w 57754"/>
                <a:gd name="connsiteY15" fmla="*/ 1947 h 15644"/>
                <a:gd name="connsiteX16" fmla="*/ 52210 w 57754"/>
                <a:gd name="connsiteY16" fmla="*/ 3100 h 15644"/>
                <a:gd name="connsiteX17" fmla="*/ 52642 w 57754"/>
                <a:gd name="connsiteY17" fmla="*/ 3388 h 15644"/>
                <a:gd name="connsiteX18" fmla="*/ 52858 w 57754"/>
                <a:gd name="connsiteY18" fmla="*/ 3749 h 15644"/>
                <a:gd name="connsiteX19" fmla="*/ 52642 w 57754"/>
                <a:gd name="connsiteY19" fmla="*/ 4614 h 15644"/>
                <a:gd name="connsiteX20" fmla="*/ 52354 w 57754"/>
                <a:gd name="connsiteY20" fmla="*/ 5551 h 15644"/>
                <a:gd name="connsiteX21" fmla="*/ 52642 w 57754"/>
                <a:gd name="connsiteY21" fmla="*/ 6416 h 15644"/>
                <a:gd name="connsiteX22" fmla="*/ 54370 w 57754"/>
                <a:gd name="connsiteY22" fmla="*/ 7426 h 15644"/>
                <a:gd name="connsiteX23" fmla="*/ 56315 w 57754"/>
                <a:gd name="connsiteY23" fmla="*/ 8219 h 15644"/>
                <a:gd name="connsiteX24" fmla="*/ 57107 w 57754"/>
                <a:gd name="connsiteY24" fmla="*/ 8795 h 15644"/>
                <a:gd name="connsiteX25" fmla="*/ 57611 w 57754"/>
                <a:gd name="connsiteY25" fmla="*/ 9660 h 15644"/>
                <a:gd name="connsiteX26" fmla="*/ 57755 w 57754"/>
                <a:gd name="connsiteY26" fmla="*/ 10958 h 15644"/>
                <a:gd name="connsiteX27" fmla="*/ 57395 w 57754"/>
                <a:gd name="connsiteY27" fmla="*/ 12760 h 15644"/>
                <a:gd name="connsiteX28" fmla="*/ 56819 w 57754"/>
                <a:gd name="connsiteY28" fmla="*/ 13626 h 15644"/>
                <a:gd name="connsiteX29" fmla="*/ 55522 w 57754"/>
                <a:gd name="connsiteY29" fmla="*/ 14346 h 15644"/>
                <a:gd name="connsiteX30" fmla="*/ 51562 w 57754"/>
                <a:gd name="connsiteY30" fmla="*/ 15212 h 15644"/>
                <a:gd name="connsiteX31" fmla="*/ 39031 w 57754"/>
                <a:gd name="connsiteY31" fmla="*/ 15644 h 15644"/>
                <a:gd name="connsiteX32" fmla="*/ 21100 w 57754"/>
                <a:gd name="connsiteY32" fmla="*/ 13337 h 15644"/>
                <a:gd name="connsiteX33" fmla="*/ 5545 w 57754"/>
                <a:gd name="connsiteY33" fmla="*/ 10453 h 15644"/>
                <a:gd name="connsiteX34" fmla="*/ 3241 w 57754"/>
                <a:gd name="connsiteY34" fmla="*/ 9516 h 15644"/>
                <a:gd name="connsiteX35" fmla="*/ 1512 w 57754"/>
                <a:gd name="connsiteY35" fmla="*/ 7426 h 15644"/>
                <a:gd name="connsiteX36" fmla="*/ 360 w 57754"/>
                <a:gd name="connsiteY36" fmla="*/ 4974 h 15644"/>
                <a:gd name="connsiteX37" fmla="*/ 0 w 57754"/>
                <a:gd name="connsiteY37" fmla="*/ 2812 h 15644"/>
                <a:gd name="connsiteX38" fmla="*/ 7057 w 57754"/>
                <a:gd name="connsiteY38" fmla="*/ 0 h 1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754" h="15644">
                  <a:moveTo>
                    <a:pt x="7057" y="0"/>
                  </a:moveTo>
                  <a:lnTo>
                    <a:pt x="9794" y="1658"/>
                  </a:lnTo>
                  <a:lnTo>
                    <a:pt x="11522" y="2667"/>
                  </a:lnTo>
                  <a:lnTo>
                    <a:pt x="13467" y="3172"/>
                  </a:lnTo>
                  <a:lnTo>
                    <a:pt x="14835" y="2884"/>
                  </a:lnTo>
                  <a:lnTo>
                    <a:pt x="16419" y="2163"/>
                  </a:lnTo>
                  <a:lnTo>
                    <a:pt x="18003" y="1370"/>
                  </a:lnTo>
                  <a:lnTo>
                    <a:pt x="19588" y="1009"/>
                  </a:lnTo>
                  <a:lnTo>
                    <a:pt x="22324" y="2019"/>
                  </a:lnTo>
                  <a:lnTo>
                    <a:pt x="25277" y="3028"/>
                  </a:lnTo>
                  <a:lnTo>
                    <a:pt x="27725" y="2235"/>
                  </a:lnTo>
                  <a:lnTo>
                    <a:pt x="30246" y="1514"/>
                  </a:lnTo>
                  <a:lnTo>
                    <a:pt x="33198" y="2595"/>
                  </a:lnTo>
                  <a:lnTo>
                    <a:pt x="34638" y="3172"/>
                  </a:lnTo>
                  <a:lnTo>
                    <a:pt x="36079" y="3172"/>
                  </a:lnTo>
                  <a:lnTo>
                    <a:pt x="45224" y="1947"/>
                  </a:lnTo>
                  <a:lnTo>
                    <a:pt x="52210" y="3100"/>
                  </a:lnTo>
                  <a:lnTo>
                    <a:pt x="52642" y="3388"/>
                  </a:lnTo>
                  <a:lnTo>
                    <a:pt x="52858" y="3749"/>
                  </a:lnTo>
                  <a:lnTo>
                    <a:pt x="52642" y="4614"/>
                  </a:lnTo>
                  <a:lnTo>
                    <a:pt x="52354" y="5551"/>
                  </a:lnTo>
                  <a:lnTo>
                    <a:pt x="52642" y="6416"/>
                  </a:lnTo>
                  <a:lnTo>
                    <a:pt x="54370" y="7426"/>
                  </a:lnTo>
                  <a:lnTo>
                    <a:pt x="56315" y="8219"/>
                  </a:lnTo>
                  <a:lnTo>
                    <a:pt x="57107" y="8795"/>
                  </a:lnTo>
                  <a:lnTo>
                    <a:pt x="57611" y="9660"/>
                  </a:lnTo>
                  <a:lnTo>
                    <a:pt x="57755" y="10958"/>
                  </a:lnTo>
                  <a:lnTo>
                    <a:pt x="57395" y="12760"/>
                  </a:lnTo>
                  <a:lnTo>
                    <a:pt x="56819" y="13626"/>
                  </a:lnTo>
                  <a:lnTo>
                    <a:pt x="55522" y="14346"/>
                  </a:lnTo>
                  <a:lnTo>
                    <a:pt x="51562" y="15212"/>
                  </a:lnTo>
                  <a:lnTo>
                    <a:pt x="39031" y="15644"/>
                  </a:lnTo>
                  <a:lnTo>
                    <a:pt x="21100" y="13337"/>
                  </a:lnTo>
                  <a:lnTo>
                    <a:pt x="5545" y="10453"/>
                  </a:lnTo>
                  <a:lnTo>
                    <a:pt x="3241" y="9516"/>
                  </a:lnTo>
                  <a:lnTo>
                    <a:pt x="1512" y="7426"/>
                  </a:lnTo>
                  <a:lnTo>
                    <a:pt x="360" y="4974"/>
                  </a:lnTo>
                  <a:lnTo>
                    <a:pt x="0" y="2812"/>
                  </a:lnTo>
                  <a:lnTo>
                    <a:pt x="705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1B752FEC-4105-07C1-386A-C9CC6619B53B}"/>
                </a:ext>
              </a:extLst>
            </p:cNvPr>
            <p:cNvSpPr/>
            <p:nvPr/>
          </p:nvSpPr>
          <p:spPr>
            <a:xfrm>
              <a:off x="9668481" y="3473390"/>
              <a:ext cx="59771" cy="17013"/>
            </a:xfrm>
            <a:custGeom>
              <a:avLst/>
              <a:gdLst>
                <a:gd name="connsiteX0" fmla="*/ 5617 w 59771"/>
                <a:gd name="connsiteY0" fmla="*/ 0 h 17013"/>
                <a:gd name="connsiteX1" fmla="*/ 10442 w 59771"/>
                <a:gd name="connsiteY1" fmla="*/ 1874 h 17013"/>
                <a:gd name="connsiteX2" fmla="*/ 12818 w 59771"/>
                <a:gd name="connsiteY2" fmla="*/ 2740 h 17013"/>
                <a:gd name="connsiteX3" fmla="*/ 15195 w 59771"/>
                <a:gd name="connsiteY3" fmla="*/ 2667 h 17013"/>
                <a:gd name="connsiteX4" fmla="*/ 36583 w 59771"/>
                <a:gd name="connsiteY4" fmla="*/ 1658 h 17013"/>
                <a:gd name="connsiteX5" fmla="*/ 45152 w 59771"/>
                <a:gd name="connsiteY5" fmla="*/ 2451 h 17013"/>
                <a:gd name="connsiteX6" fmla="*/ 51850 w 59771"/>
                <a:gd name="connsiteY6" fmla="*/ 4109 h 17013"/>
                <a:gd name="connsiteX7" fmla="*/ 54874 w 59771"/>
                <a:gd name="connsiteY7" fmla="*/ 4902 h 17013"/>
                <a:gd name="connsiteX8" fmla="*/ 56603 w 59771"/>
                <a:gd name="connsiteY8" fmla="*/ 5623 h 17013"/>
                <a:gd name="connsiteX9" fmla="*/ 57971 w 59771"/>
                <a:gd name="connsiteY9" fmla="*/ 6633 h 17013"/>
                <a:gd name="connsiteX10" fmla="*/ 59483 w 59771"/>
                <a:gd name="connsiteY10" fmla="*/ 9300 h 17013"/>
                <a:gd name="connsiteX11" fmla="*/ 59771 w 59771"/>
                <a:gd name="connsiteY11" fmla="*/ 11895 h 17013"/>
                <a:gd name="connsiteX12" fmla="*/ 59123 w 59771"/>
                <a:gd name="connsiteY12" fmla="*/ 14130 h 17013"/>
                <a:gd name="connsiteX13" fmla="*/ 57971 w 59771"/>
                <a:gd name="connsiteY13" fmla="*/ 15572 h 17013"/>
                <a:gd name="connsiteX14" fmla="*/ 57971 w 59771"/>
                <a:gd name="connsiteY14" fmla="*/ 17014 h 17013"/>
                <a:gd name="connsiteX15" fmla="*/ 37015 w 59771"/>
                <a:gd name="connsiteY15" fmla="*/ 16942 h 17013"/>
                <a:gd name="connsiteX16" fmla="*/ 30030 w 59771"/>
                <a:gd name="connsiteY16" fmla="*/ 17014 h 17013"/>
                <a:gd name="connsiteX17" fmla="*/ 23116 w 59771"/>
                <a:gd name="connsiteY17" fmla="*/ 16437 h 17013"/>
                <a:gd name="connsiteX18" fmla="*/ 16203 w 59771"/>
                <a:gd name="connsiteY18" fmla="*/ 15212 h 17013"/>
                <a:gd name="connsiteX19" fmla="*/ 10010 w 59771"/>
                <a:gd name="connsiteY19" fmla="*/ 14202 h 17013"/>
                <a:gd name="connsiteX20" fmla="*/ 5545 w 59771"/>
                <a:gd name="connsiteY20" fmla="*/ 13481 h 17013"/>
                <a:gd name="connsiteX21" fmla="*/ 3745 w 59771"/>
                <a:gd name="connsiteY21" fmla="*/ 13049 h 17013"/>
                <a:gd name="connsiteX22" fmla="*/ 2520 w 59771"/>
                <a:gd name="connsiteY22" fmla="*/ 11895 h 17013"/>
                <a:gd name="connsiteX23" fmla="*/ 792 w 59771"/>
                <a:gd name="connsiteY23" fmla="*/ 8219 h 17013"/>
                <a:gd name="connsiteX24" fmla="*/ 0 w 59771"/>
                <a:gd name="connsiteY24" fmla="*/ 4253 h 17013"/>
                <a:gd name="connsiteX25" fmla="*/ 5617 w 59771"/>
                <a:gd name="connsiteY25" fmla="*/ 0 h 17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9771" h="17013">
                  <a:moveTo>
                    <a:pt x="5617" y="0"/>
                  </a:moveTo>
                  <a:lnTo>
                    <a:pt x="10442" y="1874"/>
                  </a:lnTo>
                  <a:lnTo>
                    <a:pt x="12818" y="2740"/>
                  </a:lnTo>
                  <a:lnTo>
                    <a:pt x="15195" y="2667"/>
                  </a:lnTo>
                  <a:lnTo>
                    <a:pt x="36583" y="1658"/>
                  </a:lnTo>
                  <a:lnTo>
                    <a:pt x="45152" y="2451"/>
                  </a:lnTo>
                  <a:lnTo>
                    <a:pt x="51850" y="4109"/>
                  </a:lnTo>
                  <a:lnTo>
                    <a:pt x="54874" y="4902"/>
                  </a:lnTo>
                  <a:lnTo>
                    <a:pt x="56603" y="5623"/>
                  </a:lnTo>
                  <a:lnTo>
                    <a:pt x="57971" y="6633"/>
                  </a:lnTo>
                  <a:lnTo>
                    <a:pt x="59483" y="9300"/>
                  </a:lnTo>
                  <a:lnTo>
                    <a:pt x="59771" y="11895"/>
                  </a:lnTo>
                  <a:lnTo>
                    <a:pt x="59123" y="14130"/>
                  </a:lnTo>
                  <a:lnTo>
                    <a:pt x="57971" y="15572"/>
                  </a:lnTo>
                  <a:lnTo>
                    <a:pt x="57971" y="17014"/>
                  </a:lnTo>
                  <a:lnTo>
                    <a:pt x="37015" y="16942"/>
                  </a:lnTo>
                  <a:lnTo>
                    <a:pt x="30030" y="17014"/>
                  </a:lnTo>
                  <a:lnTo>
                    <a:pt x="23116" y="16437"/>
                  </a:lnTo>
                  <a:lnTo>
                    <a:pt x="16203" y="15212"/>
                  </a:lnTo>
                  <a:lnTo>
                    <a:pt x="10010" y="14202"/>
                  </a:lnTo>
                  <a:lnTo>
                    <a:pt x="5545" y="13481"/>
                  </a:lnTo>
                  <a:lnTo>
                    <a:pt x="3745" y="13049"/>
                  </a:lnTo>
                  <a:lnTo>
                    <a:pt x="2520" y="11895"/>
                  </a:lnTo>
                  <a:lnTo>
                    <a:pt x="792" y="8219"/>
                  </a:lnTo>
                  <a:lnTo>
                    <a:pt x="0" y="4253"/>
                  </a:lnTo>
                  <a:lnTo>
                    <a:pt x="561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33BE866E-6F4C-F335-DB7B-2D9EE69D57BA}"/>
                </a:ext>
              </a:extLst>
            </p:cNvPr>
            <p:cNvSpPr/>
            <p:nvPr/>
          </p:nvSpPr>
          <p:spPr>
            <a:xfrm>
              <a:off x="9668553" y="3498406"/>
              <a:ext cx="60779" cy="27899"/>
            </a:xfrm>
            <a:custGeom>
              <a:avLst/>
              <a:gdLst>
                <a:gd name="connsiteX0" fmla="*/ 7129 w 60779"/>
                <a:gd name="connsiteY0" fmla="*/ 0 h 27899"/>
                <a:gd name="connsiteX1" fmla="*/ 16635 w 60779"/>
                <a:gd name="connsiteY1" fmla="*/ 1226 h 27899"/>
                <a:gd name="connsiteX2" fmla="*/ 19804 w 60779"/>
                <a:gd name="connsiteY2" fmla="*/ 1586 h 27899"/>
                <a:gd name="connsiteX3" fmla="*/ 22540 w 60779"/>
                <a:gd name="connsiteY3" fmla="*/ 1081 h 27899"/>
                <a:gd name="connsiteX4" fmla="*/ 26213 w 60779"/>
                <a:gd name="connsiteY4" fmla="*/ 721 h 27899"/>
                <a:gd name="connsiteX5" fmla="*/ 31974 w 60779"/>
                <a:gd name="connsiteY5" fmla="*/ 1153 h 27899"/>
                <a:gd name="connsiteX6" fmla="*/ 40256 w 60779"/>
                <a:gd name="connsiteY6" fmla="*/ 1298 h 27899"/>
                <a:gd name="connsiteX7" fmla="*/ 48609 w 60779"/>
                <a:gd name="connsiteY7" fmla="*/ 865 h 27899"/>
                <a:gd name="connsiteX8" fmla="*/ 51490 w 60779"/>
                <a:gd name="connsiteY8" fmla="*/ 793 h 27899"/>
                <a:gd name="connsiteX9" fmla="*/ 53938 w 60779"/>
                <a:gd name="connsiteY9" fmla="*/ 1802 h 27899"/>
                <a:gd name="connsiteX10" fmla="*/ 58259 w 60779"/>
                <a:gd name="connsiteY10" fmla="*/ 5407 h 27899"/>
                <a:gd name="connsiteX11" fmla="*/ 59699 w 60779"/>
                <a:gd name="connsiteY11" fmla="*/ 7209 h 27899"/>
                <a:gd name="connsiteX12" fmla="*/ 60563 w 60779"/>
                <a:gd name="connsiteY12" fmla="*/ 9300 h 27899"/>
                <a:gd name="connsiteX13" fmla="*/ 60779 w 60779"/>
                <a:gd name="connsiteY13" fmla="*/ 11607 h 27899"/>
                <a:gd name="connsiteX14" fmla="*/ 60203 w 60779"/>
                <a:gd name="connsiteY14" fmla="*/ 13914 h 27899"/>
                <a:gd name="connsiteX15" fmla="*/ 57683 w 60779"/>
                <a:gd name="connsiteY15" fmla="*/ 20979 h 27899"/>
                <a:gd name="connsiteX16" fmla="*/ 56243 w 60779"/>
                <a:gd name="connsiteY16" fmla="*/ 24079 h 27899"/>
                <a:gd name="connsiteX17" fmla="*/ 54154 w 60779"/>
                <a:gd name="connsiteY17" fmla="*/ 26602 h 27899"/>
                <a:gd name="connsiteX18" fmla="*/ 52930 w 60779"/>
                <a:gd name="connsiteY18" fmla="*/ 27179 h 27899"/>
                <a:gd name="connsiteX19" fmla="*/ 51490 w 60779"/>
                <a:gd name="connsiteY19" fmla="*/ 27251 h 27899"/>
                <a:gd name="connsiteX20" fmla="*/ 47961 w 60779"/>
                <a:gd name="connsiteY20" fmla="*/ 26602 h 27899"/>
                <a:gd name="connsiteX21" fmla="*/ 44288 w 60779"/>
                <a:gd name="connsiteY21" fmla="*/ 25593 h 27899"/>
                <a:gd name="connsiteX22" fmla="*/ 41120 w 60779"/>
                <a:gd name="connsiteY22" fmla="*/ 25160 h 27899"/>
                <a:gd name="connsiteX23" fmla="*/ 38815 w 60779"/>
                <a:gd name="connsiteY23" fmla="*/ 25737 h 27899"/>
                <a:gd name="connsiteX24" fmla="*/ 36799 w 60779"/>
                <a:gd name="connsiteY24" fmla="*/ 26746 h 27899"/>
                <a:gd name="connsiteX25" fmla="*/ 34711 w 60779"/>
                <a:gd name="connsiteY25" fmla="*/ 27612 h 27899"/>
                <a:gd name="connsiteX26" fmla="*/ 32334 w 60779"/>
                <a:gd name="connsiteY26" fmla="*/ 27900 h 27899"/>
                <a:gd name="connsiteX27" fmla="*/ 25565 w 60779"/>
                <a:gd name="connsiteY27" fmla="*/ 26098 h 27899"/>
                <a:gd name="connsiteX28" fmla="*/ 21748 w 60779"/>
                <a:gd name="connsiteY28" fmla="*/ 25593 h 27899"/>
                <a:gd name="connsiteX29" fmla="*/ 17355 w 60779"/>
                <a:gd name="connsiteY29" fmla="*/ 26314 h 27899"/>
                <a:gd name="connsiteX30" fmla="*/ 16203 w 60779"/>
                <a:gd name="connsiteY30" fmla="*/ 26458 h 27899"/>
                <a:gd name="connsiteX31" fmla="*/ 15123 w 60779"/>
                <a:gd name="connsiteY31" fmla="*/ 25953 h 27899"/>
                <a:gd name="connsiteX32" fmla="*/ 13971 w 60779"/>
                <a:gd name="connsiteY32" fmla="*/ 25377 h 27899"/>
                <a:gd name="connsiteX33" fmla="*/ 12746 w 60779"/>
                <a:gd name="connsiteY33" fmla="*/ 25088 h 27899"/>
                <a:gd name="connsiteX34" fmla="*/ 10082 w 60779"/>
                <a:gd name="connsiteY34" fmla="*/ 25016 h 27899"/>
                <a:gd name="connsiteX35" fmla="*/ 9074 w 60779"/>
                <a:gd name="connsiteY35" fmla="*/ 24656 h 27899"/>
                <a:gd name="connsiteX36" fmla="*/ 8570 w 60779"/>
                <a:gd name="connsiteY36" fmla="*/ 24079 h 27899"/>
                <a:gd name="connsiteX37" fmla="*/ 5329 w 60779"/>
                <a:gd name="connsiteY37" fmla="*/ 19105 h 27899"/>
                <a:gd name="connsiteX38" fmla="*/ 1872 w 60779"/>
                <a:gd name="connsiteY38" fmla="*/ 14995 h 27899"/>
                <a:gd name="connsiteX39" fmla="*/ 432 w 60779"/>
                <a:gd name="connsiteY39" fmla="*/ 13121 h 27899"/>
                <a:gd name="connsiteX40" fmla="*/ 0 w 60779"/>
                <a:gd name="connsiteY40" fmla="*/ 10958 h 27899"/>
                <a:gd name="connsiteX41" fmla="*/ 792 w 60779"/>
                <a:gd name="connsiteY41" fmla="*/ 8363 h 27899"/>
                <a:gd name="connsiteX42" fmla="*/ 2664 w 60779"/>
                <a:gd name="connsiteY42" fmla="*/ 5623 h 27899"/>
                <a:gd name="connsiteX43" fmla="*/ 7129 w 60779"/>
                <a:gd name="connsiteY43" fmla="*/ 0 h 27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0779" h="27899">
                  <a:moveTo>
                    <a:pt x="7129" y="0"/>
                  </a:moveTo>
                  <a:lnTo>
                    <a:pt x="16635" y="1226"/>
                  </a:lnTo>
                  <a:lnTo>
                    <a:pt x="19804" y="1586"/>
                  </a:lnTo>
                  <a:lnTo>
                    <a:pt x="22540" y="1081"/>
                  </a:lnTo>
                  <a:lnTo>
                    <a:pt x="26213" y="721"/>
                  </a:lnTo>
                  <a:lnTo>
                    <a:pt x="31974" y="1153"/>
                  </a:lnTo>
                  <a:lnTo>
                    <a:pt x="40256" y="1298"/>
                  </a:lnTo>
                  <a:lnTo>
                    <a:pt x="48609" y="865"/>
                  </a:lnTo>
                  <a:lnTo>
                    <a:pt x="51490" y="793"/>
                  </a:lnTo>
                  <a:lnTo>
                    <a:pt x="53938" y="1802"/>
                  </a:lnTo>
                  <a:lnTo>
                    <a:pt x="58259" y="5407"/>
                  </a:lnTo>
                  <a:lnTo>
                    <a:pt x="59699" y="7209"/>
                  </a:lnTo>
                  <a:lnTo>
                    <a:pt x="60563" y="9300"/>
                  </a:lnTo>
                  <a:lnTo>
                    <a:pt x="60779" y="11607"/>
                  </a:lnTo>
                  <a:lnTo>
                    <a:pt x="60203" y="13914"/>
                  </a:lnTo>
                  <a:lnTo>
                    <a:pt x="57683" y="20979"/>
                  </a:lnTo>
                  <a:lnTo>
                    <a:pt x="56243" y="24079"/>
                  </a:lnTo>
                  <a:lnTo>
                    <a:pt x="54154" y="26602"/>
                  </a:lnTo>
                  <a:lnTo>
                    <a:pt x="52930" y="27179"/>
                  </a:lnTo>
                  <a:lnTo>
                    <a:pt x="51490" y="27251"/>
                  </a:lnTo>
                  <a:lnTo>
                    <a:pt x="47961" y="26602"/>
                  </a:lnTo>
                  <a:lnTo>
                    <a:pt x="44288" y="25593"/>
                  </a:lnTo>
                  <a:lnTo>
                    <a:pt x="41120" y="25160"/>
                  </a:lnTo>
                  <a:lnTo>
                    <a:pt x="38815" y="25737"/>
                  </a:lnTo>
                  <a:lnTo>
                    <a:pt x="36799" y="26746"/>
                  </a:lnTo>
                  <a:lnTo>
                    <a:pt x="34711" y="27612"/>
                  </a:lnTo>
                  <a:lnTo>
                    <a:pt x="32334" y="27900"/>
                  </a:lnTo>
                  <a:lnTo>
                    <a:pt x="25565" y="26098"/>
                  </a:lnTo>
                  <a:lnTo>
                    <a:pt x="21748" y="25593"/>
                  </a:lnTo>
                  <a:lnTo>
                    <a:pt x="17355" y="26314"/>
                  </a:lnTo>
                  <a:lnTo>
                    <a:pt x="16203" y="26458"/>
                  </a:lnTo>
                  <a:lnTo>
                    <a:pt x="15123" y="25953"/>
                  </a:lnTo>
                  <a:lnTo>
                    <a:pt x="13971" y="25377"/>
                  </a:lnTo>
                  <a:lnTo>
                    <a:pt x="12746" y="25088"/>
                  </a:lnTo>
                  <a:lnTo>
                    <a:pt x="10082" y="25016"/>
                  </a:lnTo>
                  <a:lnTo>
                    <a:pt x="9074" y="24656"/>
                  </a:lnTo>
                  <a:lnTo>
                    <a:pt x="8570" y="24079"/>
                  </a:lnTo>
                  <a:lnTo>
                    <a:pt x="5329" y="19105"/>
                  </a:lnTo>
                  <a:lnTo>
                    <a:pt x="1872" y="14995"/>
                  </a:lnTo>
                  <a:lnTo>
                    <a:pt x="432" y="13121"/>
                  </a:lnTo>
                  <a:lnTo>
                    <a:pt x="0" y="10958"/>
                  </a:lnTo>
                  <a:lnTo>
                    <a:pt x="792" y="8363"/>
                  </a:lnTo>
                  <a:lnTo>
                    <a:pt x="2664" y="5623"/>
                  </a:lnTo>
                  <a:lnTo>
                    <a:pt x="7129" y="0"/>
                  </a:lnTo>
                </a:path>
              </a:pathLst>
            </a:custGeom>
            <a:solidFill>
              <a:srgbClr val="A9218E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BD867E1D-DAEC-90B1-A43B-807455B97A71}"/>
                </a:ext>
              </a:extLst>
            </p:cNvPr>
            <p:cNvSpPr/>
            <p:nvPr/>
          </p:nvSpPr>
          <p:spPr>
            <a:xfrm>
              <a:off x="9664305" y="3546780"/>
              <a:ext cx="69565" cy="39506"/>
            </a:xfrm>
            <a:custGeom>
              <a:avLst/>
              <a:gdLst>
                <a:gd name="connsiteX0" fmla="*/ 22180 w 69565"/>
                <a:gd name="connsiteY0" fmla="*/ 216 h 39506"/>
                <a:gd name="connsiteX1" fmla="*/ 25709 w 69565"/>
                <a:gd name="connsiteY1" fmla="*/ 0 h 39506"/>
                <a:gd name="connsiteX2" fmla="*/ 29238 w 69565"/>
                <a:gd name="connsiteY2" fmla="*/ 360 h 39506"/>
                <a:gd name="connsiteX3" fmla="*/ 49545 w 69565"/>
                <a:gd name="connsiteY3" fmla="*/ 2379 h 39506"/>
                <a:gd name="connsiteX4" fmla="*/ 55234 w 69565"/>
                <a:gd name="connsiteY4" fmla="*/ 3244 h 39506"/>
                <a:gd name="connsiteX5" fmla="*/ 60635 w 69565"/>
                <a:gd name="connsiteY5" fmla="*/ 4758 h 39506"/>
                <a:gd name="connsiteX6" fmla="*/ 63084 w 69565"/>
                <a:gd name="connsiteY6" fmla="*/ 6272 h 39506"/>
                <a:gd name="connsiteX7" fmla="*/ 65244 w 69565"/>
                <a:gd name="connsiteY7" fmla="*/ 8435 h 39506"/>
                <a:gd name="connsiteX8" fmla="*/ 67045 w 69565"/>
                <a:gd name="connsiteY8" fmla="*/ 11679 h 39506"/>
                <a:gd name="connsiteX9" fmla="*/ 68485 w 69565"/>
                <a:gd name="connsiteY9" fmla="*/ 16005 h 39506"/>
                <a:gd name="connsiteX10" fmla="*/ 69565 w 69565"/>
                <a:gd name="connsiteY10" fmla="*/ 23358 h 39506"/>
                <a:gd name="connsiteX11" fmla="*/ 69205 w 69565"/>
                <a:gd name="connsiteY11" fmla="*/ 27035 h 39506"/>
                <a:gd name="connsiteX12" fmla="*/ 67837 w 69565"/>
                <a:gd name="connsiteY12" fmla="*/ 30423 h 39506"/>
                <a:gd name="connsiteX13" fmla="*/ 65964 w 69565"/>
                <a:gd name="connsiteY13" fmla="*/ 32586 h 39506"/>
                <a:gd name="connsiteX14" fmla="*/ 63516 w 69565"/>
                <a:gd name="connsiteY14" fmla="*/ 34460 h 39506"/>
                <a:gd name="connsiteX15" fmla="*/ 56963 w 69565"/>
                <a:gd name="connsiteY15" fmla="*/ 37272 h 39506"/>
                <a:gd name="connsiteX16" fmla="*/ 39751 w 69565"/>
                <a:gd name="connsiteY16" fmla="*/ 39507 h 39506"/>
                <a:gd name="connsiteX17" fmla="*/ 34278 w 69565"/>
                <a:gd name="connsiteY17" fmla="*/ 38786 h 39506"/>
                <a:gd name="connsiteX18" fmla="*/ 29021 w 69565"/>
                <a:gd name="connsiteY18" fmla="*/ 37272 h 39506"/>
                <a:gd name="connsiteX19" fmla="*/ 23764 w 69565"/>
                <a:gd name="connsiteY19" fmla="*/ 35830 h 39506"/>
                <a:gd name="connsiteX20" fmla="*/ 18652 w 69565"/>
                <a:gd name="connsiteY20" fmla="*/ 35253 h 39506"/>
                <a:gd name="connsiteX21" fmla="*/ 11450 w 69565"/>
                <a:gd name="connsiteY21" fmla="*/ 34388 h 39506"/>
                <a:gd name="connsiteX22" fmla="*/ 6049 w 69565"/>
                <a:gd name="connsiteY22" fmla="*/ 31721 h 39506"/>
                <a:gd name="connsiteX23" fmla="*/ 2448 w 69565"/>
                <a:gd name="connsiteY23" fmla="*/ 27900 h 39506"/>
                <a:gd name="connsiteX24" fmla="*/ 504 w 69565"/>
                <a:gd name="connsiteY24" fmla="*/ 23574 h 39506"/>
                <a:gd name="connsiteX25" fmla="*/ 0 w 69565"/>
                <a:gd name="connsiteY25" fmla="*/ 18816 h 39506"/>
                <a:gd name="connsiteX26" fmla="*/ 1152 w 69565"/>
                <a:gd name="connsiteY26" fmla="*/ 14707 h 39506"/>
                <a:gd name="connsiteX27" fmla="*/ 3529 w 69565"/>
                <a:gd name="connsiteY27" fmla="*/ 11246 h 39506"/>
                <a:gd name="connsiteX28" fmla="*/ 6625 w 69565"/>
                <a:gd name="connsiteY28" fmla="*/ 8507 h 39506"/>
                <a:gd name="connsiteX29" fmla="*/ 13395 w 69565"/>
                <a:gd name="connsiteY29" fmla="*/ 4758 h 39506"/>
                <a:gd name="connsiteX30" fmla="*/ 18003 w 69565"/>
                <a:gd name="connsiteY30" fmla="*/ 3100 h 39506"/>
                <a:gd name="connsiteX31" fmla="*/ 19156 w 69565"/>
                <a:gd name="connsiteY31" fmla="*/ 2523 h 39506"/>
                <a:gd name="connsiteX32" fmla="*/ 19948 w 69565"/>
                <a:gd name="connsiteY32" fmla="*/ 1730 h 39506"/>
                <a:gd name="connsiteX33" fmla="*/ 20812 w 69565"/>
                <a:gd name="connsiteY33" fmla="*/ 865 h 39506"/>
                <a:gd name="connsiteX34" fmla="*/ 22180 w 69565"/>
                <a:gd name="connsiteY34" fmla="*/ 216 h 3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9565" h="39506">
                  <a:moveTo>
                    <a:pt x="22180" y="216"/>
                  </a:moveTo>
                  <a:lnTo>
                    <a:pt x="25709" y="0"/>
                  </a:lnTo>
                  <a:lnTo>
                    <a:pt x="29238" y="360"/>
                  </a:lnTo>
                  <a:lnTo>
                    <a:pt x="49545" y="2379"/>
                  </a:lnTo>
                  <a:lnTo>
                    <a:pt x="55234" y="3244"/>
                  </a:lnTo>
                  <a:lnTo>
                    <a:pt x="60635" y="4758"/>
                  </a:lnTo>
                  <a:lnTo>
                    <a:pt x="63084" y="6272"/>
                  </a:lnTo>
                  <a:lnTo>
                    <a:pt x="65244" y="8435"/>
                  </a:lnTo>
                  <a:lnTo>
                    <a:pt x="67045" y="11679"/>
                  </a:lnTo>
                  <a:lnTo>
                    <a:pt x="68485" y="16005"/>
                  </a:lnTo>
                  <a:lnTo>
                    <a:pt x="69565" y="23358"/>
                  </a:lnTo>
                  <a:lnTo>
                    <a:pt x="69205" y="27035"/>
                  </a:lnTo>
                  <a:lnTo>
                    <a:pt x="67837" y="30423"/>
                  </a:lnTo>
                  <a:lnTo>
                    <a:pt x="65964" y="32586"/>
                  </a:lnTo>
                  <a:lnTo>
                    <a:pt x="63516" y="34460"/>
                  </a:lnTo>
                  <a:lnTo>
                    <a:pt x="56963" y="37272"/>
                  </a:lnTo>
                  <a:lnTo>
                    <a:pt x="39751" y="39507"/>
                  </a:lnTo>
                  <a:lnTo>
                    <a:pt x="34278" y="38786"/>
                  </a:lnTo>
                  <a:lnTo>
                    <a:pt x="29021" y="37272"/>
                  </a:lnTo>
                  <a:lnTo>
                    <a:pt x="23764" y="35830"/>
                  </a:lnTo>
                  <a:lnTo>
                    <a:pt x="18652" y="35253"/>
                  </a:lnTo>
                  <a:lnTo>
                    <a:pt x="11450" y="34388"/>
                  </a:lnTo>
                  <a:lnTo>
                    <a:pt x="6049" y="31721"/>
                  </a:lnTo>
                  <a:lnTo>
                    <a:pt x="2448" y="27900"/>
                  </a:lnTo>
                  <a:lnTo>
                    <a:pt x="504" y="23574"/>
                  </a:lnTo>
                  <a:lnTo>
                    <a:pt x="0" y="18816"/>
                  </a:lnTo>
                  <a:lnTo>
                    <a:pt x="1152" y="14707"/>
                  </a:lnTo>
                  <a:lnTo>
                    <a:pt x="3529" y="11246"/>
                  </a:lnTo>
                  <a:lnTo>
                    <a:pt x="6625" y="8507"/>
                  </a:lnTo>
                  <a:lnTo>
                    <a:pt x="13395" y="4758"/>
                  </a:lnTo>
                  <a:lnTo>
                    <a:pt x="18003" y="3100"/>
                  </a:lnTo>
                  <a:lnTo>
                    <a:pt x="19156" y="2523"/>
                  </a:lnTo>
                  <a:lnTo>
                    <a:pt x="19948" y="1730"/>
                  </a:lnTo>
                  <a:lnTo>
                    <a:pt x="20812" y="865"/>
                  </a:lnTo>
                  <a:lnTo>
                    <a:pt x="22180" y="216"/>
                  </a:lnTo>
                </a:path>
              </a:pathLst>
            </a:custGeom>
            <a:solidFill>
              <a:srgbClr val="353D98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27743211-EBA6-EB3A-097E-60D734C5C6A5}"/>
                </a:ext>
              </a:extLst>
            </p:cNvPr>
            <p:cNvSpPr/>
            <p:nvPr/>
          </p:nvSpPr>
          <p:spPr>
            <a:xfrm>
              <a:off x="9669201" y="3603950"/>
              <a:ext cx="58186" cy="38137"/>
            </a:xfrm>
            <a:custGeom>
              <a:avLst/>
              <a:gdLst>
                <a:gd name="connsiteX0" fmla="*/ 32838 w 58186"/>
                <a:gd name="connsiteY0" fmla="*/ 0 h 38137"/>
                <a:gd name="connsiteX1" fmla="*/ 39463 w 58186"/>
                <a:gd name="connsiteY1" fmla="*/ 577 h 38137"/>
                <a:gd name="connsiteX2" fmla="*/ 46377 w 58186"/>
                <a:gd name="connsiteY2" fmla="*/ 3100 h 38137"/>
                <a:gd name="connsiteX3" fmla="*/ 48393 w 58186"/>
                <a:gd name="connsiteY3" fmla="*/ 5046 h 38137"/>
                <a:gd name="connsiteX4" fmla="*/ 50049 w 58186"/>
                <a:gd name="connsiteY4" fmla="*/ 6560 h 38137"/>
                <a:gd name="connsiteX5" fmla="*/ 53506 w 58186"/>
                <a:gd name="connsiteY5" fmla="*/ 7281 h 38137"/>
                <a:gd name="connsiteX6" fmla="*/ 55162 w 58186"/>
                <a:gd name="connsiteY6" fmla="*/ 7786 h 38137"/>
                <a:gd name="connsiteX7" fmla="*/ 56243 w 58186"/>
                <a:gd name="connsiteY7" fmla="*/ 8723 h 38137"/>
                <a:gd name="connsiteX8" fmla="*/ 58043 w 58186"/>
                <a:gd name="connsiteY8" fmla="*/ 16653 h 38137"/>
                <a:gd name="connsiteX9" fmla="*/ 58187 w 58186"/>
                <a:gd name="connsiteY9" fmla="*/ 21700 h 38137"/>
                <a:gd name="connsiteX10" fmla="*/ 57395 w 58186"/>
                <a:gd name="connsiteY10" fmla="*/ 25881 h 38137"/>
                <a:gd name="connsiteX11" fmla="*/ 55882 w 58186"/>
                <a:gd name="connsiteY11" fmla="*/ 28477 h 38137"/>
                <a:gd name="connsiteX12" fmla="*/ 53722 w 58186"/>
                <a:gd name="connsiteY12" fmla="*/ 30784 h 38137"/>
                <a:gd name="connsiteX13" fmla="*/ 48033 w 58186"/>
                <a:gd name="connsiteY13" fmla="*/ 34388 h 38137"/>
                <a:gd name="connsiteX14" fmla="*/ 40904 w 58186"/>
                <a:gd name="connsiteY14" fmla="*/ 36767 h 38137"/>
                <a:gd name="connsiteX15" fmla="*/ 32910 w 58186"/>
                <a:gd name="connsiteY15" fmla="*/ 37993 h 38137"/>
                <a:gd name="connsiteX16" fmla="*/ 24701 w 58186"/>
                <a:gd name="connsiteY16" fmla="*/ 38137 h 38137"/>
                <a:gd name="connsiteX17" fmla="*/ 16851 w 58186"/>
                <a:gd name="connsiteY17" fmla="*/ 37200 h 38137"/>
                <a:gd name="connsiteX18" fmla="*/ 9938 w 58186"/>
                <a:gd name="connsiteY18" fmla="*/ 35398 h 38137"/>
                <a:gd name="connsiteX19" fmla="*/ 4681 w 58186"/>
                <a:gd name="connsiteY19" fmla="*/ 32730 h 38137"/>
                <a:gd name="connsiteX20" fmla="*/ 3025 w 58186"/>
                <a:gd name="connsiteY20" fmla="*/ 31144 h 38137"/>
                <a:gd name="connsiteX21" fmla="*/ 1872 w 58186"/>
                <a:gd name="connsiteY21" fmla="*/ 29270 h 38137"/>
                <a:gd name="connsiteX22" fmla="*/ 432 w 58186"/>
                <a:gd name="connsiteY22" fmla="*/ 25016 h 38137"/>
                <a:gd name="connsiteX23" fmla="*/ 0 w 58186"/>
                <a:gd name="connsiteY23" fmla="*/ 20330 h 38137"/>
                <a:gd name="connsiteX24" fmla="*/ 936 w 58186"/>
                <a:gd name="connsiteY24" fmla="*/ 16221 h 38137"/>
                <a:gd name="connsiteX25" fmla="*/ 3097 w 58186"/>
                <a:gd name="connsiteY25" fmla="*/ 12688 h 38137"/>
                <a:gd name="connsiteX26" fmla="*/ 5977 w 58186"/>
                <a:gd name="connsiteY26" fmla="*/ 9733 h 38137"/>
                <a:gd name="connsiteX27" fmla="*/ 13106 w 58186"/>
                <a:gd name="connsiteY27" fmla="*/ 5623 h 38137"/>
                <a:gd name="connsiteX28" fmla="*/ 19732 w 58186"/>
                <a:gd name="connsiteY28" fmla="*/ 3821 h 38137"/>
                <a:gd name="connsiteX29" fmla="*/ 26429 w 58186"/>
                <a:gd name="connsiteY29" fmla="*/ 1802 h 38137"/>
                <a:gd name="connsiteX30" fmla="*/ 32838 w 58186"/>
                <a:gd name="connsiteY30" fmla="*/ 0 h 3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8186" h="38137">
                  <a:moveTo>
                    <a:pt x="32838" y="0"/>
                  </a:moveTo>
                  <a:lnTo>
                    <a:pt x="39463" y="577"/>
                  </a:lnTo>
                  <a:lnTo>
                    <a:pt x="46377" y="3100"/>
                  </a:lnTo>
                  <a:lnTo>
                    <a:pt x="48393" y="5046"/>
                  </a:lnTo>
                  <a:lnTo>
                    <a:pt x="50049" y="6560"/>
                  </a:lnTo>
                  <a:lnTo>
                    <a:pt x="53506" y="7281"/>
                  </a:lnTo>
                  <a:lnTo>
                    <a:pt x="55162" y="7786"/>
                  </a:lnTo>
                  <a:lnTo>
                    <a:pt x="56243" y="8723"/>
                  </a:lnTo>
                  <a:lnTo>
                    <a:pt x="58043" y="16653"/>
                  </a:lnTo>
                  <a:lnTo>
                    <a:pt x="58187" y="21700"/>
                  </a:lnTo>
                  <a:lnTo>
                    <a:pt x="57395" y="25881"/>
                  </a:lnTo>
                  <a:lnTo>
                    <a:pt x="55882" y="28477"/>
                  </a:lnTo>
                  <a:lnTo>
                    <a:pt x="53722" y="30784"/>
                  </a:lnTo>
                  <a:lnTo>
                    <a:pt x="48033" y="34388"/>
                  </a:lnTo>
                  <a:lnTo>
                    <a:pt x="40904" y="36767"/>
                  </a:lnTo>
                  <a:lnTo>
                    <a:pt x="32910" y="37993"/>
                  </a:lnTo>
                  <a:lnTo>
                    <a:pt x="24701" y="38137"/>
                  </a:lnTo>
                  <a:lnTo>
                    <a:pt x="16851" y="37200"/>
                  </a:lnTo>
                  <a:lnTo>
                    <a:pt x="9938" y="35398"/>
                  </a:lnTo>
                  <a:lnTo>
                    <a:pt x="4681" y="32730"/>
                  </a:lnTo>
                  <a:lnTo>
                    <a:pt x="3025" y="31144"/>
                  </a:lnTo>
                  <a:lnTo>
                    <a:pt x="1872" y="29270"/>
                  </a:lnTo>
                  <a:lnTo>
                    <a:pt x="432" y="25016"/>
                  </a:lnTo>
                  <a:lnTo>
                    <a:pt x="0" y="20330"/>
                  </a:lnTo>
                  <a:lnTo>
                    <a:pt x="936" y="16221"/>
                  </a:lnTo>
                  <a:lnTo>
                    <a:pt x="3097" y="12688"/>
                  </a:lnTo>
                  <a:lnTo>
                    <a:pt x="5977" y="9733"/>
                  </a:lnTo>
                  <a:lnTo>
                    <a:pt x="13106" y="5623"/>
                  </a:lnTo>
                  <a:lnTo>
                    <a:pt x="19732" y="3821"/>
                  </a:lnTo>
                  <a:lnTo>
                    <a:pt x="26429" y="1802"/>
                  </a:lnTo>
                  <a:lnTo>
                    <a:pt x="32838" y="0"/>
                  </a:lnTo>
                </a:path>
              </a:pathLst>
            </a:custGeom>
            <a:solidFill>
              <a:srgbClr val="002E56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6883580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usiness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hape&#10;&#10;Description automatically generated">
            <a:extLst>
              <a:ext uri="{FF2B5EF4-FFF2-40B4-BE49-F238E27FC236}">
                <a16:creationId xmlns:a16="http://schemas.microsoft.com/office/drawing/2014/main" xmlns="" id="{9C11295A-6D93-1BB8-0BEE-926D75611E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30269DC-591D-B944-A479-80E360E756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4404" y="3834884"/>
            <a:ext cx="5133724" cy="658717"/>
          </a:xfrm>
        </p:spPr>
        <p:txBody>
          <a:bodyPr lIns="91440" tIns="45720" rIns="91440" bIns="45720">
            <a:noAutofit/>
          </a:bodyPr>
          <a:lstStyle>
            <a:lvl1pPr marL="0" indent="0" algn="r">
              <a:buNone/>
              <a:defRPr sz="2400" b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(Arial 24pt)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2F7201-0FDA-CE47-A9F3-7594A2B9A9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4404" y="2574295"/>
            <a:ext cx="5133724" cy="1237410"/>
          </a:xfrm>
        </p:spPr>
        <p:txBody>
          <a:bodyPr lIns="91440" tIns="45720" rIns="91440" bIns="45720" anchor="b">
            <a:noAutofit/>
          </a:bodyPr>
          <a:lstStyle>
            <a:lvl1pPr algn="r">
              <a:defRPr sz="4000" b="0" i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40pt)</a:t>
            </a:r>
            <a:endParaRPr lang="x-none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BC3042B1-0A53-D275-A5C1-7DD1B4899A8F}"/>
              </a:ext>
            </a:extLst>
          </p:cNvPr>
          <p:cNvGrpSpPr/>
          <p:nvPr userDrawn="1"/>
        </p:nvGrpSpPr>
        <p:grpSpPr>
          <a:xfrm>
            <a:off x="9387557" y="3323005"/>
            <a:ext cx="2184530" cy="319082"/>
            <a:chOff x="9387557" y="3323005"/>
            <a:chExt cx="2184530" cy="319082"/>
          </a:xfrm>
        </p:grpSpPr>
        <p:grpSp>
          <p:nvGrpSpPr>
            <p:cNvPr id="6" name="Picture 7">
              <a:extLst>
                <a:ext uri="{FF2B5EF4-FFF2-40B4-BE49-F238E27FC236}">
                  <a16:creationId xmlns:a16="http://schemas.microsoft.com/office/drawing/2014/main" xmlns="" id="{88C9938E-3EF1-BF1A-E048-9B965472FDAA}"/>
                </a:ext>
              </a:extLst>
            </p:cNvPr>
            <p:cNvGrpSpPr/>
            <p:nvPr/>
          </p:nvGrpSpPr>
          <p:grpSpPr>
            <a:xfrm>
              <a:off x="9387557" y="3323005"/>
              <a:ext cx="2184530" cy="314756"/>
              <a:chOff x="9387557" y="3323005"/>
              <a:chExt cx="2184530" cy="314756"/>
            </a:xfrm>
            <a:solidFill>
              <a:srgbClr val="28509C"/>
            </a:solidFill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72AFB5D7-403F-93B1-6DF8-1D1225645DB8}"/>
                  </a:ext>
                </a:extLst>
              </p:cNvPr>
              <p:cNvSpPr/>
              <p:nvPr/>
            </p:nvSpPr>
            <p:spPr>
              <a:xfrm>
                <a:off x="10500022" y="3323005"/>
                <a:ext cx="270122" cy="308340"/>
              </a:xfrm>
              <a:custGeom>
                <a:avLst/>
                <a:gdLst>
                  <a:gd name="connsiteX0" fmla="*/ 135025 w 270122"/>
                  <a:gd name="connsiteY0" fmla="*/ 0 h 308340"/>
                  <a:gd name="connsiteX1" fmla="*/ 0 w 270122"/>
                  <a:gd name="connsiteY1" fmla="*/ 308341 h 308340"/>
                  <a:gd name="connsiteX2" fmla="*/ 28949 w 270122"/>
                  <a:gd name="connsiteY2" fmla="*/ 308341 h 308340"/>
                  <a:gd name="connsiteX3" fmla="*/ 76262 w 270122"/>
                  <a:gd name="connsiteY3" fmla="*/ 200274 h 308340"/>
                  <a:gd name="connsiteX4" fmla="*/ 193933 w 270122"/>
                  <a:gd name="connsiteY4" fmla="*/ 200274 h 308340"/>
                  <a:gd name="connsiteX5" fmla="*/ 241533 w 270122"/>
                  <a:gd name="connsiteY5" fmla="*/ 308341 h 308340"/>
                  <a:gd name="connsiteX6" fmla="*/ 270123 w 270122"/>
                  <a:gd name="connsiteY6" fmla="*/ 308341 h 308340"/>
                  <a:gd name="connsiteX7" fmla="*/ 135025 w 270122"/>
                  <a:gd name="connsiteY7" fmla="*/ 0 h 308340"/>
                  <a:gd name="connsiteX8" fmla="*/ 87640 w 270122"/>
                  <a:gd name="connsiteY8" fmla="*/ 174104 h 308340"/>
                  <a:gd name="connsiteX9" fmla="*/ 134809 w 270122"/>
                  <a:gd name="connsiteY9" fmla="*/ 66181 h 308340"/>
                  <a:gd name="connsiteX10" fmla="*/ 182338 w 270122"/>
                  <a:gd name="connsiteY10" fmla="*/ 174104 h 308340"/>
                  <a:gd name="connsiteX11" fmla="*/ 87568 w 270122"/>
                  <a:gd name="connsiteY11" fmla="*/ 174104 h 30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0122" h="308340">
                    <a:moveTo>
                      <a:pt x="135025" y="0"/>
                    </a:moveTo>
                    <a:lnTo>
                      <a:pt x="0" y="308341"/>
                    </a:lnTo>
                    <a:lnTo>
                      <a:pt x="28949" y="308341"/>
                    </a:lnTo>
                    <a:lnTo>
                      <a:pt x="76262" y="200274"/>
                    </a:lnTo>
                    <a:lnTo>
                      <a:pt x="193933" y="200274"/>
                    </a:lnTo>
                    <a:lnTo>
                      <a:pt x="241533" y="308341"/>
                    </a:lnTo>
                    <a:lnTo>
                      <a:pt x="270123" y="308341"/>
                    </a:lnTo>
                    <a:lnTo>
                      <a:pt x="135025" y="0"/>
                    </a:lnTo>
                    <a:close/>
                    <a:moveTo>
                      <a:pt x="87640" y="174104"/>
                    </a:moveTo>
                    <a:lnTo>
                      <a:pt x="134809" y="66181"/>
                    </a:lnTo>
                    <a:lnTo>
                      <a:pt x="182338" y="174104"/>
                    </a:lnTo>
                    <a:lnTo>
                      <a:pt x="87568" y="174104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xmlns="" id="{009FBF69-DAFA-CD34-B5FF-24D7B3522197}"/>
                  </a:ext>
                </a:extLst>
              </p:cNvPr>
              <p:cNvSpPr/>
              <p:nvPr/>
            </p:nvSpPr>
            <p:spPr>
              <a:xfrm>
                <a:off x="11126107" y="3329421"/>
                <a:ext cx="26140" cy="301852"/>
              </a:xfrm>
              <a:custGeom>
                <a:avLst/>
                <a:gdLst>
                  <a:gd name="connsiteX0" fmla="*/ 0 w 26140"/>
                  <a:gd name="connsiteY0" fmla="*/ 0 h 301852"/>
                  <a:gd name="connsiteX1" fmla="*/ 26141 w 26140"/>
                  <a:gd name="connsiteY1" fmla="*/ 0 h 301852"/>
                  <a:gd name="connsiteX2" fmla="*/ 26141 w 26140"/>
                  <a:gd name="connsiteY2" fmla="*/ 301852 h 301852"/>
                  <a:gd name="connsiteX3" fmla="*/ 0 w 26140"/>
                  <a:gd name="connsiteY3" fmla="*/ 301852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40" h="301852">
                    <a:moveTo>
                      <a:pt x="0" y="0"/>
                    </a:moveTo>
                    <a:lnTo>
                      <a:pt x="26141" y="0"/>
                    </a:lnTo>
                    <a:lnTo>
                      <a:pt x="26141" y="301852"/>
                    </a:lnTo>
                    <a:lnTo>
                      <a:pt x="0" y="30185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76143C68-44F3-F616-7C61-F22263C8F40D}"/>
                  </a:ext>
                </a:extLst>
              </p:cNvPr>
              <p:cNvSpPr/>
              <p:nvPr/>
            </p:nvSpPr>
            <p:spPr>
              <a:xfrm>
                <a:off x="10168471" y="3323509"/>
                <a:ext cx="276820" cy="307763"/>
              </a:xfrm>
              <a:custGeom>
                <a:avLst/>
                <a:gdLst>
                  <a:gd name="connsiteX0" fmla="*/ 137762 w 276820"/>
                  <a:gd name="connsiteY0" fmla="*/ 139139 h 307763"/>
                  <a:gd name="connsiteX1" fmla="*/ 0 w 276820"/>
                  <a:gd name="connsiteY1" fmla="*/ 144 h 307763"/>
                  <a:gd name="connsiteX2" fmla="*/ 144 w 276820"/>
                  <a:gd name="connsiteY2" fmla="*/ 307764 h 307763"/>
                  <a:gd name="connsiteX3" fmla="*/ 26285 w 276820"/>
                  <a:gd name="connsiteY3" fmla="*/ 307764 h 307763"/>
                  <a:gd name="connsiteX4" fmla="*/ 26285 w 276820"/>
                  <a:gd name="connsiteY4" fmla="*/ 63946 h 307763"/>
                  <a:gd name="connsiteX5" fmla="*/ 137474 w 276820"/>
                  <a:gd name="connsiteY5" fmla="*/ 176555 h 307763"/>
                  <a:gd name="connsiteX6" fmla="*/ 250679 w 276820"/>
                  <a:gd name="connsiteY6" fmla="*/ 63370 h 307763"/>
                  <a:gd name="connsiteX7" fmla="*/ 250679 w 276820"/>
                  <a:gd name="connsiteY7" fmla="*/ 307764 h 307763"/>
                  <a:gd name="connsiteX8" fmla="*/ 276820 w 276820"/>
                  <a:gd name="connsiteY8" fmla="*/ 307764 h 307763"/>
                  <a:gd name="connsiteX9" fmla="*/ 276820 w 276820"/>
                  <a:gd name="connsiteY9" fmla="*/ 0 h 307763"/>
                  <a:gd name="connsiteX10" fmla="*/ 137762 w 276820"/>
                  <a:gd name="connsiteY10" fmla="*/ 139139 h 30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6820" h="307763">
                    <a:moveTo>
                      <a:pt x="137762" y="139139"/>
                    </a:moveTo>
                    <a:lnTo>
                      <a:pt x="0" y="144"/>
                    </a:lnTo>
                    <a:lnTo>
                      <a:pt x="144" y="307764"/>
                    </a:lnTo>
                    <a:lnTo>
                      <a:pt x="26285" y="307764"/>
                    </a:lnTo>
                    <a:lnTo>
                      <a:pt x="26285" y="63946"/>
                    </a:lnTo>
                    <a:lnTo>
                      <a:pt x="137474" y="176555"/>
                    </a:lnTo>
                    <a:lnTo>
                      <a:pt x="250679" y="63370"/>
                    </a:lnTo>
                    <a:lnTo>
                      <a:pt x="250679" y="307764"/>
                    </a:lnTo>
                    <a:lnTo>
                      <a:pt x="276820" y="307764"/>
                    </a:lnTo>
                    <a:lnTo>
                      <a:pt x="276820" y="0"/>
                    </a:lnTo>
                    <a:lnTo>
                      <a:pt x="137762" y="13913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B0DFE49A-FE28-5A87-30B5-D875C0BD1100}"/>
                  </a:ext>
                </a:extLst>
              </p:cNvPr>
              <p:cNvSpPr/>
              <p:nvPr/>
            </p:nvSpPr>
            <p:spPr>
              <a:xfrm>
                <a:off x="11259260" y="3324302"/>
                <a:ext cx="228210" cy="313459"/>
              </a:xfrm>
              <a:custGeom>
                <a:avLst/>
                <a:gdLst>
                  <a:gd name="connsiteX0" fmla="*/ 201998 w 228210"/>
                  <a:gd name="connsiteY0" fmla="*/ 5119 h 313459"/>
                  <a:gd name="connsiteX1" fmla="*/ 201998 w 228210"/>
                  <a:gd name="connsiteY1" fmla="*/ 240213 h 313459"/>
                  <a:gd name="connsiteX2" fmla="*/ 0 w 228210"/>
                  <a:gd name="connsiteY2" fmla="*/ 0 h 313459"/>
                  <a:gd name="connsiteX3" fmla="*/ 0 w 228210"/>
                  <a:gd name="connsiteY3" fmla="*/ 41814 h 313459"/>
                  <a:gd name="connsiteX4" fmla="*/ 0 w 228210"/>
                  <a:gd name="connsiteY4" fmla="*/ 306971 h 313459"/>
                  <a:gd name="connsiteX5" fmla="*/ 26141 w 228210"/>
                  <a:gd name="connsiteY5" fmla="*/ 306971 h 313459"/>
                  <a:gd name="connsiteX6" fmla="*/ 26141 w 228210"/>
                  <a:gd name="connsiteY6" fmla="*/ 72958 h 313459"/>
                  <a:gd name="connsiteX7" fmla="*/ 228211 w 228210"/>
                  <a:gd name="connsiteY7" fmla="*/ 313459 h 313459"/>
                  <a:gd name="connsiteX8" fmla="*/ 228211 w 228210"/>
                  <a:gd name="connsiteY8" fmla="*/ 5119 h 313459"/>
                  <a:gd name="connsiteX9" fmla="*/ 201998 w 228210"/>
                  <a:gd name="connsiteY9" fmla="*/ 5119 h 31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210" h="313459">
                    <a:moveTo>
                      <a:pt x="201998" y="5119"/>
                    </a:moveTo>
                    <a:lnTo>
                      <a:pt x="201998" y="240213"/>
                    </a:lnTo>
                    <a:lnTo>
                      <a:pt x="0" y="0"/>
                    </a:lnTo>
                    <a:lnTo>
                      <a:pt x="0" y="41814"/>
                    </a:lnTo>
                    <a:lnTo>
                      <a:pt x="0" y="306971"/>
                    </a:lnTo>
                    <a:lnTo>
                      <a:pt x="26141" y="306971"/>
                    </a:lnTo>
                    <a:lnTo>
                      <a:pt x="26141" y="72958"/>
                    </a:lnTo>
                    <a:lnTo>
                      <a:pt x="228211" y="313459"/>
                    </a:lnTo>
                    <a:lnTo>
                      <a:pt x="228211" y="5119"/>
                    </a:lnTo>
                    <a:lnTo>
                      <a:pt x="201998" y="511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81A10087-1EC7-39BE-9611-FFC8104E72C6}"/>
                  </a:ext>
                </a:extLst>
              </p:cNvPr>
              <p:cNvSpPr/>
              <p:nvPr/>
            </p:nvSpPr>
            <p:spPr>
              <a:xfrm>
                <a:off x="10827179" y="3329637"/>
                <a:ext cx="218993" cy="301780"/>
              </a:xfrm>
              <a:custGeom>
                <a:avLst/>
                <a:gdLst>
                  <a:gd name="connsiteX0" fmla="*/ 189468 w 218993"/>
                  <a:gd name="connsiteY0" fmla="*/ 301780 h 301780"/>
                  <a:gd name="connsiteX1" fmla="*/ 218993 w 218993"/>
                  <a:gd name="connsiteY1" fmla="*/ 301780 h 301780"/>
                  <a:gd name="connsiteX2" fmla="*/ 146692 w 218993"/>
                  <a:gd name="connsiteY2" fmla="*/ 160478 h 301780"/>
                  <a:gd name="connsiteX3" fmla="*/ 206319 w 218993"/>
                  <a:gd name="connsiteY3" fmla="*/ 89467 h 301780"/>
                  <a:gd name="connsiteX4" fmla="*/ 206391 w 218993"/>
                  <a:gd name="connsiteY4" fmla="*/ 89467 h 301780"/>
                  <a:gd name="connsiteX5" fmla="*/ 206391 w 218993"/>
                  <a:gd name="connsiteY5" fmla="*/ 87809 h 301780"/>
                  <a:gd name="connsiteX6" fmla="*/ 206679 w 218993"/>
                  <a:gd name="connsiteY6" fmla="*/ 82979 h 301780"/>
                  <a:gd name="connsiteX7" fmla="*/ 206391 w 218993"/>
                  <a:gd name="connsiteY7" fmla="*/ 82979 h 301780"/>
                  <a:gd name="connsiteX8" fmla="*/ 206391 w 218993"/>
                  <a:gd name="connsiteY8" fmla="*/ 80167 h 301780"/>
                  <a:gd name="connsiteX9" fmla="*/ 206679 w 218993"/>
                  <a:gd name="connsiteY9" fmla="*/ 80167 h 301780"/>
                  <a:gd name="connsiteX10" fmla="*/ 206391 w 218993"/>
                  <a:gd name="connsiteY10" fmla="*/ 75265 h 301780"/>
                  <a:gd name="connsiteX11" fmla="*/ 206391 w 218993"/>
                  <a:gd name="connsiteY11" fmla="*/ 75265 h 301780"/>
                  <a:gd name="connsiteX12" fmla="*/ 126600 w 218993"/>
                  <a:gd name="connsiteY12" fmla="*/ 0 h 301780"/>
                  <a:gd name="connsiteX13" fmla="*/ 0 w 218993"/>
                  <a:gd name="connsiteY13" fmla="*/ 0 h 301780"/>
                  <a:gd name="connsiteX14" fmla="*/ 0 w 218993"/>
                  <a:gd name="connsiteY14" fmla="*/ 301708 h 301780"/>
                  <a:gd name="connsiteX15" fmla="*/ 26141 w 218993"/>
                  <a:gd name="connsiteY15" fmla="*/ 301708 h 301780"/>
                  <a:gd name="connsiteX16" fmla="*/ 26141 w 218993"/>
                  <a:gd name="connsiteY16" fmla="*/ 163002 h 301780"/>
                  <a:gd name="connsiteX17" fmla="*/ 118390 w 218993"/>
                  <a:gd name="connsiteY17" fmla="*/ 163002 h 301780"/>
                  <a:gd name="connsiteX18" fmla="*/ 189468 w 218993"/>
                  <a:gd name="connsiteY18" fmla="*/ 301780 h 301780"/>
                  <a:gd name="connsiteX19" fmla="*/ 26141 w 218993"/>
                  <a:gd name="connsiteY19" fmla="*/ 26242 h 301780"/>
                  <a:gd name="connsiteX20" fmla="*/ 126600 w 218993"/>
                  <a:gd name="connsiteY20" fmla="*/ 26242 h 301780"/>
                  <a:gd name="connsiteX21" fmla="*/ 180250 w 218993"/>
                  <a:gd name="connsiteY21" fmla="*/ 79014 h 301780"/>
                  <a:gd name="connsiteX22" fmla="*/ 180250 w 218993"/>
                  <a:gd name="connsiteY22" fmla="*/ 83988 h 301780"/>
                  <a:gd name="connsiteX23" fmla="*/ 126600 w 218993"/>
                  <a:gd name="connsiteY23" fmla="*/ 136688 h 301780"/>
                  <a:gd name="connsiteX24" fmla="*/ 126600 w 218993"/>
                  <a:gd name="connsiteY24" fmla="*/ 136688 h 301780"/>
                  <a:gd name="connsiteX25" fmla="*/ 26141 w 218993"/>
                  <a:gd name="connsiteY25" fmla="*/ 136760 h 301780"/>
                  <a:gd name="connsiteX26" fmla="*/ 26141 w 218993"/>
                  <a:gd name="connsiteY26" fmla="*/ 26242 h 301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8993" h="301780">
                    <a:moveTo>
                      <a:pt x="189468" y="301780"/>
                    </a:moveTo>
                    <a:lnTo>
                      <a:pt x="218993" y="301780"/>
                    </a:lnTo>
                    <a:cubicBezTo>
                      <a:pt x="218993" y="301780"/>
                      <a:pt x="146692" y="160478"/>
                      <a:pt x="146692" y="160478"/>
                    </a:cubicBezTo>
                    <a:cubicBezTo>
                      <a:pt x="179098" y="152044"/>
                      <a:pt x="203582" y="123855"/>
                      <a:pt x="206319" y="89467"/>
                    </a:cubicBezTo>
                    <a:lnTo>
                      <a:pt x="206391" y="89467"/>
                    </a:lnTo>
                    <a:lnTo>
                      <a:pt x="206391" y="87809"/>
                    </a:lnTo>
                    <a:cubicBezTo>
                      <a:pt x="206463" y="86223"/>
                      <a:pt x="206679" y="84565"/>
                      <a:pt x="206679" y="82979"/>
                    </a:cubicBezTo>
                    <a:lnTo>
                      <a:pt x="206391" y="82979"/>
                    </a:lnTo>
                    <a:lnTo>
                      <a:pt x="206391" y="80167"/>
                    </a:lnTo>
                    <a:lnTo>
                      <a:pt x="206679" y="80167"/>
                    </a:lnTo>
                    <a:cubicBezTo>
                      <a:pt x="206679" y="78509"/>
                      <a:pt x="206535" y="76923"/>
                      <a:pt x="206391" y="75265"/>
                    </a:cubicBezTo>
                    <a:lnTo>
                      <a:pt x="206391" y="75265"/>
                    </a:lnTo>
                    <a:cubicBezTo>
                      <a:pt x="203798" y="33235"/>
                      <a:pt x="169160" y="0"/>
                      <a:pt x="126600" y="0"/>
                    </a:cubicBezTo>
                    <a:lnTo>
                      <a:pt x="0" y="0"/>
                    </a:lnTo>
                    <a:lnTo>
                      <a:pt x="0" y="301708"/>
                    </a:lnTo>
                    <a:lnTo>
                      <a:pt x="26141" y="301708"/>
                    </a:lnTo>
                    <a:lnTo>
                      <a:pt x="26141" y="163002"/>
                    </a:lnTo>
                    <a:lnTo>
                      <a:pt x="118390" y="163002"/>
                    </a:lnTo>
                    <a:lnTo>
                      <a:pt x="189468" y="301780"/>
                    </a:lnTo>
                    <a:close/>
                    <a:moveTo>
                      <a:pt x="26141" y="26242"/>
                    </a:moveTo>
                    <a:lnTo>
                      <a:pt x="126600" y="26242"/>
                    </a:lnTo>
                    <a:cubicBezTo>
                      <a:pt x="155909" y="26242"/>
                      <a:pt x="179674" y="49816"/>
                      <a:pt x="180250" y="79014"/>
                    </a:cubicBezTo>
                    <a:lnTo>
                      <a:pt x="180250" y="83988"/>
                    </a:lnTo>
                    <a:cubicBezTo>
                      <a:pt x="179674" y="113186"/>
                      <a:pt x="155909" y="136688"/>
                      <a:pt x="126600" y="136688"/>
                    </a:cubicBezTo>
                    <a:lnTo>
                      <a:pt x="126600" y="136688"/>
                    </a:lnTo>
                    <a:cubicBezTo>
                      <a:pt x="126600" y="136688"/>
                      <a:pt x="26141" y="136760"/>
                      <a:pt x="26141" y="136760"/>
                    </a:cubicBezTo>
                    <a:lnTo>
                      <a:pt x="26141" y="2624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23F00D43-4C1F-AF5C-90B7-2EE339E4AEFE}"/>
                  </a:ext>
                </a:extLst>
              </p:cNvPr>
              <p:cNvSpPr/>
              <p:nvPr/>
            </p:nvSpPr>
            <p:spPr>
              <a:xfrm>
                <a:off x="9387557" y="3329493"/>
                <a:ext cx="212944" cy="301852"/>
              </a:xfrm>
              <a:custGeom>
                <a:avLst/>
                <a:gdLst>
                  <a:gd name="connsiteX0" fmla="*/ 212656 w 212944"/>
                  <a:gd name="connsiteY0" fmla="*/ 212818 h 301852"/>
                  <a:gd name="connsiteX1" fmla="*/ 201422 w 212944"/>
                  <a:gd name="connsiteY1" fmla="*/ 173455 h 301852"/>
                  <a:gd name="connsiteX2" fmla="*/ 174273 w 212944"/>
                  <a:gd name="connsiteY2" fmla="*/ 147358 h 301852"/>
                  <a:gd name="connsiteX3" fmla="*/ 206247 w 212944"/>
                  <a:gd name="connsiteY3" fmla="*/ 89539 h 301852"/>
                  <a:gd name="connsiteX4" fmla="*/ 206319 w 212944"/>
                  <a:gd name="connsiteY4" fmla="*/ 89539 h 301852"/>
                  <a:gd name="connsiteX5" fmla="*/ 206319 w 212944"/>
                  <a:gd name="connsiteY5" fmla="*/ 87881 h 301852"/>
                  <a:gd name="connsiteX6" fmla="*/ 206535 w 212944"/>
                  <a:gd name="connsiteY6" fmla="*/ 83051 h 301852"/>
                  <a:gd name="connsiteX7" fmla="*/ 206319 w 212944"/>
                  <a:gd name="connsiteY7" fmla="*/ 83051 h 301852"/>
                  <a:gd name="connsiteX8" fmla="*/ 206319 w 212944"/>
                  <a:gd name="connsiteY8" fmla="*/ 80239 h 301852"/>
                  <a:gd name="connsiteX9" fmla="*/ 206535 w 212944"/>
                  <a:gd name="connsiteY9" fmla="*/ 80239 h 301852"/>
                  <a:gd name="connsiteX10" fmla="*/ 206319 w 212944"/>
                  <a:gd name="connsiteY10" fmla="*/ 75337 h 301852"/>
                  <a:gd name="connsiteX11" fmla="*/ 206319 w 212944"/>
                  <a:gd name="connsiteY11" fmla="*/ 75337 h 301852"/>
                  <a:gd name="connsiteX12" fmla="*/ 206319 w 212944"/>
                  <a:gd name="connsiteY12" fmla="*/ 75265 h 301852"/>
                  <a:gd name="connsiteX13" fmla="*/ 126456 w 212944"/>
                  <a:gd name="connsiteY13" fmla="*/ 72 h 301852"/>
                  <a:gd name="connsiteX14" fmla="*/ 126456 w 212944"/>
                  <a:gd name="connsiteY14" fmla="*/ 216 h 301852"/>
                  <a:gd name="connsiteX15" fmla="*/ 0 w 212944"/>
                  <a:gd name="connsiteY15" fmla="*/ 0 h 301852"/>
                  <a:gd name="connsiteX16" fmla="*/ 0 w 212944"/>
                  <a:gd name="connsiteY16" fmla="*/ 301852 h 301852"/>
                  <a:gd name="connsiteX17" fmla="*/ 131425 w 212944"/>
                  <a:gd name="connsiteY17" fmla="*/ 301852 h 301852"/>
                  <a:gd name="connsiteX18" fmla="*/ 212800 w 212944"/>
                  <a:gd name="connsiteY18" fmla="*/ 221541 h 301852"/>
                  <a:gd name="connsiteX19" fmla="*/ 212944 w 212944"/>
                  <a:gd name="connsiteY19" fmla="*/ 221541 h 301852"/>
                  <a:gd name="connsiteX20" fmla="*/ 212944 w 212944"/>
                  <a:gd name="connsiteY20" fmla="*/ 212818 h 301852"/>
                  <a:gd name="connsiteX21" fmla="*/ 212800 w 212944"/>
                  <a:gd name="connsiteY21" fmla="*/ 212818 h 301852"/>
                  <a:gd name="connsiteX22" fmla="*/ 126528 w 212944"/>
                  <a:gd name="connsiteY22" fmla="*/ 26386 h 301852"/>
                  <a:gd name="connsiteX23" fmla="*/ 126528 w 212944"/>
                  <a:gd name="connsiteY23" fmla="*/ 26386 h 301852"/>
                  <a:gd name="connsiteX24" fmla="*/ 180250 w 212944"/>
                  <a:gd name="connsiteY24" fmla="*/ 79302 h 301852"/>
                  <a:gd name="connsiteX25" fmla="*/ 180250 w 212944"/>
                  <a:gd name="connsiteY25" fmla="*/ 83988 h 301852"/>
                  <a:gd name="connsiteX26" fmla="*/ 126528 w 212944"/>
                  <a:gd name="connsiteY26" fmla="*/ 137048 h 301852"/>
                  <a:gd name="connsiteX27" fmla="*/ 26141 w 212944"/>
                  <a:gd name="connsiteY27" fmla="*/ 137048 h 301852"/>
                  <a:gd name="connsiteX28" fmla="*/ 26141 w 212944"/>
                  <a:gd name="connsiteY28" fmla="*/ 26386 h 301852"/>
                  <a:gd name="connsiteX29" fmla="*/ 126528 w 212944"/>
                  <a:gd name="connsiteY29" fmla="*/ 26386 h 301852"/>
                  <a:gd name="connsiteX30" fmla="*/ 186659 w 212944"/>
                  <a:gd name="connsiteY30" fmla="*/ 220171 h 301852"/>
                  <a:gd name="connsiteX31" fmla="*/ 186443 w 212944"/>
                  <a:gd name="connsiteY31" fmla="*/ 220171 h 301852"/>
                  <a:gd name="connsiteX32" fmla="*/ 130921 w 212944"/>
                  <a:gd name="connsiteY32" fmla="*/ 275755 h 301852"/>
                  <a:gd name="connsiteX33" fmla="*/ 130921 w 212944"/>
                  <a:gd name="connsiteY33" fmla="*/ 275755 h 301852"/>
                  <a:gd name="connsiteX34" fmla="*/ 26141 w 212944"/>
                  <a:gd name="connsiteY34" fmla="*/ 275755 h 301852"/>
                  <a:gd name="connsiteX35" fmla="*/ 26141 w 212944"/>
                  <a:gd name="connsiteY35" fmla="*/ 163362 h 301852"/>
                  <a:gd name="connsiteX36" fmla="*/ 134593 w 212944"/>
                  <a:gd name="connsiteY36" fmla="*/ 163795 h 301852"/>
                  <a:gd name="connsiteX37" fmla="*/ 134593 w 212944"/>
                  <a:gd name="connsiteY37" fmla="*/ 163795 h 301852"/>
                  <a:gd name="connsiteX38" fmla="*/ 179458 w 212944"/>
                  <a:gd name="connsiteY38" fmla="*/ 187946 h 301852"/>
                  <a:gd name="connsiteX39" fmla="*/ 186515 w 212944"/>
                  <a:gd name="connsiteY39" fmla="*/ 214836 h 301852"/>
                  <a:gd name="connsiteX40" fmla="*/ 186731 w 212944"/>
                  <a:gd name="connsiteY40" fmla="*/ 214836 h 301852"/>
                  <a:gd name="connsiteX41" fmla="*/ 186731 w 212944"/>
                  <a:gd name="connsiteY41" fmla="*/ 220171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12944" h="301852">
                    <a:moveTo>
                      <a:pt x="212656" y="212818"/>
                    </a:moveTo>
                    <a:cubicBezTo>
                      <a:pt x="212296" y="198183"/>
                      <a:pt x="208623" y="185134"/>
                      <a:pt x="201422" y="173455"/>
                    </a:cubicBezTo>
                    <a:cubicBezTo>
                      <a:pt x="194509" y="162425"/>
                      <a:pt x="185219" y="153558"/>
                      <a:pt x="174273" y="147358"/>
                    </a:cubicBezTo>
                    <a:cubicBezTo>
                      <a:pt x="192204" y="133948"/>
                      <a:pt x="204374" y="113186"/>
                      <a:pt x="206247" y="89539"/>
                    </a:cubicBezTo>
                    <a:lnTo>
                      <a:pt x="206319" y="89539"/>
                    </a:lnTo>
                    <a:lnTo>
                      <a:pt x="206319" y="87881"/>
                    </a:lnTo>
                    <a:cubicBezTo>
                      <a:pt x="206391" y="86295"/>
                      <a:pt x="206535" y="84637"/>
                      <a:pt x="206535" y="83051"/>
                    </a:cubicBezTo>
                    <a:lnTo>
                      <a:pt x="206319" y="83051"/>
                    </a:lnTo>
                    <a:lnTo>
                      <a:pt x="206319" y="80239"/>
                    </a:lnTo>
                    <a:lnTo>
                      <a:pt x="206535" y="80239"/>
                    </a:lnTo>
                    <a:cubicBezTo>
                      <a:pt x="206535" y="78581"/>
                      <a:pt x="206391" y="76995"/>
                      <a:pt x="206319" y="75337"/>
                    </a:cubicBezTo>
                    <a:lnTo>
                      <a:pt x="206319" y="75337"/>
                    </a:lnTo>
                    <a:cubicBezTo>
                      <a:pt x="206319" y="75337"/>
                      <a:pt x="206319" y="75265"/>
                      <a:pt x="206319" y="75265"/>
                    </a:cubicBezTo>
                    <a:cubicBezTo>
                      <a:pt x="203726" y="33307"/>
                      <a:pt x="169016" y="72"/>
                      <a:pt x="126456" y="72"/>
                    </a:cubicBezTo>
                    <a:lnTo>
                      <a:pt x="126456" y="216"/>
                    </a:lnTo>
                    <a:lnTo>
                      <a:pt x="0" y="0"/>
                    </a:lnTo>
                    <a:lnTo>
                      <a:pt x="0" y="301852"/>
                    </a:lnTo>
                    <a:lnTo>
                      <a:pt x="131425" y="301852"/>
                    </a:lnTo>
                    <a:cubicBezTo>
                      <a:pt x="175857" y="301564"/>
                      <a:pt x="211864" y="265878"/>
                      <a:pt x="212800" y="221541"/>
                    </a:cubicBezTo>
                    <a:lnTo>
                      <a:pt x="212944" y="221541"/>
                    </a:lnTo>
                    <a:lnTo>
                      <a:pt x="212944" y="212818"/>
                    </a:lnTo>
                    <a:lnTo>
                      <a:pt x="212800" y="212818"/>
                    </a:lnTo>
                    <a:close/>
                    <a:moveTo>
                      <a:pt x="126528" y="26386"/>
                    </a:moveTo>
                    <a:lnTo>
                      <a:pt x="126528" y="26386"/>
                    </a:lnTo>
                    <a:cubicBezTo>
                      <a:pt x="155909" y="26386"/>
                      <a:pt x="179746" y="50032"/>
                      <a:pt x="180250" y="79302"/>
                    </a:cubicBezTo>
                    <a:lnTo>
                      <a:pt x="180250" y="83988"/>
                    </a:lnTo>
                    <a:cubicBezTo>
                      <a:pt x="179746" y="113258"/>
                      <a:pt x="155909" y="137048"/>
                      <a:pt x="126528" y="137048"/>
                    </a:cubicBezTo>
                    <a:lnTo>
                      <a:pt x="26141" y="137048"/>
                    </a:lnTo>
                    <a:lnTo>
                      <a:pt x="26141" y="26386"/>
                    </a:lnTo>
                    <a:lnTo>
                      <a:pt x="126528" y="26386"/>
                    </a:lnTo>
                    <a:close/>
                    <a:moveTo>
                      <a:pt x="186659" y="220171"/>
                    </a:moveTo>
                    <a:lnTo>
                      <a:pt x="186443" y="220171"/>
                    </a:lnTo>
                    <a:cubicBezTo>
                      <a:pt x="186443" y="250883"/>
                      <a:pt x="161598" y="275755"/>
                      <a:pt x="130921" y="275755"/>
                    </a:cubicBezTo>
                    <a:lnTo>
                      <a:pt x="130921" y="275755"/>
                    </a:lnTo>
                    <a:cubicBezTo>
                      <a:pt x="130921" y="275755"/>
                      <a:pt x="26141" y="275755"/>
                      <a:pt x="26141" y="275755"/>
                    </a:cubicBezTo>
                    <a:lnTo>
                      <a:pt x="26141" y="163362"/>
                    </a:lnTo>
                    <a:lnTo>
                      <a:pt x="134593" y="163795"/>
                    </a:lnTo>
                    <a:lnTo>
                      <a:pt x="134593" y="163795"/>
                    </a:lnTo>
                    <a:cubicBezTo>
                      <a:pt x="153461" y="163795"/>
                      <a:pt x="169880" y="173095"/>
                      <a:pt x="179458" y="187946"/>
                    </a:cubicBezTo>
                    <a:cubicBezTo>
                      <a:pt x="183490" y="196381"/>
                      <a:pt x="186515" y="204888"/>
                      <a:pt x="186515" y="214836"/>
                    </a:cubicBezTo>
                    <a:lnTo>
                      <a:pt x="186731" y="214836"/>
                    </a:lnTo>
                    <a:lnTo>
                      <a:pt x="186731" y="220171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F05EC72B-BC0A-9DA9-3534-CC1E2F9D8255}"/>
                  </a:ext>
                </a:extLst>
              </p:cNvPr>
              <p:cNvSpPr/>
              <p:nvPr/>
            </p:nvSpPr>
            <p:spPr>
              <a:xfrm>
                <a:off x="9791480" y="3324302"/>
                <a:ext cx="311818" cy="312017"/>
              </a:xfrm>
              <a:custGeom>
                <a:avLst/>
                <a:gdLst>
                  <a:gd name="connsiteX0" fmla="*/ 1368 w 311818"/>
                  <a:gd name="connsiteY0" fmla="*/ 175618 h 312017"/>
                  <a:gd name="connsiteX1" fmla="*/ 155981 w 311818"/>
                  <a:gd name="connsiteY1" fmla="*/ 312017 h 312017"/>
                  <a:gd name="connsiteX2" fmla="*/ 310594 w 311818"/>
                  <a:gd name="connsiteY2" fmla="*/ 175546 h 312017"/>
                  <a:gd name="connsiteX3" fmla="*/ 311819 w 311818"/>
                  <a:gd name="connsiteY3" fmla="*/ 156513 h 312017"/>
                  <a:gd name="connsiteX4" fmla="*/ 310954 w 311818"/>
                  <a:gd name="connsiteY4" fmla="*/ 139499 h 312017"/>
                  <a:gd name="connsiteX5" fmla="*/ 155981 w 311818"/>
                  <a:gd name="connsiteY5" fmla="*/ 0 h 312017"/>
                  <a:gd name="connsiteX6" fmla="*/ 1008 w 311818"/>
                  <a:gd name="connsiteY6" fmla="*/ 139499 h 312017"/>
                  <a:gd name="connsiteX7" fmla="*/ 864 w 311818"/>
                  <a:gd name="connsiteY7" fmla="*/ 139499 h 312017"/>
                  <a:gd name="connsiteX8" fmla="*/ 0 w 311818"/>
                  <a:gd name="connsiteY8" fmla="*/ 156513 h 312017"/>
                  <a:gd name="connsiteX9" fmla="*/ 1224 w 311818"/>
                  <a:gd name="connsiteY9" fmla="*/ 175546 h 312017"/>
                  <a:gd name="connsiteX10" fmla="*/ 155981 w 311818"/>
                  <a:gd name="connsiteY10" fmla="*/ 285487 h 312017"/>
                  <a:gd name="connsiteX11" fmla="*/ 28085 w 311818"/>
                  <a:gd name="connsiteY11" fmla="*/ 175618 h 312017"/>
                  <a:gd name="connsiteX12" fmla="*/ 27941 w 311818"/>
                  <a:gd name="connsiteY12" fmla="*/ 175618 h 312017"/>
                  <a:gd name="connsiteX13" fmla="*/ 26501 w 311818"/>
                  <a:gd name="connsiteY13" fmla="*/ 156513 h 312017"/>
                  <a:gd name="connsiteX14" fmla="*/ 27509 w 311818"/>
                  <a:gd name="connsiteY14" fmla="*/ 140004 h 312017"/>
                  <a:gd name="connsiteX15" fmla="*/ 27581 w 311818"/>
                  <a:gd name="connsiteY15" fmla="*/ 140004 h 312017"/>
                  <a:gd name="connsiteX16" fmla="*/ 155909 w 311818"/>
                  <a:gd name="connsiteY16" fmla="*/ 26530 h 312017"/>
                  <a:gd name="connsiteX17" fmla="*/ 284165 w 311818"/>
                  <a:gd name="connsiteY17" fmla="*/ 139788 h 312017"/>
                  <a:gd name="connsiteX18" fmla="*/ 285246 w 311818"/>
                  <a:gd name="connsiteY18" fmla="*/ 156585 h 312017"/>
                  <a:gd name="connsiteX19" fmla="*/ 283805 w 311818"/>
                  <a:gd name="connsiteY19" fmla="*/ 175906 h 312017"/>
                  <a:gd name="connsiteX20" fmla="*/ 155909 w 311818"/>
                  <a:gd name="connsiteY20" fmla="*/ 285559 h 312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1818" h="312017">
                    <a:moveTo>
                      <a:pt x="1368" y="175618"/>
                    </a:moveTo>
                    <a:cubicBezTo>
                      <a:pt x="11018" y="252541"/>
                      <a:pt x="76550" y="312017"/>
                      <a:pt x="155981" y="312017"/>
                    </a:cubicBezTo>
                    <a:cubicBezTo>
                      <a:pt x="235412" y="312017"/>
                      <a:pt x="300945" y="252469"/>
                      <a:pt x="310594" y="175546"/>
                    </a:cubicBezTo>
                    <a:cubicBezTo>
                      <a:pt x="311315" y="169346"/>
                      <a:pt x="311819" y="162930"/>
                      <a:pt x="311819" y="156513"/>
                    </a:cubicBezTo>
                    <a:cubicBezTo>
                      <a:pt x="311819" y="150602"/>
                      <a:pt x="311603" y="145267"/>
                      <a:pt x="310954" y="139499"/>
                    </a:cubicBezTo>
                    <a:cubicBezTo>
                      <a:pt x="302889" y="60846"/>
                      <a:pt x="236636" y="0"/>
                      <a:pt x="155981" y="0"/>
                    </a:cubicBezTo>
                    <a:cubicBezTo>
                      <a:pt x="75326" y="0"/>
                      <a:pt x="9218" y="61135"/>
                      <a:pt x="1008" y="139499"/>
                    </a:cubicBezTo>
                    <a:lnTo>
                      <a:pt x="864" y="139499"/>
                    </a:lnTo>
                    <a:cubicBezTo>
                      <a:pt x="216" y="145267"/>
                      <a:pt x="0" y="150602"/>
                      <a:pt x="0" y="156513"/>
                    </a:cubicBezTo>
                    <a:cubicBezTo>
                      <a:pt x="0" y="162930"/>
                      <a:pt x="432" y="169346"/>
                      <a:pt x="1224" y="175546"/>
                    </a:cubicBezTo>
                    <a:moveTo>
                      <a:pt x="155981" y="285487"/>
                    </a:moveTo>
                    <a:cubicBezTo>
                      <a:pt x="91169" y="285487"/>
                      <a:pt x="37519" y="237834"/>
                      <a:pt x="28085" y="175618"/>
                    </a:cubicBezTo>
                    <a:lnTo>
                      <a:pt x="27941" y="175618"/>
                    </a:lnTo>
                    <a:cubicBezTo>
                      <a:pt x="27005" y="169346"/>
                      <a:pt x="26501" y="163074"/>
                      <a:pt x="26501" y="156513"/>
                    </a:cubicBezTo>
                    <a:cubicBezTo>
                      <a:pt x="26501" y="150818"/>
                      <a:pt x="26789" y="145483"/>
                      <a:pt x="27509" y="140004"/>
                    </a:cubicBezTo>
                    <a:lnTo>
                      <a:pt x="27581" y="140004"/>
                    </a:lnTo>
                    <a:cubicBezTo>
                      <a:pt x="35431" y="76058"/>
                      <a:pt x="89873" y="26530"/>
                      <a:pt x="155909" y="26530"/>
                    </a:cubicBezTo>
                    <a:cubicBezTo>
                      <a:pt x="221946" y="26530"/>
                      <a:pt x="276316" y="75769"/>
                      <a:pt x="284165" y="139788"/>
                    </a:cubicBezTo>
                    <a:cubicBezTo>
                      <a:pt x="284886" y="145411"/>
                      <a:pt x="285246" y="150818"/>
                      <a:pt x="285246" y="156585"/>
                    </a:cubicBezTo>
                    <a:cubicBezTo>
                      <a:pt x="285246" y="163218"/>
                      <a:pt x="284741" y="169562"/>
                      <a:pt x="283805" y="175906"/>
                    </a:cubicBezTo>
                    <a:cubicBezTo>
                      <a:pt x="274372" y="238122"/>
                      <a:pt x="220721" y="285559"/>
                      <a:pt x="155909" y="285559"/>
                    </a:cubicBez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48E3A74B-5B7D-B788-AA00-31971A9DA1BB}"/>
                  </a:ext>
                </a:extLst>
              </p:cNvPr>
              <p:cNvSpPr/>
              <p:nvPr/>
            </p:nvSpPr>
            <p:spPr>
              <a:xfrm>
                <a:off x="11529743" y="3323653"/>
                <a:ext cx="42343" cy="42390"/>
              </a:xfrm>
              <a:custGeom>
                <a:avLst/>
                <a:gdLst>
                  <a:gd name="connsiteX0" fmla="*/ 0 w 42343"/>
                  <a:gd name="connsiteY0" fmla="*/ 21123 h 42390"/>
                  <a:gd name="connsiteX1" fmla="*/ 21244 w 42343"/>
                  <a:gd name="connsiteY1" fmla="*/ 0 h 42390"/>
                  <a:gd name="connsiteX2" fmla="*/ 42344 w 42343"/>
                  <a:gd name="connsiteY2" fmla="*/ 21123 h 42390"/>
                  <a:gd name="connsiteX3" fmla="*/ 21244 w 42343"/>
                  <a:gd name="connsiteY3" fmla="*/ 42391 h 42390"/>
                  <a:gd name="connsiteX4" fmla="*/ 0 w 42343"/>
                  <a:gd name="connsiteY4" fmla="*/ 21123 h 42390"/>
                  <a:gd name="connsiteX5" fmla="*/ 38959 w 42343"/>
                  <a:gd name="connsiteY5" fmla="*/ 21123 h 42390"/>
                  <a:gd name="connsiteX6" fmla="*/ 21244 w 42343"/>
                  <a:gd name="connsiteY6" fmla="*/ 2812 h 42390"/>
                  <a:gd name="connsiteX7" fmla="*/ 3385 w 42343"/>
                  <a:gd name="connsiteY7" fmla="*/ 21123 h 42390"/>
                  <a:gd name="connsiteX8" fmla="*/ 21244 w 42343"/>
                  <a:gd name="connsiteY8" fmla="*/ 39579 h 42390"/>
                  <a:gd name="connsiteX9" fmla="*/ 38959 w 42343"/>
                  <a:gd name="connsiteY9" fmla="*/ 21123 h 42390"/>
                  <a:gd name="connsiteX10" fmla="*/ 31758 w 42343"/>
                  <a:gd name="connsiteY10" fmla="*/ 32946 h 42390"/>
                  <a:gd name="connsiteX11" fmla="*/ 28301 w 42343"/>
                  <a:gd name="connsiteY11" fmla="*/ 32946 h 42390"/>
                  <a:gd name="connsiteX12" fmla="*/ 21532 w 42343"/>
                  <a:gd name="connsiteY12" fmla="*/ 22060 h 42390"/>
                  <a:gd name="connsiteX13" fmla="*/ 16203 w 42343"/>
                  <a:gd name="connsiteY13" fmla="*/ 22060 h 42390"/>
                  <a:gd name="connsiteX14" fmla="*/ 16203 w 42343"/>
                  <a:gd name="connsiteY14" fmla="*/ 32946 h 42390"/>
                  <a:gd name="connsiteX15" fmla="*/ 13323 w 42343"/>
                  <a:gd name="connsiteY15" fmla="*/ 32946 h 42390"/>
                  <a:gd name="connsiteX16" fmla="*/ 13323 w 42343"/>
                  <a:gd name="connsiteY16" fmla="*/ 9300 h 42390"/>
                  <a:gd name="connsiteX17" fmla="*/ 23693 w 42343"/>
                  <a:gd name="connsiteY17" fmla="*/ 9300 h 42390"/>
                  <a:gd name="connsiteX18" fmla="*/ 32046 w 42343"/>
                  <a:gd name="connsiteY18" fmla="*/ 15572 h 42390"/>
                  <a:gd name="connsiteX19" fmla="*/ 24629 w 42343"/>
                  <a:gd name="connsiteY19" fmla="*/ 22060 h 42390"/>
                  <a:gd name="connsiteX20" fmla="*/ 31758 w 42343"/>
                  <a:gd name="connsiteY20" fmla="*/ 32946 h 42390"/>
                  <a:gd name="connsiteX21" fmla="*/ 20668 w 42343"/>
                  <a:gd name="connsiteY21" fmla="*/ 19753 h 42390"/>
                  <a:gd name="connsiteX22" fmla="*/ 28949 w 42343"/>
                  <a:gd name="connsiteY22" fmla="*/ 15500 h 42390"/>
                  <a:gd name="connsiteX23" fmla="*/ 23044 w 42343"/>
                  <a:gd name="connsiteY23" fmla="*/ 11391 h 42390"/>
                  <a:gd name="connsiteX24" fmla="*/ 16275 w 42343"/>
                  <a:gd name="connsiteY24" fmla="*/ 11391 h 42390"/>
                  <a:gd name="connsiteX25" fmla="*/ 16275 w 42343"/>
                  <a:gd name="connsiteY25" fmla="*/ 19753 h 42390"/>
                  <a:gd name="connsiteX26" fmla="*/ 20668 w 42343"/>
                  <a:gd name="connsiteY26" fmla="*/ 19753 h 4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2343" h="42390">
                    <a:moveTo>
                      <a:pt x="0" y="21123"/>
                    </a:moveTo>
                    <a:cubicBezTo>
                      <a:pt x="0" y="9516"/>
                      <a:pt x="9506" y="0"/>
                      <a:pt x="21244" y="0"/>
                    </a:cubicBezTo>
                    <a:cubicBezTo>
                      <a:pt x="32982" y="0"/>
                      <a:pt x="42344" y="9516"/>
                      <a:pt x="42344" y="21123"/>
                    </a:cubicBezTo>
                    <a:cubicBezTo>
                      <a:pt x="42344" y="32730"/>
                      <a:pt x="32910" y="42391"/>
                      <a:pt x="21244" y="42391"/>
                    </a:cubicBezTo>
                    <a:cubicBezTo>
                      <a:pt x="9578" y="42391"/>
                      <a:pt x="0" y="32874"/>
                      <a:pt x="0" y="21123"/>
                    </a:cubicBezTo>
                    <a:close/>
                    <a:moveTo>
                      <a:pt x="38959" y="21123"/>
                    </a:moveTo>
                    <a:cubicBezTo>
                      <a:pt x="38959" y="10814"/>
                      <a:pt x="31470" y="2812"/>
                      <a:pt x="21244" y="2812"/>
                    </a:cubicBezTo>
                    <a:cubicBezTo>
                      <a:pt x="11018" y="2812"/>
                      <a:pt x="3385" y="10886"/>
                      <a:pt x="3385" y="21123"/>
                    </a:cubicBezTo>
                    <a:cubicBezTo>
                      <a:pt x="3385" y="31360"/>
                      <a:pt x="10946" y="39579"/>
                      <a:pt x="21244" y="39579"/>
                    </a:cubicBezTo>
                    <a:cubicBezTo>
                      <a:pt x="31542" y="39579"/>
                      <a:pt x="38959" y="31505"/>
                      <a:pt x="38959" y="21123"/>
                    </a:cubicBezTo>
                    <a:close/>
                    <a:moveTo>
                      <a:pt x="31758" y="32946"/>
                    </a:moveTo>
                    <a:lnTo>
                      <a:pt x="28301" y="32946"/>
                    </a:lnTo>
                    <a:lnTo>
                      <a:pt x="21532" y="22060"/>
                    </a:lnTo>
                    <a:lnTo>
                      <a:pt x="16203" y="22060"/>
                    </a:lnTo>
                    <a:lnTo>
                      <a:pt x="16203" y="32946"/>
                    </a:lnTo>
                    <a:lnTo>
                      <a:pt x="13323" y="32946"/>
                    </a:lnTo>
                    <a:lnTo>
                      <a:pt x="13323" y="9300"/>
                    </a:lnTo>
                    <a:lnTo>
                      <a:pt x="23693" y="9300"/>
                    </a:lnTo>
                    <a:cubicBezTo>
                      <a:pt x="29958" y="9300"/>
                      <a:pt x="32046" y="11679"/>
                      <a:pt x="32046" y="15572"/>
                    </a:cubicBezTo>
                    <a:cubicBezTo>
                      <a:pt x="32046" y="20186"/>
                      <a:pt x="28805" y="21916"/>
                      <a:pt x="24629" y="22060"/>
                    </a:cubicBezTo>
                    <a:lnTo>
                      <a:pt x="31758" y="32946"/>
                    </a:lnTo>
                    <a:close/>
                    <a:moveTo>
                      <a:pt x="20668" y="19753"/>
                    </a:moveTo>
                    <a:cubicBezTo>
                      <a:pt x="24052" y="19753"/>
                      <a:pt x="28949" y="20330"/>
                      <a:pt x="28949" y="15500"/>
                    </a:cubicBezTo>
                    <a:cubicBezTo>
                      <a:pt x="28949" y="11823"/>
                      <a:pt x="25925" y="11391"/>
                      <a:pt x="23044" y="11391"/>
                    </a:cubicBezTo>
                    <a:lnTo>
                      <a:pt x="16275" y="11391"/>
                    </a:lnTo>
                    <a:lnTo>
                      <a:pt x="16275" y="19753"/>
                    </a:lnTo>
                    <a:lnTo>
                      <a:pt x="20668" y="19753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06577614-BB78-D739-9FD1-128645E5C0E0}"/>
                </a:ext>
              </a:extLst>
            </p:cNvPr>
            <p:cNvSpPr/>
            <p:nvPr/>
          </p:nvSpPr>
          <p:spPr>
            <a:xfrm>
              <a:off x="9662576" y="3326249"/>
              <a:ext cx="70213" cy="41020"/>
            </a:xfrm>
            <a:custGeom>
              <a:avLst/>
              <a:gdLst>
                <a:gd name="connsiteX0" fmla="*/ 15267 w 70213"/>
                <a:gd name="connsiteY0" fmla="*/ 4398 h 41020"/>
                <a:gd name="connsiteX1" fmla="*/ 9434 w 70213"/>
                <a:gd name="connsiteY1" fmla="*/ 7714 h 41020"/>
                <a:gd name="connsiteX2" fmla="*/ 4321 w 70213"/>
                <a:gd name="connsiteY2" fmla="*/ 11607 h 41020"/>
                <a:gd name="connsiteX3" fmla="*/ 2737 w 70213"/>
                <a:gd name="connsiteY3" fmla="*/ 15139 h 41020"/>
                <a:gd name="connsiteX4" fmla="*/ 648 w 70213"/>
                <a:gd name="connsiteY4" fmla="*/ 18167 h 41020"/>
                <a:gd name="connsiteX5" fmla="*/ 144 w 70213"/>
                <a:gd name="connsiteY5" fmla="*/ 19249 h 41020"/>
                <a:gd name="connsiteX6" fmla="*/ 0 w 70213"/>
                <a:gd name="connsiteY6" fmla="*/ 20330 h 41020"/>
                <a:gd name="connsiteX7" fmla="*/ 288 w 70213"/>
                <a:gd name="connsiteY7" fmla="*/ 21556 h 41020"/>
                <a:gd name="connsiteX8" fmla="*/ 2232 w 70213"/>
                <a:gd name="connsiteY8" fmla="*/ 26891 h 41020"/>
                <a:gd name="connsiteX9" fmla="*/ 5617 w 70213"/>
                <a:gd name="connsiteY9" fmla="*/ 28981 h 41020"/>
                <a:gd name="connsiteX10" fmla="*/ 9506 w 70213"/>
                <a:gd name="connsiteY10" fmla="*/ 33379 h 41020"/>
                <a:gd name="connsiteX11" fmla="*/ 12314 w 70213"/>
                <a:gd name="connsiteY11" fmla="*/ 36046 h 41020"/>
                <a:gd name="connsiteX12" fmla="*/ 16347 w 70213"/>
                <a:gd name="connsiteY12" fmla="*/ 37993 h 41020"/>
                <a:gd name="connsiteX13" fmla="*/ 20380 w 70213"/>
                <a:gd name="connsiteY13" fmla="*/ 39218 h 41020"/>
                <a:gd name="connsiteX14" fmla="*/ 26069 w 70213"/>
                <a:gd name="connsiteY14" fmla="*/ 39218 h 41020"/>
                <a:gd name="connsiteX15" fmla="*/ 29814 w 70213"/>
                <a:gd name="connsiteY15" fmla="*/ 39939 h 41020"/>
                <a:gd name="connsiteX16" fmla="*/ 33846 w 70213"/>
                <a:gd name="connsiteY16" fmla="*/ 40300 h 41020"/>
                <a:gd name="connsiteX17" fmla="*/ 39319 w 70213"/>
                <a:gd name="connsiteY17" fmla="*/ 40660 h 41020"/>
                <a:gd name="connsiteX18" fmla="*/ 44576 w 70213"/>
                <a:gd name="connsiteY18" fmla="*/ 41021 h 41020"/>
                <a:gd name="connsiteX19" fmla="*/ 51130 w 70213"/>
                <a:gd name="connsiteY19" fmla="*/ 40516 h 41020"/>
                <a:gd name="connsiteX20" fmla="*/ 56099 w 70213"/>
                <a:gd name="connsiteY20" fmla="*/ 39074 h 41020"/>
                <a:gd name="connsiteX21" fmla="*/ 62076 w 70213"/>
                <a:gd name="connsiteY21" fmla="*/ 36623 h 41020"/>
                <a:gd name="connsiteX22" fmla="*/ 64740 w 70213"/>
                <a:gd name="connsiteY22" fmla="*/ 33595 h 41020"/>
                <a:gd name="connsiteX23" fmla="*/ 67765 w 70213"/>
                <a:gd name="connsiteY23" fmla="*/ 30784 h 41020"/>
                <a:gd name="connsiteX24" fmla="*/ 70213 w 70213"/>
                <a:gd name="connsiteY24" fmla="*/ 26891 h 41020"/>
                <a:gd name="connsiteX25" fmla="*/ 70069 w 70213"/>
                <a:gd name="connsiteY25" fmla="*/ 22853 h 41020"/>
                <a:gd name="connsiteX26" fmla="*/ 68989 w 70213"/>
                <a:gd name="connsiteY26" fmla="*/ 17014 h 41020"/>
                <a:gd name="connsiteX27" fmla="*/ 62652 w 70213"/>
                <a:gd name="connsiteY27" fmla="*/ 7786 h 41020"/>
                <a:gd name="connsiteX28" fmla="*/ 57035 w 70213"/>
                <a:gd name="connsiteY28" fmla="*/ 3533 h 41020"/>
                <a:gd name="connsiteX29" fmla="*/ 54226 w 70213"/>
                <a:gd name="connsiteY29" fmla="*/ 2163 h 41020"/>
                <a:gd name="connsiteX30" fmla="*/ 52138 w 70213"/>
                <a:gd name="connsiteY30" fmla="*/ 1370 h 41020"/>
                <a:gd name="connsiteX31" fmla="*/ 50121 w 70213"/>
                <a:gd name="connsiteY31" fmla="*/ 1081 h 41020"/>
                <a:gd name="connsiteX32" fmla="*/ 43568 w 70213"/>
                <a:gd name="connsiteY32" fmla="*/ 1586 h 41020"/>
                <a:gd name="connsiteX33" fmla="*/ 37015 w 70213"/>
                <a:gd name="connsiteY33" fmla="*/ 505 h 41020"/>
                <a:gd name="connsiteX34" fmla="*/ 33846 w 70213"/>
                <a:gd name="connsiteY34" fmla="*/ 0 h 41020"/>
                <a:gd name="connsiteX35" fmla="*/ 29814 w 70213"/>
                <a:gd name="connsiteY35" fmla="*/ 865 h 41020"/>
                <a:gd name="connsiteX36" fmla="*/ 24485 w 70213"/>
                <a:gd name="connsiteY36" fmla="*/ 1586 h 41020"/>
                <a:gd name="connsiteX37" fmla="*/ 21100 w 70213"/>
                <a:gd name="connsiteY37" fmla="*/ 2812 h 41020"/>
                <a:gd name="connsiteX38" fmla="*/ 15267 w 70213"/>
                <a:gd name="connsiteY38" fmla="*/ 4398 h 4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0213" h="41020">
                  <a:moveTo>
                    <a:pt x="15267" y="4398"/>
                  </a:moveTo>
                  <a:lnTo>
                    <a:pt x="9434" y="7714"/>
                  </a:lnTo>
                  <a:lnTo>
                    <a:pt x="4321" y="11607"/>
                  </a:lnTo>
                  <a:lnTo>
                    <a:pt x="2737" y="15139"/>
                  </a:lnTo>
                  <a:lnTo>
                    <a:pt x="648" y="18167"/>
                  </a:lnTo>
                  <a:lnTo>
                    <a:pt x="144" y="19249"/>
                  </a:lnTo>
                  <a:lnTo>
                    <a:pt x="0" y="20330"/>
                  </a:lnTo>
                  <a:lnTo>
                    <a:pt x="288" y="21556"/>
                  </a:lnTo>
                  <a:lnTo>
                    <a:pt x="2232" y="26891"/>
                  </a:lnTo>
                  <a:lnTo>
                    <a:pt x="5617" y="28981"/>
                  </a:lnTo>
                  <a:lnTo>
                    <a:pt x="9506" y="33379"/>
                  </a:lnTo>
                  <a:lnTo>
                    <a:pt x="12314" y="36046"/>
                  </a:lnTo>
                  <a:lnTo>
                    <a:pt x="16347" y="37993"/>
                  </a:lnTo>
                  <a:lnTo>
                    <a:pt x="20380" y="39218"/>
                  </a:lnTo>
                  <a:lnTo>
                    <a:pt x="26069" y="39218"/>
                  </a:lnTo>
                  <a:lnTo>
                    <a:pt x="29814" y="39939"/>
                  </a:lnTo>
                  <a:lnTo>
                    <a:pt x="33846" y="40300"/>
                  </a:lnTo>
                  <a:lnTo>
                    <a:pt x="39319" y="40660"/>
                  </a:lnTo>
                  <a:lnTo>
                    <a:pt x="44576" y="41021"/>
                  </a:lnTo>
                  <a:lnTo>
                    <a:pt x="51130" y="40516"/>
                  </a:lnTo>
                  <a:lnTo>
                    <a:pt x="56099" y="39074"/>
                  </a:lnTo>
                  <a:lnTo>
                    <a:pt x="62076" y="36623"/>
                  </a:lnTo>
                  <a:lnTo>
                    <a:pt x="64740" y="33595"/>
                  </a:lnTo>
                  <a:lnTo>
                    <a:pt x="67765" y="30784"/>
                  </a:lnTo>
                  <a:lnTo>
                    <a:pt x="70213" y="26891"/>
                  </a:lnTo>
                  <a:lnTo>
                    <a:pt x="70069" y="22853"/>
                  </a:lnTo>
                  <a:lnTo>
                    <a:pt x="68989" y="17014"/>
                  </a:lnTo>
                  <a:lnTo>
                    <a:pt x="62652" y="7786"/>
                  </a:lnTo>
                  <a:lnTo>
                    <a:pt x="57035" y="3533"/>
                  </a:lnTo>
                  <a:lnTo>
                    <a:pt x="54226" y="2163"/>
                  </a:lnTo>
                  <a:lnTo>
                    <a:pt x="52138" y="1370"/>
                  </a:lnTo>
                  <a:lnTo>
                    <a:pt x="50121" y="1081"/>
                  </a:lnTo>
                  <a:lnTo>
                    <a:pt x="43568" y="1586"/>
                  </a:lnTo>
                  <a:lnTo>
                    <a:pt x="37015" y="505"/>
                  </a:lnTo>
                  <a:lnTo>
                    <a:pt x="33846" y="0"/>
                  </a:lnTo>
                  <a:lnTo>
                    <a:pt x="29814" y="865"/>
                  </a:lnTo>
                  <a:lnTo>
                    <a:pt x="24485" y="1586"/>
                  </a:lnTo>
                  <a:lnTo>
                    <a:pt x="21100" y="2812"/>
                  </a:lnTo>
                  <a:lnTo>
                    <a:pt x="15267" y="4398"/>
                  </a:lnTo>
                </a:path>
              </a:pathLst>
            </a:custGeom>
            <a:solidFill>
              <a:srgbClr val="F26531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8736FE9E-2C18-17B6-0721-F8C56CE27111}"/>
                </a:ext>
              </a:extLst>
            </p:cNvPr>
            <p:cNvSpPr/>
            <p:nvPr/>
          </p:nvSpPr>
          <p:spPr>
            <a:xfrm>
              <a:off x="9668265" y="3427034"/>
              <a:ext cx="59915" cy="15932"/>
            </a:xfrm>
            <a:custGeom>
              <a:avLst/>
              <a:gdLst>
                <a:gd name="connsiteX0" fmla="*/ 1224 w 59915"/>
                <a:gd name="connsiteY0" fmla="*/ 360 h 15932"/>
                <a:gd name="connsiteX1" fmla="*/ 32694 w 59915"/>
                <a:gd name="connsiteY1" fmla="*/ 1081 h 15932"/>
                <a:gd name="connsiteX2" fmla="*/ 37375 w 59915"/>
                <a:gd name="connsiteY2" fmla="*/ 144 h 15932"/>
                <a:gd name="connsiteX3" fmla="*/ 43424 w 59915"/>
                <a:gd name="connsiteY3" fmla="*/ 0 h 15932"/>
                <a:gd name="connsiteX4" fmla="*/ 49473 w 59915"/>
                <a:gd name="connsiteY4" fmla="*/ 649 h 15932"/>
                <a:gd name="connsiteX5" fmla="*/ 54082 w 59915"/>
                <a:gd name="connsiteY5" fmla="*/ 1947 h 15932"/>
                <a:gd name="connsiteX6" fmla="*/ 57611 w 59915"/>
                <a:gd name="connsiteY6" fmla="*/ 4326 h 15932"/>
                <a:gd name="connsiteX7" fmla="*/ 58907 w 59915"/>
                <a:gd name="connsiteY7" fmla="*/ 5984 h 15932"/>
                <a:gd name="connsiteX8" fmla="*/ 59699 w 59915"/>
                <a:gd name="connsiteY8" fmla="*/ 7714 h 15932"/>
                <a:gd name="connsiteX9" fmla="*/ 59915 w 59915"/>
                <a:gd name="connsiteY9" fmla="*/ 9588 h 15932"/>
                <a:gd name="connsiteX10" fmla="*/ 59339 w 59915"/>
                <a:gd name="connsiteY10" fmla="*/ 11535 h 15932"/>
                <a:gd name="connsiteX11" fmla="*/ 57971 w 59915"/>
                <a:gd name="connsiteY11" fmla="*/ 13409 h 15932"/>
                <a:gd name="connsiteX12" fmla="*/ 55522 w 59915"/>
                <a:gd name="connsiteY12" fmla="*/ 15212 h 15932"/>
                <a:gd name="connsiteX13" fmla="*/ 51922 w 59915"/>
                <a:gd name="connsiteY13" fmla="*/ 15932 h 15932"/>
                <a:gd name="connsiteX14" fmla="*/ 45513 w 59915"/>
                <a:gd name="connsiteY14" fmla="*/ 15932 h 15932"/>
                <a:gd name="connsiteX15" fmla="*/ 28229 w 59915"/>
                <a:gd name="connsiteY15" fmla="*/ 14635 h 15932"/>
                <a:gd name="connsiteX16" fmla="*/ 1872 w 59915"/>
                <a:gd name="connsiteY16" fmla="*/ 11607 h 15932"/>
                <a:gd name="connsiteX17" fmla="*/ 864 w 59915"/>
                <a:gd name="connsiteY17" fmla="*/ 11174 h 15932"/>
                <a:gd name="connsiteX18" fmla="*/ 288 w 59915"/>
                <a:gd name="connsiteY18" fmla="*/ 10165 h 15932"/>
                <a:gd name="connsiteX19" fmla="*/ 0 w 59915"/>
                <a:gd name="connsiteY19" fmla="*/ 6921 h 15932"/>
                <a:gd name="connsiteX20" fmla="*/ 1224 w 59915"/>
                <a:gd name="connsiteY20" fmla="*/ 360 h 1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9915" h="15932">
                  <a:moveTo>
                    <a:pt x="1224" y="360"/>
                  </a:moveTo>
                  <a:lnTo>
                    <a:pt x="32694" y="1081"/>
                  </a:lnTo>
                  <a:lnTo>
                    <a:pt x="37375" y="144"/>
                  </a:lnTo>
                  <a:lnTo>
                    <a:pt x="43424" y="0"/>
                  </a:lnTo>
                  <a:lnTo>
                    <a:pt x="49473" y="649"/>
                  </a:lnTo>
                  <a:lnTo>
                    <a:pt x="54082" y="1947"/>
                  </a:lnTo>
                  <a:lnTo>
                    <a:pt x="57611" y="4326"/>
                  </a:lnTo>
                  <a:lnTo>
                    <a:pt x="58907" y="5984"/>
                  </a:lnTo>
                  <a:lnTo>
                    <a:pt x="59699" y="7714"/>
                  </a:lnTo>
                  <a:lnTo>
                    <a:pt x="59915" y="9588"/>
                  </a:lnTo>
                  <a:lnTo>
                    <a:pt x="59339" y="11535"/>
                  </a:lnTo>
                  <a:lnTo>
                    <a:pt x="57971" y="13409"/>
                  </a:lnTo>
                  <a:lnTo>
                    <a:pt x="55522" y="15212"/>
                  </a:lnTo>
                  <a:lnTo>
                    <a:pt x="51922" y="15932"/>
                  </a:lnTo>
                  <a:lnTo>
                    <a:pt x="45513" y="15932"/>
                  </a:lnTo>
                  <a:lnTo>
                    <a:pt x="28229" y="14635"/>
                  </a:lnTo>
                  <a:lnTo>
                    <a:pt x="1872" y="11607"/>
                  </a:lnTo>
                  <a:lnTo>
                    <a:pt x="864" y="11174"/>
                  </a:lnTo>
                  <a:lnTo>
                    <a:pt x="288" y="10165"/>
                  </a:lnTo>
                  <a:lnTo>
                    <a:pt x="0" y="6921"/>
                  </a:lnTo>
                  <a:lnTo>
                    <a:pt x="1224" y="360"/>
                  </a:lnTo>
                </a:path>
              </a:pathLst>
            </a:custGeom>
            <a:solidFill>
              <a:srgbClr val="ED1849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CA210714-7F43-46E7-7CD0-6BAC80CD6BD4}"/>
                </a:ext>
              </a:extLst>
            </p:cNvPr>
            <p:cNvSpPr/>
            <p:nvPr/>
          </p:nvSpPr>
          <p:spPr>
            <a:xfrm>
              <a:off x="9671290" y="3456448"/>
              <a:ext cx="57754" cy="15644"/>
            </a:xfrm>
            <a:custGeom>
              <a:avLst/>
              <a:gdLst>
                <a:gd name="connsiteX0" fmla="*/ 7057 w 57754"/>
                <a:gd name="connsiteY0" fmla="*/ 0 h 15644"/>
                <a:gd name="connsiteX1" fmla="*/ 9794 w 57754"/>
                <a:gd name="connsiteY1" fmla="*/ 1658 h 15644"/>
                <a:gd name="connsiteX2" fmla="*/ 11522 w 57754"/>
                <a:gd name="connsiteY2" fmla="*/ 2667 h 15644"/>
                <a:gd name="connsiteX3" fmla="*/ 13467 w 57754"/>
                <a:gd name="connsiteY3" fmla="*/ 3172 h 15644"/>
                <a:gd name="connsiteX4" fmla="*/ 14835 w 57754"/>
                <a:gd name="connsiteY4" fmla="*/ 2884 h 15644"/>
                <a:gd name="connsiteX5" fmla="*/ 16419 w 57754"/>
                <a:gd name="connsiteY5" fmla="*/ 2163 h 15644"/>
                <a:gd name="connsiteX6" fmla="*/ 18003 w 57754"/>
                <a:gd name="connsiteY6" fmla="*/ 1370 h 15644"/>
                <a:gd name="connsiteX7" fmla="*/ 19588 w 57754"/>
                <a:gd name="connsiteY7" fmla="*/ 1009 h 15644"/>
                <a:gd name="connsiteX8" fmla="*/ 22324 w 57754"/>
                <a:gd name="connsiteY8" fmla="*/ 2019 h 15644"/>
                <a:gd name="connsiteX9" fmla="*/ 25277 w 57754"/>
                <a:gd name="connsiteY9" fmla="*/ 3028 h 15644"/>
                <a:gd name="connsiteX10" fmla="*/ 27725 w 57754"/>
                <a:gd name="connsiteY10" fmla="*/ 2235 h 15644"/>
                <a:gd name="connsiteX11" fmla="*/ 30246 w 57754"/>
                <a:gd name="connsiteY11" fmla="*/ 1514 h 15644"/>
                <a:gd name="connsiteX12" fmla="*/ 33198 w 57754"/>
                <a:gd name="connsiteY12" fmla="*/ 2595 h 15644"/>
                <a:gd name="connsiteX13" fmla="*/ 34638 w 57754"/>
                <a:gd name="connsiteY13" fmla="*/ 3172 h 15644"/>
                <a:gd name="connsiteX14" fmla="*/ 36079 w 57754"/>
                <a:gd name="connsiteY14" fmla="*/ 3172 h 15644"/>
                <a:gd name="connsiteX15" fmla="*/ 45224 w 57754"/>
                <a:gd name="connsiteY15" fmla="*/ 1947 h 15644"/>
                <a:gd name="connsiteX16" fmla="*/ 52210 w 57754"/>
                <a:gd name="connsiteY16" fmla="*/ 3100 h 15644"/>
                <a:gd name="connsiteX17" fmla="*/ 52642 w 57754"/>
                <a:gd name="connsiteY17" fmla="*/ 3388 h 15644"/>
                <a:gd name="connsiteX18" fmla="*/ 52858 w 57754"/>
                <a:gd name="connsiteY18" fmla="*/ 3749 h 15644"/>
                <a:gd name="connsiteX19" fmla="*/ 52642 w 57754"/>
                <a:gd name="connsiteY19" fmla="*/ 4614 h 15644"/>
                <a:gd name="connsiteX20" fmla="*/ 52354 w 57754"/>
                <a:gd name="connsiteY20" fmla="*/ 5551 h 15644"/>
                <a:gd name="connsiteX21" fmla="*/ 52642 w 57754"/>
                <a:gd name="connsiteY21" fmla="*/ 6416 h 15644"/>
                <a:gd name="connsiteX22" fmla="*/ 54370 w 57754"/>
                <a:gd name="connsiteY22" fmla="*/ 7426 h 15644"/>
                <a:gd name="connsiteX23" fmla="*/ 56315 w 57754"/>
                <a:gd name="connsiteY23" fmla="*/ 8219 h 15644"/>
                <a:gd name="connsiteX24" fmla="*/ 57107 w 57754"/>
                <a:gd name="connsiteY24" fmla="*/ 8795 h 15644"/>
                <a:gd name="connsiteX25" fmla="*/ 57611 w 57754"/>
                <a:gd name="connsiteY25" fmla="*/ 9660 h 15644"/>
                <a:gd name="connsiteX26" fmla="*/ 57755 w 57754"/>
                <a:gd name="connsiteY26" fmla="*/ 10958 h 15644"/>
                <a:gd name="connsiteX27" fmla="*/ 57395 w 57754"/>
                <a:gd name="connsiteY27" fmla="*/ 12760 h 15644"/>
                <a:gd name="connsiteX28" fmla="*/ 56819 w 57754"/>
                <a:gd name="connsiteY28" fmla="*/ 13626 h 15644"/>
                <a:gd name="connsiteX29" fmla="*/ 55522 w 57754"/>
                <a:gd name="connsiteY29" fmla="*/ 14346 h 15644"/>
                <a:gd name="connsiteX30" fmla="*/ 51562 w 57754"/>
                <a:gd name="connsiteY30" fmla="*/ 15212 h 15644"/>
                <a:gd name="connsiteX31" fmla="*/ 39031 w 57754"/>
                <a:gd name="connsiteY31" fmla="*/ 15644 h 15644"/>
                <a:gd name="connsiteX32" fmla="*/ 21100 w 57754"/>
                <a:gd name="connsiteY32" fmla="*/ 13337 h 15644"/>
                <a:gd name="connsiteX33" fmla="*/ 5545 w 57754"/>
                <a:gd name="connsiteY33" fmla="*/ 10453 h 15644"/>
                <a:gd name="connsiteX34" fmla="*/ 3241 w 57754"/>
                <a:gd name="connsiteY34" fmla="*/ 9516 h 15644"/>
                <a:gd name="connsiteX35" fmla="*/ 1512 w 57754"/>
                <a:gd name="connsiteY35" fmla="*/ 7426 h 15644"/>
                <a:gd name="connsiteX36" fmla="*/ 360 w 57754"/>
                <a:gd name="connsiteY36" fmla="*/ 4974 h 15644"/>
                <a:gd name="connsiteX37" fmla="*/ 0 w 57754"/>
                <a:gd name="connsiteY37" fmla="*/ 2812 h 15644"/>
                <a:gd name="connsiteX38" fmla="*/ 7057 w 57754"/>
                <a:gd name="connsiteY38" fmla="*/ 0 h 1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754" h="15644">
                  <a:moveTo>
                    <a:pt x="7057" y="0"/>
                  </a:moveTo>
                  <a:lnTo>
                    <a:pt x="9794" y="1658"/>
                  </a:lnTo>
                  <a:lnTo>
                    <a:pt x="11522" y="2667"/>
                  </a:lnTo>
                  <a:lnTo>
                    <a:pt x="13467" y="3172"/>
                  </a:lnTo>
                  <a:lnTo>
                    <a:pt x="14835" y="2884"/>
                  </a:lnTo>
                  <a:lnTo>
                    <a:pt x="16419" y="2163"/>
                  </a:lnTo>
                  <a:lnTo>
                    <a:pt x="18003" y="1370"/>
                  </a:lnTo>
                  <a:lnTo>
                    <a:pt x="19588" y="1009"/>
                  </a:lnTo>
                  <a:lnTo>
                    <a:pt x="22324" y="2019"/>
                  </a:lnTo>
                  <a:lnTo>
                    <a:pt x="25277" y="3028"/>
                  </a:lnTo>
                  <a:lnTo>
                    <a:pt x="27725" y="2235"/>
                  </a:lnTo>
                  <a:lnTo>
                    <a:pt x="30246" y="1514"/>
                  </a:lnTo>
                  <a:lnTo>
                    <a:pt x="33198" y="2595"/>
                  </a:lnTo>
                  <a:lnTo>
                    <a:pt x="34638" y="3172"/>
                  </a:lnTo>
                  <a:lnTo>
                    <a:pt x="36079" y="3172"/>
                  </a:lnTo>
                  <a:lnTo>
                    <a:pt x="45224" y="1947"/>
                  </a:lnTo>
                  <a:lnTo>
                    <a:pt x="52210" y="3100"/>
                  </a:lnTo>
                  <a:lnTo>
                    <a:pt x="52642" y="3388"/>
                  </a:lnTo>
                  <a:lnTo>
                    <a:pt x="52858" y="3749"/>
                  </a:lnTo>
                  <a:lnTo>
                    <a:pt x="52642" y="4614"/>
                  </a:lnTo>
                  <a:lnTo>
                    <a:pt x="52354" y="5551"/>
                  </a:lnTo>
                  <a:lnTo>
                    <a:pt x="52642" y="6416"/>
                  </a:lnTo>
                  <a:lnTo>
                    <a:pt x="54370" y="7426"/>
                  </a:lnTo>
                  <a:lnTo>
                    <a:pt x="56315" y="8219"/>
                  </a:lnTo>
                  <a:lnTo>
                    <a:pt x="57107" y="8795"/>
                  </a:lnTo>
                  <a:lnTo>
                    <a:pt x="57611" y="9660"/>
                  </a:lnTo>
                  <a:lnTo>
                    <a:pt x="57755" y="10958"/>
                  </a:lnTo>
                  <a:lnTo>
                    <a:pt x="57395" y="12760"/>
                  </a:lnTo>
                  <a:lnTo>
                    <a:pt x="56819" y="13626"/>
                  </a:lnTo>
                  <a:lnTo>
                    <a:pt x="55522" y="14346"/>
                  </a:lnTo>
                  <a:lnTo>
                    <a:pt x="51562" y="15212"/>
                  </a:lnTo>
                  <a:lnTo>
                    <a:pt x="39031" y="15644"/>
                  </a:lnTo>
                  <a:lnTo>
                    <a:pt x="21100" y="13337"/>
                  </a:lnTo>
                  <a:lnTo>
                    <a:pt x="5545" y="10453"/>
                  </a:lnTo>
                  <a:lnTo>
                    <a:pt x="3241" y="9516"/>
                  </a:lnTo>
                  <a:lnTo>
                    <a:pt x="1512" y="7426"/>
                  </a:lnTo>
                  <a:lnTo>
                    <a:pt x="360" y="4974"/>
                  </a:lnTo>
                  <a:lnTo>
                    <a:pt x="0" y="2812"/>
                  </a:lnTo>
                  <a:lnTo>
                    <a:pt x="705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6EFFEC7A-4274-A63B-7541-8E8559408E41}"/>
                </a:ext>
              </a:extLst>
            </p:cNvPr>
            <p:cNvSpPr/>
            <p:nvPr/>
          </p:nvSpPr>
          <p:spPr>
            <a:xfrm>
              <a:off x="9668481" y="3473390"/>
              <a:ext cx="59771" cy="17013"/>
            </a:xfrm>
            <a:custGeom>
              <a:avLst/>
              <a:gdLst>
                <a:gd name="connsiteX0" fmla="*/ 5617 w 59771"/>
                <a:gd name="connsiteY0" fmla="*/ 0 h 17013"/>
                <a:gd name="connsiteX1" fmla="*/ 10442 w 59771"/>
                <a:gd name="connsiteY1" fmla="*/ 1874 h 17013"/>
                <a:gd name="connsiteX2" fmla="*/ 12818 w 59771"/>
                <a:gd name="connsiteY2" fmla="*/ 2740 h 17013"/>
                <a:gd name="connsiteX3" fmla="*/ 15195 w 59771"/>
                <a:gd name="connsiteY3" fmla="*/ 2667 h 17013"/>
                <a:gd name="connsiteX4" fmla="*/ 36583 w 59771"/>
                <a:gd name="connsiteY4" fmla="*/ 1658 h 17013"/>
                <a:gd name="connsiteX5" fmla="*/ 45152 w 59771"/>
                <a:gd name="connsiteY5" fmla="*/ 2451 h 17013"/>
                <a:gd name="connsiteX6" fmla="*/ 51850 w 59771"/>
                <a:gd name="connsiteY6" fmla="*/ 4109 h 17013"/>
                <a:gd name="connsiteX7" fmla="*/ 54874 w 59771"/>
                <a:gd name="connsiteY7" fmla="*/ 4902 h 17013"/>
                <a:gd name="connsiteX8" fmla="*/ 56603 w 59771"/>
                <a:gd name="connsiteY8" fmla="*/ 5623 h 17013"/>
                <a:gd name="connsiteX9" fmla="*/ 57971 w 59771"/>
                <a:gd name="connsiteY9" fmla="*/ 6633 h 17013"/>
                <a:gd name="connsiteX10" fmla="*/ 59483 w 59771"/>
                <a:gd name="connsiteY10" fmla="*/ 9300 h 17013"/>
                <a:gd name="connsiteX11" fmla="*/ 59771 w 59771"/>
                <a:gd name="connsiteY11" fmla="*/ 11895 h 17013"/>
                <a:gd name="connsiteX12" fmla="*/ 59123 w 59771"/>
                <a:gd name="connsiteY12" fmla="*/ 14130 h 17013"/>
                <a:gd name="connsiteX13" fmla="*/ 57971 w 59771"/>
                <a:gd name="connsiteY13" fmla="*/ 15572 h 17013"/>
                <a:gd name="connsiteX14" fmla="*/ 57971 w 59771"/>
                <a:gd name="connsiteY14" fmla="*/ 17014 h 17013"/>
                <a:gd name="connsiteX15" fmla="*/ 37015 w 59771"/>
                <a:gd name="connsiteY15" fmla="*/ 16942 h 17013"/>
                <a:gd name="connsiteX16" fmla="*/ 30030 w 59771"/>
                <a:gd name="connsiteY16" fmla="*/ 17014 h 17013"/>
                <a:gd name="connsiteX17" fmla="*/ 23116 w 59771"/>
                <a:gd name="connsiteY17" fmla="*/ 16437 h 17013"/>
                <a:gd name="connsiteX18" fmla="*/ 16203 w 59771"/>
                <a:gd name="connsiteY18" fmla="*/ 15212 h 17013"/>
                <a:gd name="connsiteX19" fmla="*/ 10010 w 59771"/>
                <a:gd name="connsiteY19" fmla="*/ 14202 h 17013"/>
                <a:gd name="connsiteX20" fmla="*/ 5545 w 59771"/>
                <a:gd name="connsiteY20" fmla="*/ 13481 h 17013"/>
                <a:gd name="connsiteX21" fmla="*/ 3745 w 59771"/>
                <a:gd name="connsiteY21" fmla="*/ 13049 h 17013"/>
                <a:gd name="connsiteX22" fmla="*/ 2520 w 59771"/>
                <a:gd name="connsiteY22" fmla="*/ 11895 h 17013"/>
                <a:gd name="connsiteX23" fmla="*/ 792 w 59771"/>
                <a:gd name="connsiteY23" fmla="*/ 8219 h 17013"/>
                <a:gd name="connsiteX24" fmla="*/ 0 w 59771"/>
                <a:gd name="connsiteY24" fmla="*/ 4253 h 17013"/>
                <a:gd name="connsiteX25" fmla="*/ 5617 w 59771"/>
                <a:gd name="connsiteY25" fmla="*/ 0 h 17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9771" h="17013">
                  <a:moveTo>
                    <a:pt x="5617" y="0"/>
                  </a:moveTo>
                  <a:lnTo>
                    <a:pt x="10442" y="1874"/>
                  </a:lnTo>
                  <a:lnTo>
                    <a:pt x="12818" y="2740"/>
                  </a:lnTo>
                  <a:lnTo>
                    <a:pt x="15195" y="2667"/>
                  </a:lnTo>
                  <a:lnTo>
                    <a:pt x="36583" y="1658"/>
                  </a:lnTo>
                  <a:lnTo>
                    <a:pt x="45152" y="2451"/>
                  </a:lnTo>
                  <a:lnTo>
                    <a:pt x="51850" y="4109"/>
                  </a:lnTo>
                  <a:lnTo>
                    <a:pt x="54874" y="4902"/>
                  </a:lnTo>
                  <a:lnTo>
                    <a:pt x="56603" y="5623"/>
                  </a:lnTo>
                  <a:lnTo>
                    <a:pt x="57971" y="6633"/>
                  </a:lnTo>
                  <a:lnTo>
                    <a:pt x="59483" y="9300"/>
                  </a:lnTo>
                  <a:lnTo>
                    <a:pt x="59771" y="11895"/>
                  </a:lnTo>
                  <a:lnTo>
                    <a:pt x="59123" y="14130"/>
                  </a:lnTo>
                  <a:lnTo>
                    <a:pt x="57971" y="15572"/>
                  </a:lnTo>
                  <a:lnTo>
                    <a:pt x="57971" y="17014"/>
                  </a:lnTo>
                  <a:lnTo>
                    <a:pt x="37015" y="16942"/>
                  </a:lnTo>
                  <a:lnTo>
                    <a:pt x="30030" y="17014"/>
                  </a:lnTo>
                  <a:lnTo>
                    <a:pt x="23116" y="16437"/>
                  </a:lnTo>
                  <a:lnTo>
                    <a:pt x="16203" y="15212"/>
                  </a:lnTo>
                  <a:lnTo>
                    <a:pt x="10010" y="14202"/>
                  </a:lnTo>
                  <a:lnTo>
                    <a:pt x="5545" y="13481"/>
                  </a:lnTo>
                  <a:lnTo>
                    <a:pt x="3745" y="13049"/>
                  </a:lnTo>
                  <a:lnTo>
                    <a:pt x="2520" y="11895"/>
                  </a:lnTo>
                  <a:lnTo>
                    <a:pt x="792" y="8219"/>
                  </a:lnTo>
                  <a:lnTo>
                    <a:pt x="0" y="4253"/>
                  </a:lnTo>
                  <a:lnTo>
                    <a:pt x="561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C244BDF2-9629-5BCA-ECB0-0E94A1759ED1}"/>
                </a:ext>
              </a:extLst>
            </p:cNvPr>
            <p:cNvSpPr/>
            <p:nvPr/>
          </p:nvSpPr>
          <p:spPr>
            <a:xfrm>
              <a:off x="9668553" y="3498406"/>
              <a:ext cx="60779" cy="27899"/>
            </a:xfrm>
            <a:custGeom>
              <a:avLst/>
              <a:gdLst>
                <a:gd name="connsiteX0" fmla="*/ 7129 w 60779"/>
                <a:gd name="connsiteY0" fmla="*/ 0 h 27899"/>
                <a:gd name="connsiteX1" fmla="*/ 16635 w 60779"/>
                <a:gd name="connsiteY1" fmla="*/ 1226 h 27899"/>
                <a:gd name="connsiteX2" fmla="*/ 19804 w 60779"/>
                <a:gd name="connsiteY2" fmla="*/ 1586 h 27899"/>
                <a:gd name="connsiteX3" fmla="*/ 22540 w 60779"/>
                <a:gd name="connsiteY3" fmla="*/ 1081 h 27899"/>
                <a:gd name="connsiteX4" fmla="*/ 26213 w 60779"/>
                <a:gd name="connsiteY4" fmla="*/ 721 h 27899"/>
                <a:gd name="connsiteX5" fmla="*/ 31974 w 60779"/>
                <a:gd name="connsiteY5" fmla="*/ 1153 h 27899"/>
                <a:gd name="connsiteX6" fmla="*/ 40256 w 60779"/>
                <a:gd name="connsiteY6" fmla="*/ 1298 h 27899"/>
                <a:gd name="connsiteX7" fmla="*/ 48609 w 60779"/>
                <a:gd name="connsiteY7" fmla="*/ 865 h 27899"/>
                <a:gd name="connsiteX8" fmla="*/ 51490 w 60779"/>
                <a:gd name="connsiteY8" fmla="*/ 793 h 27899"/>
                <a:gd name="connsiteX9" fmla="*/ 53938 w 60779"/>
                <a:gd name="connsiteY9" fmla="*/ 1802 h 27899"/>
                <a:gd name="connsiteX10" fmla="*/ 58259 w 60779"/>
                <a:gd name="connsiteY10" fmla="*/ 5407 h 27899"/>
                <a:gd name="connsiteX11" fmla="*/ 59699 w 60779"/>
                <a:gd name="connsiteY11" fmla="*/ 7209 h 27899"/>
                <a:gd name="connsiteX12" fmla="*/ 60563 w 60779"/>
                <a:gd name="connsiteY12" fmla="*/ 9300 h 27899"/>
                <a:gd name="connsiteX13" fmla="*/ 60779 w 60779"/>
                <a:gd name="connsiteY13" fmla="*/ 11607 h 27899"/>
                <a:gd name="connsiteX14" fmla="*/ 60203 w 60779"/>
                <a:gd name="connsiteY14" fmla="*/ 13914 h 27899"/>
                <a:gd name="connsiteX15" fmla="*/ 57683 w 60779"/>
                <a:gd name="connsiteY15" fmla="*/ 20979 h 27899"/>
                <a:gd name="connsiteX16" fmla="*/ 56243 w 60779"/>
                <a:gd name="connsiteY16" fmla="*/ 24079 h 27899"/>
                <a:gd name="connsiteX17" fmla="*/ 54154 w 60779"/>
                <a:gd name="connsiteY17" fmla="*/ 26602 h 27899"/>
                <a:gd name="connsiteX18" fmla="*/ 52930 w 60779"/>
                <a:gd name="connsiteY18" fmla="*/ 27179 h 27899"/>
                <a:gd name="connsiteX19" fmla="*/ 51490 w 60779"/>
                <a:gd name="connsiteY19" fmla="*/ 27251 h 27899"/>
                <a:gd name="connsiteX20" fmla="*/ 47961 w 60779"/>
                <a:gd name="connsiteY20" fmla="*/ 26602 h 27899"/>
                <a:gd name="connsiteX21" fmla="*/ 44288 w 60779"/>
                <a:gd name="connsiteY21" fmla="*/ 25593 h 27899"/>
                <a:gd name="connsiteX22" fmla="*/ 41120 w 60779"/>
                <a:gd name="connsiteY22" fmla="*/ 25160 h 27899"/>
                <a:gd name="connsiteX23" fmla="*/ 38815 w 60779"/>
                <a:gd name="connsiteY23" fmla="*/ 25737 h 27899"/>
                <a:gd name="connsiteX24" fmla="*/ 36799 w 60779"/>
                <a:gd name="connsiteY24" fmla="*/ 26746 h 27899"/>
                <a:gd name="connsiteX25" fmla="*/ 34711 w 60779"/>
                <a:gd name="connsiteY25" fmla="*/ 27612 h 27899"/>
                <a:gd name="connsiteX26" fmla="*/ 32334 w 60779"/>
                <a:gd name="connsiteY26" fmla="*/ 27900 h 27899"/>
                <a:gd name="connsiteX27" fmla="*/ 25565 w 60779"/>
                <a:gd name="connsiteY27" fmla="*/ 26098 h 27899"/>
                <a:gd name="connsiteX28" fmla="*/ 21748 w 60779"/>
                <a:gd name="connsiteY28" fmla="*/ 25593 h 27899"/>
                <a:gd name="connsiteX29" fmla="*/ 17355 w 60779"/>
                <a:gd name="connsiteY29" fmla="*/ 26314 h 27899"/>
                <a:gd name="connsiteX30" fmla="*/ 16203 w 60779"/>
                <a:gd name="connsiteY30" fmla="*/ 26458 h 27899"/>
                <a:gd name="connsiteX31" fmla="*/ 15123 w 60779"/>
                <a:gd name="connsiteY31" fmla="*/ 25953 h 27899"/>
                <a:gd name="connsiteX32" fmla="*/ 13971 w 60779"/>
                <a:gd name="connsiteY32" fmla="*/ 25377 h 27899"/>
                <a:gd name="connsiteX33" fmla="*/ 12746 w 60779"/>
                <a:gd name="connsiteY33" fmla="*/ 25088 h 27899"/>
                <a:gd name="connsiteX34" fmla="*/ 10082 w 60779"/>
                <a:gd name="connsiteY34" fmla="*/ 25016 h 27899"/>
                <a:gd name="connsiteX35" fmla="*/ 9074 w 60779"/>
                <a:gd name="connsiteY35" fmla="*/ 24656 h 27899"/>
                <a:gd name="connsiteX36" fmla="*/ 8570 w 60779"/>
                <a:gd name="connsiteY36" fmla="*/ 24079 h 27899"/>
                <a:gd name="connsiteX37" fmla="*/ 5329 w 60779"/>
                <a:gd name="connsiteY37" fmla="*/ 19105 h 27899"/>
                <a:gd name="connsiteX38" fmla="*/ 1872 w 60779"/>
                <a:gd name="connsiteY38" fmla="*/ 14995 h 27899"/>
                <a:gd name="connsiteX39" fmla="*/ 432 w 60779"/>
                <a:gd name="connsiteY39" fmla="*/ 13121 h 27899"/>
                <a:gd name="connsiteX40" fmla="*/ 0 w 60779"/>
                <a:gd name="connsiteY40" fmla="*/ 10958 h 27899"/>
                <a:gd name="connsiteX41" fmla="*/ 792 w 60779"/>
                <a:gd name="connsiteY41" fmla="*/ 8363 h 27899"/>
                <a:gd name="connsiteX42" fmla="*/ 2664 w 60779"/>
                <a:gd name="connsiteY42" fmla="*/ 5623 h 27899"/>
                <a:gd name="connsiteX43" fmla="*/ 7129 w 60779"/>
                <a:gd name="connsiteY43" fmla="*/ 0 h 27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0779" h="27899">
                  <a:moveTo>
                    <a:pt x="7129" y="0"/>
                  </a:moveTo>
                  <a:lnTo>
                    <a:pt x="16635" y="1226"/>
                  </a:lnTo>
                  <a:lnTo>
                    <a:pt x="19804" y="1586"/>
                  </a:lnTo>
                  <a:lnTo>
                    <a:pt x="22540" y="1081"/>
                  </a:lnTo>
                  <a:lnTo>
                    <a:pt x="26213" y="721"/>
                  </a:lnTo>
                  <a:lnTo>
                    <a:pt x="31974" y="1153"/>
                  </a:lnTo>
                  <a:lnTo>
                    <a:pt x="40256" y="1298"/>
                  </a:lnTo>
                  <a:lnTo>
                    <a:pt x="48609" y="865"/>
                  </a:lnTo>
                  <a:lnTo>
                    <a:pt x="51490" y="793"/>
                  </a:lnTo>
                  <a:lnTo>
                    <a:pt x="53938" y="1802"/>
                  </a:lnTo>
                  <a:lnTo>
                    <a:pt x="58259" y="5407"/>
                  </a:lnTo>
                  <a:lnTo>
                    <a:pt x="59699" y="7209"/>
                  </a:lnTo>
                  <a:lnTo>
                    <a:pt x="60563" y="9300"/>
                  </a:lnTo>
                  <a:lnTo>
                    <a:pt x="60779" y="11607"/>
                  </a:lnTo>
                  <a:lnTo>
                    <a:pt x="60203" y="13914"/>
                  </a:lnTo>
                  <a:lnTo>
                    <a:pt x="57683" y="20979"/>
                  </a:lnTo>
                  <a:lnTo>
                    <a:pt x="56243" y="24079"/>
                  </a:lnTo>
                  <a:lnTo>
                    <a:pt x="54154" y="26602"/>
                  </a:lnTo>
                  <a:lnTo>
                    <a:pt x="52930" y="27179"/>
                  </a:lnTo>
                  <a:lnTo>
                    <a:pt x="51490" y="27251"/>
                  </a:lnTo>
                  <a:lnTo>
                    <a:pt x="47961" y="26602"/>
                  </a:lnTo>
                  <a:lnTo>
                    <a:pt x="44288" y="25593"/>
                  </a:lnTo>
                  <a:lnTo>
                    <a:pt x="41120" y="25160"/>
                  </a:lnTo>
                  <a:lnTo>
                    <a:pt x="38815" y="25737"/>
                  </a:lnTo>
                  <a:lnTo>
                    <a:pt x="36799" y="26746"/>
                  </a:lnTo>
                  <a:lnTo>
                    <a:pt x="34711" y="27612"/>
                  </a:lnTo>
                  <a:lnTo>
                    <a:pt x="32334" y="27900"/>
                  </a:lnTo>
                  <a:lnTo>
                    <a:pt x="25565" y="26098"/>
                  </a:lnTo>
                  <a:lnTo>
                    <a:pt x="21748" y="25593"/>
                  </a:lnTo>
                  <a:lnTo>
                    <a:pt x="17355" y="26314"/>
                  </a:lnTo>
                  <a:lnTo>
                    <a:pt x="16203" y="26458"/>
                  </a:lnTo>
                  <a:lnTo>
                    <a:pt x="15123" y="25953"/>
                  </a:lnTo>
                  <a:lnTo>
                    <a:pt x="13971" y="25377"/>
                  </a:lnTo>
                  <a:lnTo>
                    <a:pt x="12746" y="25088"/>
                  </a:lnTo>
                  <a:lnTo>
                    <a:pt x="10082" y="25016"/>
                  </a:lnTo>
                  <a:lnTo>
                    <a:pt x="9074" y="24656"/>
                  </a:lnTo>
                  <a:lnTo>
                    <a:pt x="8570" y="24079"/>
                  </a:lnTo>
                  <a:lnTo>
                    <a:pt x="5329" y="19105"/>
                  </a:lnTo>
                  <a:lnTo>
                    <a:pt x="1872" y="14995"/>
                  </a:lnTo>
                  <a:lnTo>
                    <a:pt x="432" y="13121"/>
                  </a:lnTo>
                  <a:lnTo>
                    <a:pt x="0" y="10958"/>
                  </a:lnTo>
                  <a:lnTo>
                    <a:pt x="792" y="8363"/>
                  </a:lnTo>
                  <a:lnTo>
                    <a:pt x="2664" y="5623"/>
                  </a:lnTo>
                  <a:lnTo>
                    <a:pt x="7129" y="0"/>
                  </a:lnTo>
                </a:path>
              </a:pathLst>
            </a:custGeom>
            <a:solidFill>
              <a:srgbClr val="A9218E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997B05EB-A658-5462-F1EF-06501AFB71A9}"/>
                </a:ext>
              </a:extLst>
            </p:cNvPr>
            <p:cNvSpPr/>
            <p:nvPr/>
          </p:nvSpPr>
          <p:spPr>
            <a:xfrm>
              <a:off x="9664305" y="3546780"/>
              <a:ext cx="69565" cy="39506"/>
            </a:xfrm>
            <a:custGeom>
              <a:avLst/>
              <a:gdLst>
                <a:gd name="connsiteX0" fmla="*/ 22180 w 69565"/>
                <a:gd name="connsiteY0" fmla="*/ 216 h 39506"/>
                <a:gd name="connsiteX1" fmla="*/ 25709 w 69565"/>
                <a:gd name="connsiteY1" fmla="*/ 0 h 39506"/>
                <a:gd name="connsiteX2" fmla="*/ 29238 w 69565"/>
                <a:gd name="connsiteY2" fmla="*/ 360 h 39506"/>
                <a:gd name="connsiteX3" fmla="*/ 49545 w 69565"/>
                <a:gd name="connsiteY3" fmla="*/ 2379 h 39506"/>
                <a:gd name="connsiteX4" fmla="*/ 55234 w 69565"/>
                <a:gd name="connsiteY4" fmla="*/ 3244 h 39506"/>
                <a:gd name="connsiteX5" fmla="*/ 60635 w 69565"/>
                <a:gd name="connsiteY5" fmla="*/ 4758 h 39506"/>
                <a:gd name="connsiteX6" fmla="*/ 63084 w 69565"/>
                <a:gd name="connsiteY6" fmla="*/ 6272 h 39506"/>
                <a:gd name="connsiteX7" fmla="*/ 65244 w 69565"/>
                <a:gd name="connsiteY7" fmla="*/ 8435 h 39506"/>
                <a:gd name="connsiteX8" fmla="*/ 67045 w 69565"/>
                <a:gd name="connsiteY8" fmla="*/ 11679 h 39506"/>
                <a:gd name="connsiteX9" fmla="*/ 68485 w 69565"/>
                <a:gd name="connsiteY9" fmla="*/ 16005 h 39506"/>
                <a:gd name="connsiteX10" fmla="*/ 69565 w 69565"/>
                <a:gd name="connsiteY10" fmla="*/ 23358 h 39506"/>
                <a:gd name="connsiteX11" fmla="*/ 69205 w 69565"/>
                <a:gd name="connsiteY11" fmla="*/ 27035 h 39506"/>
                <a:gd name="connsiteX12" fmla="*/ 67837 w 69565"/>
                <a:gd name="connsiteY12" fmla="*/ 30423 h 39506"/>
                <a:gd name="connsiteX13" fmla="*/ 65964 w 69565"/>
                <a:gd name="connsiteY13" fmla="*/ 32586 h 39506"/>
                <a:gd name="connsiteX14" fmla="*/ 63516 w 69565"/>
                <a:gd name="connsiteY14" fmla="*/ 34460 h 39506"/>
                <a:gd name="connsiteX15" fmla="*/ 56963 w 69565"/>
                <a:gd name="connsiteY15" fmla="*/ 37272 h 39506"/>
                <a:gd name="connsiteX16" fmla="*/ 39751 w 69565"/>
                <a:gd name="connsiteY16" fmla="*/ 39507 h 39506"/>
                <a:gd name="connsiteX17" fmla="*/ 34278 w 69565"/>
                <a:gd name="connsiteY17" fmla="*/ 38786 h 39506"/>
                <a:gd name="connsiteX18" fmla="*/ 29021 w 69565"/>
                <a:gd name="connsiteY18" fmla="*/ 37272 h 39506"/>
                <a:gd name="connsiteX19" fmla="*/ 23764 w 69565"/>
                <a:gd name="connsiteY19" fmla="*/ 35830 h 39506"/>
                <a:gd name="connsiteX20" fmla="*/ 18652 w 69565"/>
                <a:gd name="connsiteY20" fmla="*/ 35253 h 39506"/>
                <a:gd name="connsiteX21" fmla="*/ 11450 w 69565"/>
                <a:gd name="connsiteY21" fmla="*/ 34388 h 39506"/>
                <a:gd name="connsiteX22" fmla="*/ 6049 w 69565"/>
                <a:gd name="connsiteY22" fmla="*/ 31721 h 39506"/>
                <a:gd name="connsiteX23" fmla="*/ 2448 w 69565"/>
                <a:gd name="connsiteY23" fmla="*/ 27900 h 39506"/>
                <a:gd name="connsiteX24" fmla="*/ 504 w 69565"/>
                <a:gd name="connsiteY24" fmla="*/ 23574 h 39506"/>
                <a:gd name="connsiteX25" fmla="*/ 0 w 69565"/>
                <a:gd name="connsiteY25" fmla="*/ 18816 h 39506"/>
                <a:gd name="connsiteX26" fmla="*/ 1152 w 69565"/>
                <a:gd name="connsiteY26" fmla="*/ 14707 h 39506"/>
                <a:gd name="connsiteX27" fmla="*/ 3529 w 69565"/>
                <a:gd name="connsiteY27" fmla="*/ 11246 h 39506"/>
                <a:gd name="connsiteX28" fmla="*/ 6625 w 69565"/>
                <a:gd name="connsiteY28" fmla="*/ 8507 h 39506"/>
                <a:gd name="connsiteX29" fmla="*/ 13395 w 69565"/>
                <a:gd name="connsiteY29" fmla="*/ 4758 h 39506"/>
                <a:gd name="connsiteX30" fmla="*/ 18003 w 69565"/>
                <a:gd name="connsiteY30" fmla="*/ 3100 h 39506"/>
                <a:gd name="connsiteX31" fmla="*/ 19156 w 69565"/>
                <a:gd name="connsiteY31" fmla="*/ 2523 h 39506"/>
                <a:gd name="connsiteX32" fmla="*/ 19948 w 69565"/>
                <a:gd name="connsiteY32" fmla="*/ 1730 h 39506"/>
                <a:gd name="connsiteX33" fmla="*/ 20812 w 69565"/>
                <a:gd name="connsiteY33" fmla="*/ 865 h 39506"/>
                <a:gd name="connsiteX34" fmla="*/ 22180 w 69565"/>
                <a:gd name="connsiteY34" fmla="*/ 216 h 3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9565" h="39506">
                  <a:moveTo>
                    <a:pt x="22180" y="216"/>
                  </a:moveTo>
                  <a:lnTo>
                    <a:pt x="25709" y="0"/>
                  </a:lnTo>
                  <a:lnTo>
                    <a:pt x="29238" y="360"/>
                  </a:lnTo>
                  <a:lnTo>
                    <a:pt x="49545" y="2379"/>
                  </a:lnTo>
                  <a:lnTo>
                    <a:pt x="55234" y="3244"/>
                  </a:lnTo>
                  <a:lnTo>
                    <a:pt x="60635" y="4758"/>
                  </a:lnTo>
                  <a:lnTo>
                    <a:pt x="63084" y="6272"/>
                  </a:lnTo>
                  <a:lnTo>
                    <a:pt x="65244" y="8435"/>
                  </a:lnTo>
                  <a:lnTo>
                    <a:pt x="67045" y="11679"/>
                  </a:lnTo>
                  <a:lnTo>
                    <a:pt x="68485" y="16005"/>
                  </a:lnTo>
                  <a:lnTo>
                    <a:pt x="69565" y="23358"/>
                  </a:lnTo>
                  <a:lnTo>
                    <a:pt x="69205" y="27035"/>
                  </a:lnTo>
                  <a:lnTo>
                    <a:pt x="67837" y="30423"/>
                  </a:lnTo>
                  <a:lnTo>
                    <a:pt x="65964" y="32586"/>
                  </a:lnTo>
                  <a:lnTo>
                    <a:pt x="63516" y="34460"/>
                  </a:lnTo>
                  <a:lnTo>
                    <a:pt x="56963" y="37272"/>
                  </a:lnTo>
                  <a:lnTo>
                    <a:pt x="39751" y="39507"/>
                  </a:lnTo>
                  <a:lnTo>
                    <a:pt x="34278" y="38786"/>
                  </a:lnTo>
                  <a:lnTo>
                    <a:pt x="29021" y="37272"/>
                  </a:lnTo>
                  <a:lnTo>
                    <a:pt x="23764" y="35830"/>
                  </a:lnTo>
                  <a:lnTo>
                    <a:pt x="18652" y="35253"/>
                  </a:lnTo>
                  <a:lnTo>
                    <a:pt x="11450" y="34388"/>
                  </a:lnTo>
                  <a:lnTo>
                    <a:pt x="6049" y="31721"/>
                  </a:lnTo>
                  <a:lnTo>
                    <a:pt x="2448" y="27900"/>
                  </a:lnTo>
                  <a:lnTo>
                    <a:pt x="504" y="23574"/>
                  </a:lnTo>
                  <a:lnTo>
                    <a:pt x="0" y="18816"/>
                  </a:lnTo>
                  <a:lnTo>
                    <a:pt x="1152" y="14707"/>
                  </a:lnTo>
                  <a:lnTo>
                    <a:pt x="3529" y="11246"/>
                  </a:lnTo>
                  <a:lnTo>
                    <a:pt x="6625" y="8507"/>
                  </a:lnTo>
                  <a:lnTo>
                    <a:pt x="13395" y="4758"/>
                  </a:lnTo>
                  <a:lnTo>
                    <a:pt x="18003" y="3100"/>
                  </a:lnTo>
                  <a:lnTo>
                    <a:pt x="19156" y="2523"/>
                  </a:lnTo>
                  <a:lnTo>
                    <a:pt x="19948" y="1730"/>
                  </a:lnTo>
                  <a:lnTo>
                    <a:pt x="20812" y="865"/>
                  </a:lnTo>
                  <a:lnTo>
                    <a:pt x="22180" y="216"/>
                  </a:lnTo>
                </a:path>
              </a:pathLst>
            </a:custGeom>
            <a:solidFill>
              <a:srgbClr val="353D98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8996177B-900B-7A9A-078C-0088C021B0F5}"/>
                </a:ext>
              </a:extLst>
            </p:cNvPr>
            <p:cNvSpPr/>
            <p:nvPr/>
          </p:nvSpPr>
          <p:spPr>
            <a:xfrm>
              <a:off x="9669201" y="3603950"/>
              <a:ext cx="58186" cy="38137"/>
            </a:xfrm>
            <a:custGeom>
              <a:avLst/>
              <a:gdLst>
                <a:gd name="connsiteX0" fmla="*/ 32838 w 58186"/>
                <a:gd name="connsiteY0" fmla="*/ 0 h 38137"/>
                <a:gd name="connsiteX1" fmla="*/ 39463 w 58186"/>
                <a:gd name="connsiteY1" fmla="*/ 577 h 38137"/>
                <a:gd name="connsiteX2" fmla="*/ 46377 w 58186"/>
                <a:gd name="connsiteY2" fmla="*/ 3100 h 38137"/>
                <a:gd name="connsiteX3" fmla="*/ 48393 w 58186"/>
                <a:gd name="connsiteY3" fmla="*/ 5046 h 38137"/>
                <a:gd name="connsiteX4" fmla="*/ 50049 w 58186"/>
                <a:gd name="connsiteY4" fmla="*/ 6560 h 38137"/>
                <a:gd name="connsiteX5" fmla="*/ 53506 w 58186"/>
                <a:gd name="connsiteY5" fmla="*/ 7281 h 38137"/>
                <a:gd name="connsiteX6" fmla="*/ 55162 w 58186"/>
                <a:gd name="connsiteY6" fmla="*/ 7786 h 38137"/>
                <a:gd name="connsiteX7" fmla="*/ 56243 w 58186"/>
                <a:gd name="connsiteY7" fmla="*/ 8723 h 38137"/>
                <a:gd name="connsiteX8" fmla="*/ 58043 w 58186"/>
                <a:gd name="connsiteY8" fmla="*/ 16653 h 38137"/>
                <a:gd name="connsiteX9" fmla="*/ 58187 w 58186"/>
                <a:gd name="connsiteY9" fmla="*/ 21700 h 38137"/>
                <a:gd name="connsiteX10" fmla="*/ 57395 w 58186"/>
                <a:gd name="connsiteY10" fmla="*/ 25881 h 38137"/>
                <a:gd name="connsiteX11" fmla="*/ 55882 w 58186"/>
                <a:gd name="connsiteY11" fmla="*/ 28477 h 38137"/>
                <a:gd name="connsiteX12" fmla="*/ 53722 w 58186"/>
                <a:gd name="connsiteY12" fmla="*/ 30784 h 38137"/>
                <a:gd name="connsiteX13" fmla="*/ 48033 w 58186"/>
                <a:gd name="connsiteY13" fmla="*/ 34388 h 38137"/>
                <a:gd name="connsiteX14" fmla="*/ 40904 w 58186"/>
                <a:gd name="connsiteY14" fmla="*/ 36767 h 38137"/>
                <a:gd name="connsiteX15" fmla="*/ 32910 w 58186"/>
                <a:gd name="connsiteY15" fmla="*/ 37993 h 38137"/>
                <a:gd name="connsiteX16" fmla="*/ 24701 w 58186"/>
                <a:gd name="connsiteY16" fmla="*/ 38137 h 38137"/>
                <a:gd name="connsiteX17" fmla="*/ 16851 w 58186"/>
                <a:gd name="connsiteY17" fmla="*/ 37200 h 38137"/>
                <a:gd name="connsiteX18" fmla="*/ 9938 w 58186"/>
                <a:gd name="connsiteY18" fmla="*/ 35398 h 38137"/>
                <a:gd name="connsiteX19" fmla="*/ 4681 w 58186"/>
                <a:gd name="connsiteY19" fmla="*/ 32730 h 38137"/>
                <a:gd name="connsiteX20" fmla="*/ 3025 w 58186"/>
                <a:gd name="connsiteY20" fmla="*/ 31144 h 38137"/>
                <a:gd name="connsiteX21" fmla="*/ 1872 w 58186"/>
                <a:gd name="connsiteY21" fmla="*/ 29270 h 38137"/>
                <a:gd name="connsiteX22" fmla="*/ 432 w 58186"/>
                <a:gd name="connsiteY22" fmla="*/ 25016 h 38137"/>
                <a:gd name="connsiteX23" fmla="*/ 0 w 58186"/>
                <a:gd name="connsiteY23" fmla="*/ 20330 h 38137"/>
                <a:gd name="connsiteX24" fmla="*/ 936 w 58186"/>
                <a:gd name="connsiteY24" fmla="*/ 16221 h 38137"/>
                <a:gd name="connsiteX25" fmla="*/ 3097 w 58186"/>
                <a:gd name="connsiteY25" fmla="*/ 12688 h 38137"/>
                <a:gd name="connsiteX26" fmla="*/ 5977 w 58186"/>
                <a:gd name="connsiteY26" fmla="*/ 9733 h 38137"/>
                <a:gd name="connsiteX27" fmla="*/ 13106 w 58186"/>
                <a:gd name="connsiteY27" fmla="*/ 5623 h 38137"/>
                <a:gd name="connsiteX28" fmla="*/ 19732 w 58186"/>
                <a:gd name="connsiteY28" fmla="*/ 3821 h 38137"/>
                <a:gd name="connsiteX29" fmla="*/ 26429 w 58186"/>
                <a:gd name="connsiteY29" fmla="*/ 1802 h 38137"/>
                <a:gd name="connsiteX30" fmla="*/ 32838 w 58186"/>
                <a:gd name="connsiteY30" fmla="*/ 0 h 3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8186" h="38137">
                  <a:moveTo>
                    <a:pt x="32838" y="0"/>
                  </a:moveTo>
                  <a:lnTo>
                    <a:pt x="39463" y="577"/>
                  </a:lnTo>
                  <a:lnTo>
                    <a:pt x="46377" y="3100"/>
                  </a:lnTo>
                  <a:lnTo>
                    <a:pt x="48393" y="5046"/>
                  </a:lnTo>
                  <a:lnTo>
                    <a:pt x="50049" y="6560"/>
                  </a:lnTo>
                  <a:lnTo>
                    <a:pt x="53506" y="7281"/>
                  </a:lnTo>
                  <a:lnTo>
                    <a:pt x="55162" y="7786"/>
                  </a:lnTo>
                  <a:lnTo>
                    <a:pt x="56243" y="8723"/>
                  </a:lnTo>
                  <a:lnTo>
                    <a:pt x="58043" y="16653"/>
                  </a:lnTo>
                  <a:lnTo>
                    <a:pt x="58187" y="21700"/>
                  </a:lnTo>
                  <a:lnTo>
                    <a:pt x="57395" y="25881"/>
                  </a:lnTo>
                  <a:lnTo>
                    <a:pt x="55882" y="28477"/>
                  </a:lnTo>
                  <a:lnTo>
                    <a:pt x="53722" y="30784"/>
                  </a:lnTo>
                  <a:lnTo>
                    <a:pt x="48033" y="34388"/>
                  </a:lnTo>
                  <a:lnTo>
                    <a:pt x="40904" y="36767"/>
                  </a:lnTo>
                  <a:lnTo>
                    <a:pt x="32910" y="37993"/>
                  </a:lnTo>
                  <a:lnTo>
                    <a:pt x="24701" y="38137"/>
                  </a:lnTo>
                  <a:lnTo>
                    <a:pt x="16851" y="37200"/>
                  </a:lnTo>
                  <a:lnTo>
                    <a:pt x="9938" y="35398"/>
                  </a:lnTo>
                  <a:lnTo>
                    <a:pt x="4681" y="32730"/>
                  </a:lnTo>
                  <a:lnTo>
                    <a:pt x="3025" y="31144"/>
                  </a:lnTo>
                  <a:lnTo>
                    <a:pt x="1872" y="29270"/>
                  </a:lnTo>
                  <a:lnTo>
                    <a:pt x="432" y="25016"/>
                  </a:lnTo>
                  <a:lnTo>
                    <a:pt x="0" y="20330"/>
                  </a:lnTo>
                  <a:lnTo>
                    <a:pt x="936" y="16221"/>
                  </a:lnTo>
                  <a:lnTo>
                    <a:pt x="3097" y="12688"/>
                  </a:lnTo>
                  <a:lnTo>
                    <a:pt x="5977" y="9733"/>
                  </a:lnTo>
                  <a:lnTo>
                    <a:pt x="13106" y="5623"/>
                  </a:lnTo>
                  <a:lnTo>
                    <a:pt x="19732" y="3821"/>
                  </a:lnTo>
                  <a:lnTo>
                    <a:pt x="26429" y="1802"/>
                  </a:lnTo>
                  <a:lnTo>
                    <a:pt x="32838" y="0"/>
                  </a:lnTo>
                </a:path>
              </a:pathLst>
            </a:custGeom>
            <a:solidFill>
              <a:srgbClr val="002E56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90853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aphic O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 with medium confidence">
            <a:extLst>
              <a:ext uri="{FF2B5EF4-FFF2-40B4-BE49-F238E27FC236}">
                <a16:creationId xmlns:a16="http://schemas.microsoft.com/office/drawing/2014/main" xmlns="" id="{DEF6014B-8DED-259B-3114-2170205FC5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30269DC-591D-B944-A479-80E360E756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4404" y="3834884"/>
            <a:ext cx="5133724" cy="658717"/>
          </a:xfrm>
        </p:spPr>
        <p:txBody>
          <a:bodyPr lIns="91440" tIns="45720" rIns="91440" bIns="45720">
            <a:noAutofit/>
          </a:bodyPr>
          <a:lstStyle>
            <a:lvl1pPr marL="0" indent="0" algn="r">
              <a:buNone/>
              <a:defRPr sz="2400" b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(Arial 24pt)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2F7201-0FDA-CE47-A9F3-7594A2B9A9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4404" y="2574295"/>
            <a:ext cx="5133724" cy="1237410"/>
          </a:xfrm>
        </p:spPr>
        <p:txBody>
          <a:bodyPr lIns="91440" tIns="45720" rIns="91440" bIns="45720" anchor="b">
            <a:noAutofit/>
          </a:bodyPr>
          <a:lstStyle>
            <a:lvl1pPr algn="r">
              <a:defRPr sz="4000" b="0" i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40pt)</a:t>
            </a:r>
            <a:endParaRPr lang="x-none"/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xmlns="" id="{50195C38-5D76-935A-E5C2-4113D04702F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386888" y="3986212"/>
            <a:ext cx="2182812" cy="50292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Brand logo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92BD0AAE-2EDD-D5F4-DE29-D7B60DAAA184}"/>
              </a:ext>
            </a:extLst>
          </p:cNvPr>
          <p:cNvGrpSpPr/>
          <p:nvPr userDrawn="1"/>
        </p:nvGrpSpPr>
        <p:grpSpPr>
          <a:xfrm>
            <a:off x="9387557" y="3323005"/>
            <a:ext cx="2184530" cy="319082"/>
            <a:chOff x="9387557" y="3323005"/>
            <a:chExt cx="2184530" cy="319082"/>
          </a:xfrm>
        </p:grpSpPr>
        <p:grpSp>
          <p:nvGrpSpPr>
            <p:cNvPr id="11" name="Picture 7">
              <a:extLst>
                <a:ext uri="{FF2B5EF4-FFF2-40B4-BE49-F238E27FC236}">
                  <a16:creationId xmlns:a16="http://schemas.microsoft.com/office/drawing/2014/main" xmlns="" id="{CE06F52C-15DC-F105-E302-97B57035A3BB}"/>
                </a:ext>
              </a:extLst>
            </p:cNvPr>
            <p:cNvGrpSpPr/>
            <p:nvPr/>
          </p:nvGrpSpPr>
          <p:grpSpPr>
            <a:xfrm>
              <a:off x="9387557" y="3323005"/>
              <a:ext cx="2184530" cy="314756"/>
              <a:chOff x="9387557" y="3323005"/>
              <a:chExt cx="2184530" cy="314756"/>
            </a:xfrm>
            <a:solidFill>
              <a:srgbClr val="28509C"/>
            </a:solidFill>
          </p:grpSpPr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xmlns="" id="{08CC3093-E3D8-588A-8429-FF62FC8239E1}"/>
                  </a:ext>
                </a:extLst>
              </p:cNvPr>
              <p:cNvSpPr/>
              <p:nvPr/>
            </p:nvSpPr>
            <p:spPr>
              <a:xfrm>
                <a:off x="10500022" y="3323005"/>
                <a:ext cx="270122" cy="308340"/>
              </a:xfrm>
              <a:custGeom>
                <a:avLst/>
                <a:gdLst>
                  <a:gd name="connsiteX0" fmla="*/ 135025 w 270122"/>
                  <a:gd name="connsiteY0" fmla="*/ 0 h 308340"/>
                  <a:gd name="connsiteX1" fmla="*/ 0 w 270122"/>
                  <a:gd name="connsiteY1" fmla="*/ 308341 h 308340"/>
                  <a:gd name="connsiteX2" fmla="*/ 28949 w 270122"/>
                  <a:gd name="connsiteY2" fmla="*/ 308341 h 308340"/>
                  <a:gd name="connsiteX3" fmla="*/ 76262 w 270122"/>
                  <a:gd name="connsiteY3" fmla="*/ 200274 h 308340"/>
                  <a:gd name="connsiteX4" fmla="*/ 193933 w 270122"/>
                  <a:gd name="connsiteY4" fmla="*/ 200274 h 308340"/>
                  <a:gd name="connsiteX5" fmla="*/ 241533 w 270122"/>
                  <a:gd name="connsiteY5" fmla="*/ 308341 h 308340"/>
                  <a:gd name="connsiteX6" fmla="*/ 270123 w 270122"/>
                  <a:gd name="connsiteY6" fmla="*/ 308341 h 308340"/>
                  <a:gd name="connsiteX7" fmla="*/ 135025 w 270122"/>
                  <a:gd name="connsiteY7" fmla="*/ 0 h 308340"/>
                  <a:gd name="connsiteX8" fmla="*/ 87640 w 270122"/>
                  <a:gd name="connsiteY8" fmla="*/ 174104 h 308340"/>
                  <a:gd name="connsiteX9" fmla="*/ 134809 w 270122"/>
                  <a:gd name="connsiteY9" fmla="*/ 66181 h 308340"/>
                  <a:gd name="connsiteX10" fmla="*/ 182338 w 270122"/>
                  <a:gd name="connsiteY10" fmla="*/ 174104 h 308340"/>
                  <a:gd name="connsiteX11" fmla="*/ 87568 w 270122"/>
                  <a:gd name="connsiteY11" fmla="*/ 174104 h 30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0122" h="308340">
                    <a:moveTo>
                      <a:pt x="135025" y="0"/>
                    </a:moveTo>
                    <a:lnTo>
                      <a:pt x="0" y="308341"/>
                    </a:lnTo>
                    <a:lnTo>
                      <a:pt x="28949" y="308341"/>
                    </a:lnTo>
                    <a:lnTo>
                      <a:pt x="76262" y="200274"/>
                    </a:lnTo>
                    <a:lnTo>
                      <a:pt x="193933" y="200274"/>
                    </a:lnTo>
                    <a:lnTo>
                      <a:pt x="241533" y="308341"/>
                    </a:lnTo>
                    <a:lnTo>
                      <a:pt x="270123" y="308341"/>
                    </a:lnTo>
                    <a:lnTo>
                      <a:pt x="135025" y="0"/>
                    </a:lnTo>
                    <a:close/>
                    <a:moveTo>
                      <a:pt x="87640" y="174104"/>
                    </a:moveTo>
                    <a:lnTo>
                      <a:pt x="134809" y="66181"/>
                    </a:lnTo>
                    <a:lnTo>
                      <a:pt x="182338" y="174104"/>
                    </a:lnTo>
                    <a:lnTo>
                      <a:pt x="87568" y="174104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2B9C6BC0-7CF3-51C3-D463-4F3302F10579}"/>
                  </a:ext>
                </a:extLst>
              </p:cNvPr>
              <p:cNvSpPr/>
              <p:nvPr/>
            </p:nvSpPr>
            <p:spPr>
              <a:xfrm>
                <a:off x="11126107" y="3329421"/>
                <a:ext cx="26140" cy="301852"/>
              </a:xfrm>
              <a:custGeom>
                <a:avLst/>
                <a:gdLst>
                  <a:gd name="connsiteX0" fmla="*/ 0 w 26140"/>
                  <a:gd name="connsiteY0" fmla="*/ 0 h 301852"/>
                  <a:gd name="connsiteX1" fmla="*/ 26141 w 26140"/>
                  <a:gd name="connsiteY1" fmla="*/ 0 h 301852"/>
                  <a:gd name="connsiteX2" fmla="*/ 26141 w 26140"/>
                  <a:gd name="connsiteY2" fmla="*/ 301852 h 301852"/>
                  <a:gd name="connsiteX3" fmla="*/ 0 w 26140"/>
                  <a:gd name="connsiteY3" fmla="*/ 301852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40" h="301852">
                    <a:moveTo>
                      <a:pt x="0" y="0"/>
                    </a:moveTo>
                    <a:lnTo>
                      <a:pt x="26141" y="0"/>
                    </a:lnTo>
                    <a:lnTo>
                      <a:pt x="26141" y="301852"/>
                    </a:lnTo>
                    <a:lnTo>
                      <a:pt x="0" y="30185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9C4F6D0A-075F-AA08-7864-E16208A9F8AF}"/>
                  </a:ext>
                </a:extLst>
              </p:cNvPr>
              <p:cNvSpPr/>
              <p:nvPr/>
            </p:nvSpPr>
            <p:spPr>
              <a:xfrm>
                <a:off x="10168471" y="3323509"/>
                <a:ext cx="276820" cy="307763"/>
              </a:xfrm>
              <a:custGeom>
                <a:avLst/>
                <a:gdLst>
                  <a:gd name="connsiteX0" fmla="*/ 137762 w 276820"/>
                  <a:gd name="connsiteY0" fmla="*/ 139139 h 307763"/>
                  <a:gd name="connsiteX1" fmla="*/ 0 w 276820"/>
                  <a:gd name="connsiteY1" fmla="*/ 144 h 307763"/>
                  <a:gd name="connsiteX2" fmla="*/ 144 w 276820"/>
                  <a:gd name="connsiteY2" fmla="*/ 307764 h 307763"/>
                  <a:gd name="connsiteX3" fmla="*/ 26285 w 276820"/>
                  <a:gd name="connsiteY3" fmla="*/ 307764 h 307763"/>
                  <a:gd name="connsiteX4" fmla="*/ 26285 w 276820"/>
                  <a:gd name="connsiteY4" fmla="*/ 63946 h 307763"/>
                  <a:gd name="connsiteX5" fmla="*/ 137474 w 276820"/>
                  <a:gd name="connsiteY5" fmla="*/ 176555 h 307763"/>
                  <a:gd name="connsiteX6" fmla="*/ 250679 w 276820"/>
                  <a:gd name="connsiteY6" fmla="*/ 63370 h 307763"/>
                  <a:gd name="connsiteX7" fmla="*/ 250679 w 276820"/>
                  <a:gd name="connsiteY7" fmla="*/ 307764 h 307763"/>
                  <a:gd name="connsiteX8" fmla="*/ 276820 w 276820"/>
                  <a:gd name="connsiteY8" fmla="*/ 307764 h 307763"/>
                  <a:gd name="connsiteX9" fmla="*/ 276820 w 276820"/>
                  <a:gd name="connsiteY9" fmla="*/ 0 h 307763"/>
                  <a:gd name="connsiteX10" fmla="*/ 137762 w 276820"/>
                  <a:gd name="connsiteY10" fmla="*/ 139139 h 30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6820" h="307763">
                    <a:moveTo>
                      <a:pt x="137762" y="139139"/>
                    </a:moveTo>
                    <a:lnTo>
                      <a:pt x="0" y="144"/>
                    </a:lnTo>
                    <a:lnTo>
                      <a:pt x="144" y="307764"/>
                    </a:lnTo>
                    <a:lnTo>
                      <a:pt x="26285" y="307764"/>
                    </a:lnTo>
                    <a:lnTo>
                      <a:pt x="26285" y="63946"/>
                    </a:lnTo>
                    <a:lnTo>
                      <a:pt x="137474" y="176555"/>
                    </a:lnTo>
                    <a:lnTo>
                      <a:pt x="250679" y="63370"/>
                    </a:lnTo>
                    <a:lnTo>
                      <a:pt x="250679" y="307764"/>
                    </a:lnTo>
                    <a:lnTo>
                      <a:pt x="276820" y="307764"/>
                    </a:lnTo>
                    <a:lnTo>
                      <a:pt x="276820" y="0"/>
                    </a:lnTo>
                    <a:lnTo>
                      <a:pt x="137762" y="13913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04B71429-6B82-9BF7-D05D-2D8BD19D8B26}"/>
                  </a:ext>
                </a:extLst>
              </p:cNvPr>
              <p:cNvSpPr/>
              <p:nvPr/>
            </p:nvSpPr>
            <p:spPr>
              <a:xfrm>
                <a:off x="11259260" y="3324302"/>
                <a:ext cx="228210" cy="313459"/>
              </a:xfrm>
              <a:custGeom>
                <a:avLst/>
                <a:gdLst>
                  <a:gd name="connsiteX0" fmla="*/ 201998 w 228210"/>
                  <a:gd name="connsiteY0" fmla="*/ 5119 h 313459"/>
                  <a:gd name="connsiteX1" fmla="*/ 201998 w 228210"/>
                  <a:gd name="connsiteY1" fmla="*/ 240213 h 313459"/>
                  <a:gd name="connsiteX2" fmla="*/ 0 w 228210"/>
                  <a:gd name="connsiteY2" fmla="*/ 0 h 313459"/>
                  <a:gd name="connsiteX3" fmla="*/ 0 w 228210"/>
                  <a:gd name="connsiteY3" fmla="*/ 41814 h 313459"/>
                  <a:gd name="connsiteX4" fmla="*/ 0 w 228210"/>
                  <a:gd name="connsiteY4" fmla="*/ 306971 h 313459"/>
                  <a:gd name="connsiteX5" fmla="*/ 26141 w 228210"/>
                  <a:gd name="connsiteY5" fmla="*/ 306971 h 313459"/>
                  <a:gd name="connsiteX6" fmla="*/ 26141 w 228210"/>
                  <a:gd name="connsiteY6" fmla="*/ 72958 h 313459"/>
                  <a:gd name="connsiteX7" fmla="*/ 228211 w 228210"/>
                  <a:gd name="connsiteY7" fmla="*/ 313459 h 313459"/>
                  <a:gd name="connsiteX8" fmla="*/ 228211 w 228210"/>
                  <a:gd name="connsiteY8" fmla="*/ 5119 h 313459"/>
                  <a:gd name="connsiteX9" fmla="*/ 201998 w 228210"/>
                  <a:gd name="connsiteY9" fmla="*/ 5119 h 31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210" h="313459">
                    <a:moveTo>
                      <a:pt x="201998" y="5119"/>
                    </a:moveTo>
                    <a:lnTo>
                      <a:pt x="201998" y="240213"/>
                    </a:lnTo>
                    <a:lnTo>
                      <a:pt x="0" y="0"/>
                    </a:lnTo>
                    <a:lnTo>
                      <a:pt x="0" y="41814"/>
                    </a:lnTo>
                    <a:lnTo>
                      <a:pt x="0" y="306971"/>
                    </a:lnTo>
                    <a:lnTo>
                      <a:pt x="26141" y="306971"/>
                    </a:lnTo>
                    <a:lnTo>
                      <a:pt x="26141" y="72958"/>
                    </a:lnTo>
                    <a:lnTo>
                      <a:pt x="228211" y="313459"/>
                    </a:lnTo>
                    <a:lnTo>
                      <a:pt x="228211" y="5119"/>
                    </a:lnTo>
                    <a:lnTo>
                      <a:pt x="201998" y="511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BB37870C-DCA2-1650-812A-209D17601343}"/>
                  </a:ext>
                </a:extLst>
              </p:cNvPr>
              <p:cNvSpPr/>
              <p:nvPr/>
            </p:nvSpPr>
            <p:spPr>
              <a:xfrm>
                <a:off x="10827179" y="3329637"/>
                <a:ext cx="218993" cy="301780"/>
              </a:xfrm>
              <a:custGeom>
                <a:avLst/>
                <a:gdLst>
                  <a:gd name="connsiteX0" fmla="*/ 189468 w 218993"/>
                  <a:gd name="connsiteY0" fmla="*/ 301780 h 301780"/>
                  <a:gd name="connsiteX1" fmla="*/ 218993 w 218993"/>
                  <a:gd name="connsiteY1" fmla="*/ 301780 h 301780"/>
                  <a:gd name="connsiteX2" fmla="*/ 146692 w 218993"/>
                  <a:gd name="connsiteY2" fmla="*/ 160478 h 301780"/>
                  <a:gd name="connsiteX3" fmla="*/ 206319 w 218993"/>
                  <a:gd name="connsiteY3" fmla="*/ 89467 h 301780"/>
                  <a:gd name="connsiteX4" fmla="*/ 206391 w 218993"/>
                  <a:gd name="connsiteY4" fmla="*/ 89467 h 301780"/>
                  <a:gd name="connsiteX5" fmla="*/ 206391 w 218993"/>
                  <a:gd name="connsiteY5" fmla="*/ 87809 h 301780"/>
                  <a:gd name="connsiteX6" fmla="*/ 206679 w 218993"/>
                  <a:gd name="connsiteY6" fmla="*/ 82979 h 301780"/>
                  <a:gd name="connsiteX7" fmla="*/ 206391 w 218993"/>
                  <a:gd name="connsiteY7" fmla="*/ 82979 h 301780"/>
                  <a:gd name="connsiteX8" fmla="*/ 206391 w 218993"/>
                  <a:gd name="connsiteY8" fmla="*/ 80167 h 301780"/>
                  <a:gd name="connsiteX9" fmla="*/ 206679 w 218993"/>
                  <a:gd name="connsiteY9" fmla="*/ 80167 h 301780"/>
                  <a:gd name="connsiteX10" fmla="*/ 206391 w 218993"/>
                  <a:gd name="connsiteY10" fmla="*/ 75265 h 301780"/>
                  <a:gd name="connsiteX11" fmla="*/ 206391 w 218993"/>
                  <a:gd name="connsiteY11" fmla="*/ 75265 h 301780"/>
                  <a:gd name="connsiteX12" fmla="*/ 126600 w 218993"/>
                  <a:gd name="connsiteY12" fmla="*/ 0 h 301780"/>
                  <a:gd name="connsiteX13" fmla="*/ 0 w 218993"/>
                  <a:gd name="connsiteY13" fmla="*/ 0 h 301780"/>
                  <a:gd name="connsiteX14" fmla="*/ 0 w 218993"/>
                  <a:gd name="connsiteY14" fmla="*/ 301708 h 301780"/>
                  <a:gd name="connsiteX15" fmla="*/ 26141 w 218993"/>
                  <a:gd name="connsiteY15" fmla="*/ 301708 h 301780"/>
                  <a:gd name="connsiteX16" fmla="*/ 26141 w 218993"/>
                  <a:gd name="connsiteY16" fmla="*/ 163002 h 301780"/>
                  <a:gd name="connsiteX17" fmla="*/ 118390 w 218993"/>
                  <a:gd name="connsiteY17" fmla="*/ 163002 h 301780"/>
                  <a:gd name="connsiteX18" fmla="*/ 189468 w 218993"/>
                  <a:gd name="connsiteY18" fmla="*/ 301780 h 301780"/>
                  <a:gd name="connsiteX19" fmla="*/ 26141 w 218993"/>
                  <a:gd name="connsiteY19" fmla="*/ 26242 h 301780"/>
                  <a:gd name="connsiteX20" fmla="*/ 126600 w 218993"/>
                  <a:gd name="connsiteY20" fmla="*/ 26242 h 301780"/>
                  <a:gd name="connsiteX21" fmla="*/ 180250 w 218993"/>
                  <a:gd name="connsiteY21" fmla="*/ 79014 h 301780"/>
                  <a:gd name="connsiteX22" fmla="*/ 180250 w 218993"/>
                  <a:gd name="connsiteY22" fmla="*/ 83988 h 301780"/>
                  <a:gd name="connsiteX23" fmla="*/ 126600 w 218993"/>
                  <a:gd name="connsiteY23" fmla="*/ 136688 h 301780"/>
                  <a:gd name="connsiteX24" fmla="*/ 126600 w 218993"/>
                  <a:gd name="connsiteY24" fmla="*/ 136688 h 301780"/>
                  <a:gd name="connsiteX25" fmla="*/ 26141 w 218993"/>
                  <a:gd name="connsiteY25" fmla="*/ 136760 h 301780"/>
                  <a:gd name="connsiteX26" fmla="*/ 26141 w 218993"/>
                  <a:gd name="connsiteY26" fmla="*/ 26242 h 301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8993" h="301780">
                    <a:moveTo>
                      <a:pt x="189468" y="301780"/>
                    </a:moveTo>
                    <a:lnTo>
                      <a:pt x="218993" y="301780"/>
                    </a:lnTo>
                    <a:cubicBezTo>
                      <a:pt x="218993" y="301780"/>
                      <a:pt x="146692" y="160478"/>
                      <a:pt x="146692" y="160478"/>
                    </a:cubicBezTo>
                    <a:cubicBezTo>
                      <a:pt x="179098" y="152044"/>
                      <a:pt x="203582" y="123855"/>
                      <a:pt x="206319" y="89467"/>
                    </a:cubicBezTo>
                    <a:lnTo>
                      <a:pt x="206391" y="89467"/>
                    </a:lnTo>
                    <a:lnTo>
                      <a:pt x="206391" y="87809"/>
                    </a:lnTo>
                    <a:cubicBezTo>
                      <a:pt x="206463" y="86223"/>
                      <a:pt x="206679" y="84565"/>
                      <a:pt x="206679" y="82979"/>
                    </a:cubicBezTo>
                    <a:lnTo>
                      <a:pt x="206391" y="82979"/>
                    </a:lnTo>
                    <a:lnTo>
                      <a:pt x="206391" y="80167"/>
                    </a:lnTo>
                    <a:lnTo>
                      <a:pt x="206679" y="80167"/>
                    </a:lnTo>
                    <a:cubicBezTo>
                      <a:pt x="206679" y="78509"/>
                      <a:pt x="206535" y="76923"/>
                      <a:pt x="206391" y="75265"/>
                    </a:cubicBezTo>
                    <a:lnTo>
                      <a:pt x="206391" y="75265"/>
                    </a:lnTo>
                    <a:cubicBezTo>
                      <a:pt x="203798" y="33235"/>
                      <a:pt x="169160" y="0"/>
                      <a:pt x="126600" y="0"/>
                    </a:cubicBezTo>
                    <a:lnTo>
                      <a:pt x="0" y="0"/>
                    </a:lnTo>
                    <a:lnTo>
                      <a:pt x="0" y="301708"/>
                    </a:lnTo>
                    <a:lnTo>
                      <a:pt x="26141" y="301708"/>
                    </a:lnTo>
                    <a:lnTo>
                      <a:pt x="26141" y="163002"/>
                    </a:lnTo>
                    <a:lnTo>
                      <a:pt x="118390" y="163002"/>
                    </a:lnTo>
                    <a:lnTo>
                      <a:pt x="189468" y="301780"/>
                    </a:lnTo>
                    <a:close/>
                    <a:moveTo>
                      <a:pt x="26141" y="26242"/>
                    </a:moveTo>
                    <a:lnTo>
                      <a:pt x="126600" y="26242"/>
                    </a:lnTo>
                    <a:cubicBezTo>
                      <a:pt x="155909" y="26242"/>
                      <a:pt x="179674" y="49816"/>
                      <a:pt x="180250" y="79014"/>
                    </a:cubicBezTo>
                    <a:lnTo>
                      <a:pt x="180250" y="83988"/>
                    </a:lnTo>
                    <a:cubicBezTo>
                      <a:pt x="179674" y="113186"/>
                      <a:pt x="155909" y="136688"/>
                      <a:pt x="126600" y="136688"/>
                    </a:cubicBezTo>
                    <a:lnTo>
                      <a:pt x="126600" y="136688"/>
                    </a:lnTo>
                    <a:cubicBezTo>
                      <a:pt x="126600" y="136688"/>
                      <a:pt x="26141" y="136760"/>
                      <a:pt x="26141" y="136760"/>
                    </a:cubicBezTo>
                    <a:lnTo>
                      <a:pt x="26141" y="2624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A6861236-975A-0EC6-B484-DC226E110490}"/>
                  </a:ext>
                </a:extLst>
              </p:cNvPr>
              <p:cNvSpPr/>
              <p:nvPr/>
            </p:nvSpPr>
            <p:spPr>
              <a:xfrm>
                <a:off x="9387557" y="3329493"/>
                <a:ext cx="212944" cy="301852"/>
              </a:xfrm>
              <a:custGeom>
                <a:avLst/>
                <a:gdLst>
                  <a:gd name="connsiteX0" fmla="*/ 212656 w 212944"/>
                  <a:gd name="connsiteY0" fmla="*/ 212818 h 301852"/>
                  <a:gd name="connsiteX1" fmla="*/ 201422 w 212944"/>
                  <a:gd name="connsiteY1" fmla="*/ 173455 h 301852"/>
                  <a:gd name="connsiteX2" fmla="*/ 174273 w 212944"/>
                  <a:gd name="connsiteY2" fmla="*/ 147358 h 301852"/>
                  <a:gd name="connsiteX3" fmla="*/ 206247 w 212944"/>
                  <a:gd name="connsiteY3" fmla="*/ 89539 h 301852"/>
                  <a:gd name="connsiteX4" fmla="*/ 206319 w 212944"/>
                  <a:gd name="connsiteY4" fmla="*/ 89539 h 301852"/>
                  <a:gd name="connsiteX5" fmla="*/ 206319 w 212944"/>
                  <a:gd name="connsiteY5" fmla="*/ 87881 h 301852"/>
                  <a:gd name="connsiteX6" fmla="*/ 206535 w 212944"/>
                  <a:gd name="connsiteY6" fmla="*/ 83051 h 301852"/>
                  <a:gd name="connsiteX7" fmla="*/ 206319 w 212944"/>
                  <a:gd name="connsiteY7" fmla="*/ 83051 h 301852"/>
                  <a:gd name="connsiteX8" fmla="*/ 206319 w 212944"/>
                  <a:gd name="connsiteY8" fmla="*/ 80239 h 301852"/>
                  <a:gd name="connsiteX9" fmla="*/ 206535 w 212944"/>
                  <a:gd name="connsiteY9" fmla="*/ 80239 h 301852"/>
                  <a:gd name="connsiteX10" fmla="*/ 206319 w 212944"/>
                  <a:gd name="connsiteY10" fmla="*/ 75337 h 301852"/>
                  <a:gd name="connsiteX11" fmla="*/ 206319 w 212944"/>
                  <a:gd name="connsiteY11" fmla="*/ 75337 h 301852"/>
                  <a:gd name="connsiteX12" fmla="*/ 206319 w 212944"/>
                  <a:gd name="connsiteY12" fmla="*/ 75265 h 301852"/>
                  <a:gd name="connsiteX13" fmla="*/ 126456 w 212944"/>
                  <a:gd name="connsiteY13" fmla="*/ 72 h 301852"/>
                  <a:gd name="connsiteX14" fmla="*/ 126456 w 212944"/>
                  <a:gd name="connsiteY14" fmla="*/ 216 h 301852"/>
                  <a:gd name="connsiteX15" fmla="*/ 0 w 212944"/>
                  <a:gd name="connsiteY15" fmla="*/ 0 h 301852"/>
                  <a:gd name="connsiteX16" fmla="*/ 0 w 212944"/>
                  <a:gd name="connsiteY16" fmla="*/ 301852 h 301852"/>
                  <a:gd name="connsiteX17" fmla="*/ 131425 w 212944"/>
                  <a:gd name="connsiteY17" fmla="*/ 301852 h 301852"/>
                  <a:gd name="connsiteX18" fmla="*/ 212800 w 212944"/>
                  <a:gd name="connsiteY18" fmla="*/ 221541 h 301852"/>
                  <a:gd name="connsiteX19" fmla="*/ 212944 w 212944"/>
                  <a:gd name="connsiteY19" fmla="*/ 221541 h 301852"/>
                  <a:gd name="connsiteX20" fmla="*/ 212944 w 212944"/>
                  <a:gd name="connsiteY20" fmla="*/ 212818 h 301852"/>
                  <a:gd name="connsiteX21" fmla="*/ 212800 w 212944"/>
                  <a:gd name="connsiteY21" fmla="*/ 212818 h 301852"/>
                  <a:gd name="connsiteX22" fmla="*/ 126528 w 212944"/>
                  <a:gd name="connsiteY22" fmla="*/ 26386 h 301852"/>
                  <a:gd name="connsiteX23" fmla="*/ 126528 w 212944"/>
                  <a:gd name="connsiteY23" fmla="*/ 26386 h 301852"/>
                  <a:gd name="connsiteX24" fmla="*/ 180250 w 212944"/>
                  <a:gd name="connsiteY24" fmla="*/ 79302 h 301852"/>
                  <a:gd name="connsiteX25" fmla="*/ 180250 w 212944"/>
                  <a:gd name="connsiteY25" fmla="*/ 83988 h 301852"/>
                  <a:gd name="connsiteX26" fmla="*/ 126528 w 212944"/>
                  <a:gd name="connsiteY26" fmla="*/ 137048 h 301852"/>
                  <a:gd name="connsiteX27" fmla="*/ 26141 w 212944"/>
                  <a:gd name="connsiteY27" fmla="*/ 137048 h 301852"/>
                  <a:gd name="connsiteX28" fmla="*/ 26141 w 212944"/>
                  <a:gd name="connsiteY28" fmla="*/ 26386 h 301852"/>
                  <a:gd name="connsiteX29" fmla="*/ 126528 w 212944"/>
                  <a:gd name="connsiteY29" fmla="*/ 26386 h 301852"/>
                  <a:gd name="connsiteX30" fmla="*/ 186659 w 212944"/>
                  <a:gd name="connsiteY30" fmla="*/ 220171 h 301852"/>
                  <a:gd name="connsiteX31" fmla="*/ 186443 w 212944"/>
                  <a:gd name="connsiteY31" fmla="*/ 220171 h 301852"/>
                  <a:gd name="connsiteX32" fmla="*/ 130921 w 212944"/>
                  <a:gd name="connsiteY32" fmla="*/ 275755 h 301852"/>
                  <a:gd name="connsiteX33" fmla="*/ 130921 w 212944"/>
                  <a:gd name="connsiteY33" fmla="*/ 275755 h 301852"/>
                  <a:gd name="connsiteX34" fmla="*/ 26141 w 212944"/>
                  <a:gd name="connsiteY34" fmla="*/ 275755 h 301852"/>
                  <a:gd name="connsiteX35" fmla="*/ 26141 w 212944"/>
                  <a:gd name="connsiteY35" fmla="*/ 163362 h 301852"/>
                  <a:gd name="connsiteX36" fmla="*/ 134593 w 212944"/>
                  <a:gd name="connsiteY36" fmla="*/ 163795 h 301852"/>
                  <a:gd name="connsiteX37" fmla="*/ 134593 w 212944"/>
                  <a:gd name="connsiteY37" fmla="*/ 163795 h 301852"/>
                  <a:gd name="connsiteX38" fmla="*/ 179458 w 212944"/>
                  <a:gd name="connsiteY38" fmla="*/ 187946 h 301852"/>
                  <a:gd name="connsiteX39" fmla="*/ 186515 w 212944"/>
                  <a:gd name="connsiteY39" fmla="*/ 214836 h 301852"/>
                  <a:gd name="connsiteX40" fmla="*/ 186731 w 212944"/>
                  <a:gd name="connsiteY40" fmla="*/ 214836 h 301852"/>
                  <a:gd name="connsiteX41" fmla="*/ 186731 w 212944"/>
                  <a:gd name="connsiteY41" fmla="*/ 220171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12944" h="301852">
                    <a:moveTo>
                      <a:pt x="212656" y="212818"/>
                    </a:moveTo>
                    <a:cubicBezTo>
                      <a:pt x="212296" y="198183"/>
                      <a:pt x="208623" y="185134"/>
                      <a:pt x="201422" y="173455"/>
                    </a:cubicBezTo>
                    <a:cubicBezTo>
                      <a:pt x="194509" y="162425"/>
                      <a:pt x="185219" y="153558"/>
                      <a:pt x="174273" y="147358"/>
                    </a:cubicBezTo>
                    <a:cubicBezTo>
                      <a:pt x="192204" y="133948"/>
                      <a:pt x="204374" y="113186"/>
                      <a:pt x="206247" y="89539"/>
                    </a:cubicBezTo>
                    <a:lnTo>
                      <a:pt x="206319" y="89539"/>
                    </a:lnTo>
                    <a:lnTo>
                      <a:pt x="206319" y="87881"/>
                    </a:lnTo>
                    <a:cubicBezTo>
                      <a:pt x="206391" y="86295"/>
                      <a:pt x="206535" y="84637"/>
                      <a:pt x="206535" y="83051"/>
                    </a:cubicBezTo>
                    <a:lnTo>
                      <a:pt x="206319" y="83051"/>
                    </a:lnTo>
                    <a:lnTo>
                      <a:pt x="206319" y="80239"/>
                    </a:lnTo>
                    <a:lnTo>
                      <a:pt x="206535" y="80239"/>
                    </a:lnTo>
                    <a:cubicBezTo>
                      <a:pt x="206535" y="78581"/>
                      <a:pt x="206391" y="76995"/>
                      <a:pt x="206319" y="75337"/>
                    </a:cubicBezTo>
                    <a:lnTo>
                      <a:pt x="206319" y="75337"/>
                    </a:lnTo>
                    <a:cubicBezTo>
                      <a:pt x="206319" y="75337"/>
                      <a:pt x="206319" y="75265"/>
                      <a:pt x="206319" y="75265"/>
                    </a:cubicBezTo>
                    <a:cubicBezTo>
                      <a:pt x="203726" y="33307"/>
                      <a:pt x="169016" y="72"/>
                      <a:pt x="126456" y="72"/>
                    </a:cubicBezTo>
                    <a:lnTo>
                      <a:pt x="126456" y="216"/>
                    </a:lnTo>
                    <a:lnTo>
                      <a:pt x="0" y="0"/>
                    </a:lnTo>
                    <a:lnTo>
                      <a:pt x="0" y="301852"/>
                    </a:lnTo>
                    <a:lnTo>
                      <a:pt x="131425" y="301852"/>
                    </a:lnTo>
                    <a:cubicBezTo>
                      <a:pt x="175857" y="301564"/>
                      <a:pt x="211864" y="265878"/>
                      <a:pt x="212800" y="221541"/>
                    </a:cubicBezTo>
                    <a:lnTo>
                      <a:pt x="212944" y="221541"/>
                    </a:lnTo>
                    <a:lnTo>
                      <a:pt x="212944" y="212818"/>
                    </a:lnTo>
                    <a:lnTo>
                      <a:pt x="212800" y="212818"/>
                    </a:lnTo>
                    <a:close/>
                    <a:moveTo>
                      <a:pt x="126528" y="26386"/>
                    </a:moveTo>
                    <a:lnTo>
                      <a:pt x="126528" y="26386"/>
                    </a:lnTo>
                    <a:cubicBezTo>
                      <a:pt x="155909" y="26386"/>
                      <a:pt x="179746" y="50032"/>
                      <a:pt x="180250" y="79302"/>
                    </a:cubicBezTo>
                    <a:lnTo>
                      <a:pt x="180250" y="83988"/>
                    </a:lnTo>
                    <a:cubicBezTo>
                      <a:pt x="179746" y="113258"/>
                      <a:pt x="155909" y="137048"/>
                      <a:pt x="126528" y="137048"/>
                    </a:cubicBezTo>
                    <a:lnTo>
                      <a:pt x="26141" y="137048"/>
                    </a:lnTo>
                    <a:lnTo>
                      <a:pt x="26141" y="26386"/>
                    </a:lnTo>
                    <a:lnTo>
                      <a:pt x="126528" y="26386"/>
                    </a:lnTo>
                    <a:close/>
                    <a:moveTo>
                      <a:pt x="186659" y="220171"/>
                    </a:moveTo>
                    <a:lnTo>
                      <a:pt x="186443" y="220171"/>
                    </a:lnTo>
                    <a:cubicBezTo>
                      <a:pt x="186443" y="250883"/>
                      <a:pt x="161598" y="275755"/>
                      <a:pt x="130921" y="275755"/>
                    </a:cubicBezTo>
                    <a:lnTo>
                      <a:pt x="130921" y="275755"/>
                    </a:lnTo>
                    <a:cubicBezTo>
                      <a:pt x="130921" y="275755"/>
                      <a:pt x="26141" y="275755"/>
                      <a:pt x="26141" y="275755"/>
                    </a:cubicBezTo>
                    <a:lnTo>
                      <a:pt x="26141" y="163362"/>
                    </a:lnTo>
                    <a:lnTo>
                      <a:pt x="134593" y="163795"/>
                    </a:lnTo>
                    <a:lnTo>
                      <a:pt x="134593" y="163795"/>
                    </a:lnTo>
                    <a:cubicBezTo>
                      <a:pt x="153461" y="163795"/>
                      <a:pt x="169880" y="173095"/>
                      <a:pt x="179458" y="187946"/>
                    </a:cubicBezTo>
                    <a:cubicBezTo>
                      <a:pt x="183490" y="196381"/>
                      <a:pt x="186515" y="204888"/>
                      <a:pt x="186515" y="214836"/>
                    </a:cubicBezTo>
                    <a:lnTo>
                      <a:pt x="186731" y="214836"/>
                    </a:lnTo>
                    <a:lnTo>
                      <a:pt x="186731" y="220171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3AD0D0D8-7CC7-7B2A-53F5-FA524BC86076}"/>
                  </a:ext>
                </a:extLst>
              </p:cNvPr>
              <p:cNvSpPr/>
              <p:nvPr/>
            </p:nvSpPr>
            <p:spPr>
              <a:xfrm>
                <a:off x="9791480" y="3324302"/>
                <a:ext cx="311818" cy="312017"/>
              </a:xfrm>
              <a:custGeom>
                <a:avLst/>
                <a:gdLst>
                  <a:gd name="connsiteX0" fmla="*/ 1368 w 311818"/>
                  <a:gd name="connsiteY0" fmla="*/ 175618 h 312017"/>
                  <a:gd name="connsiteX1" fmla="*/ 155981 w 311818"/>
                  <a:gd name="connsiteY1" fmla="*/ 312017 h 312017"/>
                  <a:gd name="connsiteX2" fmla="*/ 310594 w 311818"/>
                  <a:gd name="connsiteY2" fmla="*/ 175546 h 312017"/>
                  <a:gd name="connsiteX3" fmla="*/ 311819 w 311818"/>
                  <a:gd name="connsiteY3" fmla="*/ 156513 h 312017"/>
                  <a:gd name="connsiteX4" fmla="*/ 310954 w 311818"/>
                  <a:gd name="connsiteY4" fmla="*/ 139499 h 312017"/>
                  <a:gd name="connsiteX5" fmla="*/ 155981 w 311818"/>
                  <a:gd name="connsiteY5" fmla="*/ 0 h 312017"/>
                  <a:gd name="connsiteX6" fmla="*/ 1008 w 311818"/>
                  <a:gd name="connsiteY6" fmla="*/ 139499 h 312017"/>
                  <a:gd name="connsiteX7" fmla="*/ 864 w 311818"/>
                  <a:gd name="connsiteY7" fmla="*/ 139499 h 312017"/>
                  <a:gd name="connsiteX8" fmla="*/ 0 w 311818"/>
                  <a:gd name="connsiteY8" fmla="*/ 156513 h 312017"/>
                  <a:gd name="connsiteX9" fmla="*/ 1224 w 311818"/>
                  <a:gd name="connsiteY9" fmla="*/ 175546 h 312017"/>
                  <a:gd name="connsiteX10" fmla="*/ 155981 w 311818"/>
                  <a:gd name="connsiteY10" fmla="*/ 285487 h 312017"/>
                  <a:gd name="connsiteX11" fmla="*/ 28085 w 311818"/>
                  <a:gd name="connsiteY11" fmla="*/ 175618 h 312017"/>
                  <a:gd name="connsiteX12" fmla="*/ 27941 w 311818"/>
                  <a:gd name="connsiteY12" fmla="*/ 175618 h 312017"/>
                  <a:gd name="connsiteX13" fmla="*/ 26501 w 311818"/>
                  <a:gd name="connsiteY13" fmla="*/ 156513 h 312017"/>
                  <a:gd name="connsiteX14" fmla="*/ 27509 w 311818"/>
                  <a:gd name="connsiteY14" fmla="*/ 140004 h 312017"/>
                  <a:gd name="connsiteX15" fmla="*/ 27581 w 311818"/>
                  <a:gd name="connsiteY15" fmla="*/ 140004 h 312017"/>
                  <a:gd name="connsiteX16" fmla="*/ 155909 w 311818"/>
                  <a:gd name="connsiteY16" fmla="*/ 26530 h 312017"/>
                  <a:gd name="connsiteX17" fmla="*/ 284165 w 311818"/>
                  <a:gd name="connsiteY17" fmla="*/ 139788 h 312017"/>
                  <a:gd name="connsiteX18" fmla="*/ 285246 w 311818"/>
                  <a:gd name="connsiteY18" fmla="*/ 156585 h 312017"/>
                  <a:gd name="connsiteX19" fmla="*/ 283805 w 311818"/>
                  <a:gd name="connsiteY19" fmla="*/ 175906 h 312017"/>
                  <a:gd name="connsiteX20" fmla="*/ 155909 w 311818"/>
                  <a:gd name="connsiteY20" fmla="*/ 285559 h 312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1818" h="312017">
                    <a:moveTo>
                      <a:pt x="1368" y="175618"/>
                    </a:moveTo>
                    <a:cubicBezTo>
                      <a:pt x="11018" y="252541"/>
                      <a:pt x="76550" y="312017"/>
                      <a:pt x="155981" y="312017"/>
                    </a:cubicBezTo>
                    <a:cubicBezTo>
                      <a:pt x="235412" y="312017"/>
                      <a:pt x="300945" y="252469"/>
                      <a:pt x="310594" y="175546"/>
                    </a:cubicBezTo>
                    <a:cubicBezTo>
                      <a:pt x="311315" y="169346"/>
                      <a:pt x="311819" y="162930"/>
                      <a:pt x="311819" y="156513"/>
                    </a:cubicBezTo>
                    <a:cubicBezTo>
                      <a:pt x="311819" y="150602"/>
                      <a:pt x="311603" y="145267"/>
                      <a:pt x="310954" y="139499"/>
                    </a:cubicBezTo>
                    <a:cubicBezTo>
                      <a:pt x="302889" y="60846"/>
                      <a:pt x="236636" y="0"/>
                      <a:pt x="155981" y="0"/>
                    </a:cubicBezTo>
                    <a:cubicBezTo>
                      <a:pt x="75326" y="0"/>
                      <a:pt x="9218" y="61135"/>
                      <a:pt x="1008" y="139499"/>
                    </a:cubicBezTo>
                    <a:lnTo>
                      <a:pt x="864" y="139499"/>
                    </a:lnTo>
                    <a:cubicBezTo>
                      <a:pt x="216" y="145267"/>
                      <a:pt x="0" y="150602"/>
                      <a:pt x="0" y="156513"/>
                    </a:cubicBezTo>
                    <a:cubicBezTo>
                      <a:pt x="0" y="162930"/>
                      <a:pt x="432" y="169346"/>
                      <a:pt x="1224" y="175546"/>
                    </a:cubicBezTo>
                    <a:moveTo>
                      <a:pt x="155981" y="285487"/>
                    </a:moveTo>
                    <a:cubicBezTo>
                      <a:pt x="91169" y="285487"/>
                      <a:pt x="37519" y="237834"/>
                      <a:pt x="28085" y="175618"/>
                    </a:cubicBezTo>
                    <a:lnTo>
                      <a:pt x="27941" y="175618"/>
                    </a:lnTo>
                    <a:cubicBezTo>
                      <a:pt x="27005" y="169346"/>
                      <a:pt x="26501" y="163074"/>
                      <a:pt x="26501" y="156513"/>
                    </a:cubicBezTo>
                    <a:cubicBezTo>
                      <a:pt x="26501" y="150818"/>
                      <a:pt x="26789" y="145483"/>
                      <a:pt x="27509" y="140004"/>
                    </a:cubicBezTo>
                    <a:lnTo>
                      <a:pt x="27581" y="140004"/>
                    </a:lnTo>
                    <a:cubicBezTo>
                      <a:pt x="35431" y="76058"/>
                      <a:pt x="89873" y="26530"/>
                      <a:pt x="155909" y="26530"/>
                    </a:cubicBezTo>
                    <a:cubicBezTo>
                      <a:pt x="221946" y="26530"/>
                      <a:pt x="276316" y="75769"/>
                      <a:pt x="284165" y="139788"/>
                    </a:cubicBezTo>
                    <a:cubicBezTo>
                      <a:pt x="284886" y="145411"/>
                      <a:pt x="285246" y="150818"/>
                      <a:pt x="285246" y="156585"/>
                    </a:cubicBezTo>
                    <a:cubicBezTo>
                      <a:pt x="285246" y="163218"/>
                      <a:pt x="284741" y="169562"/>
                      <a:pt x="283805" y="175906"/>
                    </a:cubicBezTo>
                    <a:cubicBezTo>
                      <a:pt x="274372" y="238122"/>
                      <a:pt x="220721" y="285559"/>
                      <a:pt x="155909" y="285559"/>
                    </a:cubicBez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xmlns="" id="{86D3FA1C-0FE2-4B60-BB22-E4581E6544D3}"/>
                  </a:ext>
                </a:extLst>
              </p:cNvPr>
              <p:cNvSpPr/>
              <p:nvPr/>
            </p:nvSpPr>
            <p:spPr>
              <a:xfrm>
                <a:off x="11529743" y="3323653"/>
                <a:ext cx="42343" cy="42390"/>
              </a:xfrm>
              <a:custGeom>
                <a:avLst/>
                <a:gdLst>
                  <a:gd name="connsiteX0" fmla="*/ 0 w 42343"/>
                  <a:gd name="connsiteY0" fmla="*/ 21123 h 42390"/>
                  <a:gd name="connsiteX1" fmla="*/ 21244 w 42343"/>
                  <a:gd name="connsiteY1" fmla="*/ 0 h 42390"/>
                  <a:gd name="connsiteX2" fmla="*/ 42344 w 42343"/>
                  <a:gd name="connsiteY2" fmla="*/ 21123 h 42390"/>
                  <a:gd name="connsiteX3" fmla="*/ 21244 w 42343"/>
                  <a:gd name="connsiteY3" fmla="*/ 42391 h 42390"/>
                  <a:gd name="connsiteX4" fmla="*/ 0 w 42343"/>
                  <a:gd name="connsiteY4" fmla="*/ 21123 h 42390"/>
                  <a:gd name="connsiteX5" fmla="*/ 38959 w 42343"/>
                  <a:gd name="connsiteY5" fmla="*/ 21123 h 42390"/>
                  <a:gd name="connsiteX6" fmla="*/ 21244 w 42343"/>
                  <a:gd name="connsiteY6" fmla="*/ 2812 h 42390"/>
                  <a:gd name="connsiteX7" fmla="*/ 3385 w 42343"/>
                  <a:gd name="connsiteY7" fmla="*/ 21123 h 42390"/>
                  <a:gd name="connsiteX8" fmla="*/ 21244 w 42343"/>
                  <a:gd name="connsiteY8" fmla="*/ 39579 h 42390"/>
                  <a:gd name="connsiteX9" fmla="*/ 38959 w 42343"/>
                  <a:gd name="connsiteY9" fmla="*/ 21123 h 42390"/>
                  <a:gd name="connsiteX10" fmla="*/ 31758 w 42343"/>
                  <a:gd name="connsiteY10" fmla="*/ 32946 h 42390"/>
                  <a:gd name="connsiteX11" fmla="*/ 28301 w 42343"/>
                  <a:gd name="connsiteY11" fmla="*/ 32946 h 42390"/>
                  <a:gd name="connsiteX12" fmla="*/ 21532 w 42343"/>
                  <a:gd name="connsiteY12" fmla="*/ 22060 h 42390"/>
                  <a:gd name="connsiteX13" fmla="*/ 16203 w 42343"/>
                  <a:gd name="connsiteY13" fmla="*/ 22060 h 42390"/>
                  <a:gd name="connsiteX14" fmla="*/ 16203 w 42343"/>
                  <a:gd name="connsiteY14" fmla="*/ 32946 h 42390"/>
                  <a:gd name="connsiteX15" fmla="*/ 13323 w 42343"/>
                  <a:gd name="connsiteY15" fmla="*/ 32946 h 42390"/>
                  <a:gd name="connsiteX16" fmla="*/ 13323 w 42343"/>
                  <a:gd name="connsiteY16" fmla="*/ 9300 h 42390"/>
                  <a:gd name="connsiteX17" fmla="*/ 23693 w 42343"/>
                  <a:gd name="connsiteY17" fmla="*/ 9300 h 42390"/>
                  <a:gd name="connsiteX18" fmla="*/ 32046 w 42343"/>
                  <a:gd name="connsiteY18" fmla="*/ 15572 h 42390"/>
                  <a:gd name="connsiteX19" fmla="*/ 24629 w 42343"/>
                  <a:gd name="connsiteY19" fmla="*/ 22060 h 42390"/>
                  <a:gd name="connsiteX20" fmla="*/ 31758 w 42343"/>
                  <a:gd name="connsiteY20" fmla="*/ 32946 h 42390"/>
                  <a:gd name="connsiteX21" fmla="*/ 20668 w 42343"/>
                  <a:gd name="connsiteY21" fmla="*/ 19753 h 42390"/>
                  <a:gd name="connsiteX22" fmla="*/ 28949 w 42343"/>
                  <a:gd name="connsiteY22" fmla="*/ 15500 h 42390"/>
                  <a:gd name="connsiteX23" fmla="*/ 23044 w 42343"/>
                  <a:gd name="connsiteY23" fmla="*/ 11391 h 42390"/>
                  <a:gd name="connsiteX24" fmla="*/ 16275 w 42343"/>
                  <a:gd name="connsiteY24" fmla="*/ 11391 h 42390"/>
                  <a:gd name="connsiteX25" fmla="*/ 16275 w 42343"/>
                  <a:gd name="connsiteY25" fmla="*/ 19753 h 42390"/>
                  <a:gd name="connsiteX26" fmla="*/ 20668 w 42343"/>
                  <a:gd name="connsiteY26" fmla="*/ 19753 h 4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2343" h="42390">
                    <a:moveTo>
                      <a:pt x="0" y="21123"/>
                    </a:moveTo>
                    <a:cubicBezTo>
                      <a:pt x="0" y="9516"/>
                      <a:pt x="9506" y="0"/>
                      <a:pt x="21244" y="0"/>
                    </a:cubicBezTo>
                    <a:cubicBezTo>
                      <a:pt x="32982" y="0"/>
                      <a:pt x="42344" y="9516"/>
                      <a:pt x="42344" y="21123"/>
                    </a:cubicBezTo>
                    <a:cubicBezTo>
                      <a:pt x="42344" y="32730"/>
                      <a:pt x="32910" y="42391"/>
                      <a:pt x="21244" y="42391"/>
                    </a:cubicBezTo>
                    <a:cubicBezTo>
                      <a:pt x="9578" y="42391"/>
                      <a:pt x="0" y="32874"/>
                      <a:pt x="0" y="21123"/>
                    </a:cubicBezTo>
                    <a:close/>
                    <a:moveTo>
                      <a:pt x="38959" y="21123"/>
                    </a:moveTo>
                    <a:cubicBezTo>
                      <a:pt x="38959" y="10814"/>
                      <a:pt x="31470" y="2812"/>
                      <a:pt x="21244" y="2812"/>
                    </a:cubicBezTo>
                    <a:cubicBezTo>
                      <a:pt x="11018" y="2812"/>
                      <a:pt x="3385" y="10886"/>
                      <a:pt x="3385" y="21123"/>
                    </a:cubicBezTo>
                    <a:cubicBezTo>
                      <a:pt x="3385" y="31360"/>
                      <a:pt x="10946" y="39579"/>
                      <a:pt x="21244" y="39579"/>
                    </a:cubicBezTo>
                    <a:cubicBezTo>
                      <a:pt x="31542" y="39579"/>
                      <a:pt x="38959" y="31505"/>
                      <a:pt x="38959" y="21123"/>
                    </a:cubicBezTo>
                    <a:close/>
                    <a:moveTo>
                      <a:pt x="31758" y="32946"/>
                    </a:moveTo>
                    <a:lnTo>
                      <a:pt x="28301" y="32946"/>
                    </a:lnTo>
                    <a:lnTo>
                      <a:pt x="21532" y="22060"/>
                    </a:lnTo>
                    <a:lnTo>
                      <a:pt x="16203" y="22060"/>
                    </a:lnTo>
                    <a:lnTo>
                      <a:pt x="16203" y="32946"/>
                    </a:lnTo>
                    <a:lnTo>
                      <a:pt x="13323" y="32946"/>
                    </a:lnTo>
                    <a:lnTo>
                      <a:pt x="13323" y="9300"/>
                    </a:lnTo>
                    <a:lnTo>
                      <a:pt x="23693" y="9300"/>
                    </a:lnTo>
                    <a:cubicBezTo>
                      <a:pt x="29958" y="9300"/>
                      <a:pt x="32046" y="11679"/>
                      <a:pt x="32046" y="15572"/>
                    </a:cubicBezTo>
                    <a:cubicBezTo>
                      <a:pt x="32046" y="20186"/>
                      <a:pt x="28805" y="21916"/>
                      <a:pt x="24629" y="22060"/>
                    </a:cubicBezTo>
                    <a:lnTo>
                      <a:pt x="31758" y="32946"/>
                    </a:lnTo>
                    <a:close/>
                    <a:moveTo>
                      <a:pt x="20668" y="19753"/>
                    </a:moveTo>
                    <a:cubicBezTo>
                      <a:pt x="24052" y="19753"/>
                      <a:pt x="28949" y="20330"/>
                      <a:pt x="28949" y="15500"/>
                    </a:cubicBezTo>
                    <a:cubicBezTo>
                      <a:pt x="28949" y="11823"/>
                      <a:pt x="25925" y="11391"/>
                      <a:pt x="23044" y="11391"/>
                    </a:cubicBezTo>
                    <a:lnTo>
                      <a:pt x="16275" y="11391"/>
                    </a:lnTo>
                    <a:lnTo>
                      <a:pt x="16275" y="19753"/>
                    </a:lnTo>
                    <a:lnTo>
                      <a:pt x="20668" y="19753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6E339596-C2F0-566F-3785-62C63D4F91A9}"/>
                </a:ext>
              </a:extLst>
            </p:cNvPr>
            <p:cNvSpPr/>
            <p:nvPr/>
          </p:nvSpPr>
          <p:spPr>
            <a:xfrm>
              <a:off x="9662576" y="3326249"/>
              <a:ext cx="70213" cy="41020"/>
            </a:xfrm>
            <a:custGeom>
              <a:avLst/>
              <a:gdLst>
                <a:gd name="connsiteX0" fmla="*/ 15267 w 70213"/>
                <a:gd name="connsiteY0" fmla="*/ 4398 h 41020"/>
                <a:gd name="connsiteX1" fmla="*/ 9434 w 70213"/>
                <a:gd name="connsiteY1" fmla="*/ 7714 h 41020"/>
                <a:gd name="connsiteX2" fmla="*/ 4321 w 70213"/>
                <a:gd name="connsiteY2" fmla="*/ 11607 h 41020"/>
                <a:gd name="connsiteX3" fmla="*/ 2737 w 70213"/>
                <a:gd name="connsiteY3" fmla="*/ 15139 h 41020"/>
                <a:gd name="connsiteX4" fmla="*/ 648 w 70213"/>
                <a:gd name="connsiteY4" fmla="*/ 18167 h 41020"/>
                <a:gd name="connsiteX5" fmla="*/ 144 w 70213"/>
                <a:gd name="connsiteY5" fmla="*/ 19249 h 41020"/>
                <a:gd name="connsiteX6" fmla="*/ 0 w 70213"/>
                <a:gd name="connsiteY6" fmla="*/ 20330 h 41020"/>
                <a:gd name="connsiteX7" fmla="*/ 288 w 70213"/>
                <a:gd name="connsiteY7" fmla="*/ 21556 h 41020"/>
                <a:gd name="connsiteX8" fmla="*/ 2232 w 70213"/>
                <a:gd name="connsiteY8" fmla="*/ 26891 h 41020"/>
                <a:gd name="connsiteX9" fmla="*/ 5617 w 70213"/>
                <a:gd name="connsiteY9" fmla="*/ 28981 h 41020"/>
                <a:gd name="connsiteX10" fmla="*/ 9506 w 70213"/>
                <a:gd name="connsiteY10" fmla="*/ 33379 h 41020"/>
                <a:gd name="connsiteX11" fmla="*/ 12314 w 70213"/>
                <a:gd name="connsiteY11" fmla="*/ 36046 h 41020"/>
                <a:gd name="connsiteX12" fmla="*/ 16347 w 70213"/>
                <a:gd name="connsiteY12" fmla="*/ 37993 h 41020"/>
                <a:gd name="connsiteX13" fmla="*/ 20380 w 70213"/>
                <a:gd name="connsiteY13" fmla="*/ 39218 h 41020"/>
                <a:gd name="connsiteX14" fmla="*/ 26069 w 70213"/>
                <a:gd name="connsiteY14" fmla="*/ 39218 h 41020"/>
                <a:gd name="connsiteX15" fmla="*/ 29814 w 70213"/>
                <a:gd name="connsiteY15" fmla="*/ 39939 h 41020"/>
                <a:gd name="connsiteX16" fmla="*/ 33846 w 70213"/>
                <a:gd name="connsiteY16" fmla="*/ 40300 h 41020"/>
                <a:gd name="connsiteX17" fmla="*/ 39319 w 70213"/>
                <a:gd name="connsiteY17" fmla="*/ 40660 h 41020"/>
                <a:gd name="connsiteX18" fmla="*/ 44576 w 70213"/>
                <a:gd name="connsiteY18" fmla="*/ 41021 h 41020"/>
                <a:gd name="connsiteX19" fmla="*/ 51130 w 70213"/>
                <a:gd name="connsiteY19" fmla="*/ 40516 h 41020"/>
                <a:gd name="connsiteX20" fmla="*/ 56099 w 70213"/>
                <a:gd name="connsiteY20" fmla="*/ 39074 h 41020"/>
                <a:gd name="connsiteX21" fmla="*/ 62076 w 70213"/>
                <a:gd name="connsiteY21" fmla="*/ 36623 h 41020"/>
                <a:gd name="connsiteX22" fmla="*/ 64740 w 70213"/>
                <a:gd name="connsiteY22" fmla="*/ 33595 h 41020"/>
                <a:gd name="connsiteX23" fmla="*/ 67765 w 70213"/>
                <a:gd name="connsiteY23" fmla="*/ 30784 h 41020"/>
                <a:gd name="connsiteX24" fmla="*/ 70213 w 70213"/>
                <a:gd name="connsiteY24" fmla="*/ 26891 h 41020"/>
                <a:gd name="connsiteX25" fmla="*/ 70069 w 70213"/>
                <a:gd name="connsiteY25" fmla="*/ 22853 h 41020"/>
                <a:gd name="connsiteX26" fmla="*/ 68989 w 70213"/>
                <a:gd name="connsiteY26" fmla="*/ 17014 h 41020"/>
                <a:gd name="connsiteX27" fmla="*/ 62652 w 70213"/>
                <a:gd name="connsiteY27" fmla="*/ 7786 h 41020"/>
                <a:gd name="connsiteX28" fmla="*/ 57035 w 70213"/>
                <a:gd name="connsiteY28" fmla="*/ 3533 h 41020"/>
                <a:gd name="connsiteX29" fmla="*/ 54226 w 70213"/>
                <a:gd name="connsiteY29" fmla="*/ 2163 h 41020"/>
                <a:gd name="connsiteX30" fmla="*/ 52138 w 70213"/>
                <a:gd name="connsiteY30" fmla="*/ 1370 h 41020"/>
                <a:gd name="connsiteX31" fmla="*/ 50121 w 70213"/>
                <a:gd name="connsiteY31" fmla="*/ 1081 h 41020"/>
                <a:gd name="connsiteX32" fmla="*/ 43568 w 70213"/>
                <a:gd name="connsiteY32" fmla="*/ 1586 h 41020"/>
                <a:gd name="connsiteX33" fmla="*/ 37015 w 70213"/>
                <a:gd name="connsiteY33" fmla="*/ 505 h 41020"/>
                <a:gd name="connsiteX34" fmla="*/ 33846 w 70213"/>
                <a:gd name="connsiteY34" fmla="*/ 0 h 41020"/>
                <a:gd name="connsiteX35" fmla="*/ 29814 w 70213"/>
                <a:gd name="connsiteY35" fmla="*/ 865 h 41020"/>
                <a:gd name="connsiteX36" fmla="*/ 24485 w 70213"/>
                <a:gd name="connsiteY36" fmla="*/ 1586 h 41020"/>
                <a:gd name="connsiteX37" fmla="*/ 21100 w 70213"/>
                <a:gd name="connsiteY37" fmla="*/ 2812 h 41020"/>
                <a:gd name="connsiteX38" fmla="*/ 15267 w 70213"/>
                <a:gd name="connsiteY38" fmla="*/ 4398 h 4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0213" h="41020">
                  <a:moveTo>
                    <a:pt x="15267" y="4398"/>
                  </a:moveTo>
                  <a:lnTo>
                    <a:pt x="9434" y="7714"/>
                  </a:lnTo>
                  <a:lnTo>
                    <a:pt x="4321" y="11607"/>
                  </a:lnTo>
                  <a:lnTo>
                    <a:pt x="2737" y="15139"/>
                  </a:lnTo>
                  <a:lnTo>
                    <a:pt x="648" y="18167"/>
                  </a:lnTo>
                  <a:lnTo>
                    <a:pt x="144" y="19249"/>
                  </a:lnTo>
                  <a:lnTo>
                    <a:pt x="0" y="20330"/>
                  </a:lnTo>
                  <a:lnTo>
                    <a:pt x="288" y="21556"/>
                  </a:lnTo>
                  <a:lnTo>
                    <a:pt x="2232" y="26891"/>
                  </a:lnTo>
                  <a:lnTo>
                    <a:pt x="5617" y="28981"/>
                  </a:lnTo>
                  <a:lnTo>
                    <a:pt x="9506" y="33379"/>
                  </a:lnTo>
                  <a:lnTo>
                    <a:pt x="12314" y="36046"/>
                  </a:lnTo>
                  <a:lnTo>
                    <a:pt x="16347" y="37993"/>
                  </a:lnTo>
                  <a:lnTo>
                    <a:pt x="20380" y="39218"/>
                  </a:lnTo>
                  <a:lnTo>
                    <a:pt x="26069" y="39218"/>
                  </a:lnTo>
                  <a:lnTo>
                    <a:pt x="29814" y="39939"/>
                  </a:lnTo>
                  <a:lnTo>
                    <a:pt x="33846" y="40300"/>
                  </a:lnTo>
                  <a:lnTo>
                    <a:pt x="39319" y="40660"/>
                  </a:lnTo>
                  <a:lnTo>
                    <a:pt x="44576" y="41021"/>
                  </a:lnTo>
                  <a:lnTo>
                    <a:pt x="51130" y="40516"/>
                  </a:lnTo>
                  <a:lnTo>
                    <a:pt x="56099" y="39074"/>
                  </a:lnTo>
                  <a:lnTo>
                    <a:pt x="62076" y="36623"/>
                  </a:lnTo>
                  <a:lnTo>
                    <a:pt x="64740" y="33595"/>
                  </a:lnTo>
                  <a:lnTo>
                    <a:pt x="67765" y="30784"/>
                  </a:lnTo>
                  <a:lnTo>
                    <a:pt x="70213" y="26891"/>
                  </a:lnTo>
                  <a:lnTo>
                    <a:pt x="70069" y="22853"/>
                  </a:lnTo>
                  <a:lnTo>
                    <a:pt x="68989" y="17014"/>
                  </a:lnTo>
                  <a:lnTo>
                    <a:pt x="62652" y="7786"/>
                  </a:lnTo>
                  <a:lnTo>
                    <a:pt x="57035" y="3533"/>
                  </a:lnTo>
                  <a:lnTo>
                    <a:pt x="54226" y="2163"/>
                  </a:lnTo>
                  <a:lnTo>
                    <a:pt x="52138" y="1370"/>
                  </a:lnTo>
                  <a:lnTo>
                    <a:pt x="50121" y="1081"/>
                  </a:lnTo>
                  <a:lnTo>
                    <a:pt x="43568" y="1586"/>
                  </a:lnTo>
                  <a:lnTo>
                    <a:pt x="37015" y="505"/>
                  </a:lnTo>
                  <a:lnTo>
                    <a:pt x="33846" y="0"/>
                  </a:lnTo>
                  <a:lnTo>
                    <a:pt x="29814" y="865"/>
                  </a:lnTo>
                  <a:lnTo>
                    <a:pt x="24485" y="1586"/>
                  </a:lnTo>
                  <a:lnTo>
                    <a:pt x="21100" y="2812"/>
                  </a:lnTo>
                  <a:lnTo>
                    <a:pt x="15267" y="4398"/>
                  </a:lnTo>
                </a:path>
              </a:pathLst>
            </a:custGeom>
            <a:solidFill>
              <a:srgbClr val="F26531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6448ADAB-8362-0442-7F83-D724CD4483C6}"/>
                </a:ext>
              </a:extLst>
            </p:cNvPr>
            <p:cNvSpPr/>
            <p:nvPr/>
          </p:nvSpPr>
          <p:spPr>
            <a:xfrm>
              <a:off x="9668265" y="3427034"/>
              <a:ext cx="59915" cy="15932"/>
            </a:xfrm>
            <a:custGeom>
              <a:avLst/>
              <a:gdLst>
                <a:gd name="connsiteX0" fmla="*/ 1224 w 59915"/>
                <a:gd name="connsiteY0" fmla="*/ 360 h 15932"/>
                <a:gd name="connsiteX1" fmla="*/ 32694 w 59915"/>
                <a:gd name="connsiteY1" fmla="*/ 1081 h 15932"/>
                <a:gd name="connsiteX2" fmla="*/ 37375 w 59915"/>
                <a:gd name="connsiteY2" fmla="*/ 144 h 15932"/>
                <a:gd name="connsiteX3" fmla="*/ 43424 w 59915"/>
                <a:gd name="connsiteY3" fmla="*/ 0 h 15932"/>
                <a:gd name="connsiteX4" fmla="*/ 49473 w 59915"/>
                <a:gd name="connsiteY4" fmla="*/ 649 h 15932"/>
                <a:gd name="connsiteX5" fmla="*/ 54082 w 59915"/>
                <a:gd name="connsiteY5" fmla="*/ 1947 h 15932"/>
                <a:gd name="connsiteX6" fmla="*/ 57611 w 59915"/>
                <a:gd name="connsiteY6" fmla="*/ 4326 h 15932"/>
                <a:gd name="connsiteX7" fmla="*/ 58907 w 59915"/>
                <a:gd name="connsiteY7" fmla="*/ 5984 h 15932"/>
                <a:gd name="connsiteX8" fmla="*/ 59699 w 59915"/>
                <a:gd name="connsiteY8" fmla="*/ 7714 h 15932"/>
                <a:gd name="connsiteX9" fmla="*/ 59915 w 59915"/>
                <a:gd name="connsiteY9" fmla="*/ 9588 h 15932"/>
                <a:gd name="connsiteX10" fmla="*/ 59339 w 59915"/>
                <a:gd name="connsiteY10" fmla="*/ 11535 h 15932"/>
                <a:gd name="connsiteX11" fmla="*/ 57971 w 59915"/>
                <a:gd name="connsiteY11" fmla="*/ 13409 h 15932"/>
                <a:gd name="connsiteX12" fmla="*/ 55522 w 59915"/>
                <a:gd name="connsiteY12" fmla="*/ 15212 h 15932"/>
                <a:gd name="connsiteX13" fmla="*/ 51922 w 59915"/>
                <a:gd name="connsiteY13" fmla="*/ 15932 h 15932"/>
                <a:gd name="connsiteX14" fmla="*/ 45513 w 59915"/>
                <a:gd name="connsiteY14" fmla="*/ 15932 h 15932"/>
                <a:gd name="connsiteX15" fmla="*/ 28229 w 59915"/>
                <a:gd name="connsiteY15" fmla="*/ 14635 h 15932"/>
                <a:gd name="connsiteX16" fmla="*/ 1872 w 59915"/>
                <a:gd name="connsiteY16" fmla="*/ 11607 h 15932"/>
                <a:gd name="connsiteX17" fmla="*/ 864 w 59915"/>
                <a:gd name="connsiteY17" fmla="*/ 11174 h 15932"/>
                <a:gd name="connsiteX18" fmla="*/ 288 w 59915"/>
                <a:gd name="connsiteY18" fmla="*/ 10165 h 15932"/>
                <a:gd name="connsiteX19" fmla="*/ 0 w 59915"/>
                <a:gd name="connsiteY19" fmla="*/ 6921 h 15932"/>
                <a:gd name="connsiteX20" fmla="*/ 1224 w 59915"/>
                <a:gd name="connsiteY20" fmla="*/ 360 h 1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9915" h="15932">
                  <a:moveTo>
                    <a:pt x="1224" y="360"/>
                  </a:moveTo>
                  <a:lnTo>
                    <a:pt x="32694" y="1081"/>
                  </a:lnTo>
                  <a:lnTo>
                    <a:pt x="37375" y="144"/>
                  </a:lnTo>
                  <a:lnTo>
                    <a:pt x="43424" y="0"/>
                  </a:lnTo>
                  <a:lnTo>
                    <a:pt x="49473" y="649"/>
                  </a:lnTo>
                  <a:lnTo>
                    <a:pt x="54082" y="1947"/>
                  </a:lnTo>
                  <a:lnTo>
                    <a:pt x="57611" y="4326"/>
                  </a:lnTo>
                  <a:lnTo>
                    <a:pt x="58907" y="5984"/>
                  </a:lnTo>
                  <a:lnTo>
                    <a:pt x="59699" y="7714"/>
                  </a:lnTo>
                  <a:lnTo>
                    <a:pt x="59915" y="9588"/>
                  </a:lnTo>
                  <a:lnTo>
                    <a:pt x="59339" y="11535"/>
                  </a:lnTo>
                  <a:lnTo>
                    <a:pt x="57971" y="13409"/>
                  </a:lnTo>
                  <a:lnTo>
                    <a:pt x="55522" y="15212"/>
                  </a:lnTo>
                  <a:lnTo>
                    <a:pt x="51922" y="15932"/>
                  </a:lnTo>
                  <a:lnTo>
                    <a:pt x="45513" y="15932"/>
                  </a:lnTo>
                  <a:lnTo>
                    <a:pt x="28229" y="14635"/>
                  </a:lnTo>
                  <a:lnTo>
                    <a:pt x="1872" y="11607"/>
                  </a:lnTo>
                  <a:lnTo>
                    <a:pt x="864" y="11174"/>
                  </a:lnTo>
                  <a:lnTo>
                    <a:pt x="288" y="10165"/>
                  </a:lnTo>
                  <a:lnTo>
                    <a:pt x="0" y="6921"/>
                  </a:lnTo>
                  <a:lnTo>
                    <a:pt x="1224" y="360"/>
                  </a:lnTo>
                </a:path>
              </a:pathLst>
            </a:custGeom>
            <a:solidFill>
              <a:srgbClr val="ED1849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9B6F4B49-81D2-359F-3D25-12776D02B67D}"/>
                </a:ext>
              </a:extLst>
            </p:cNvPr>
            <p:cNvSpPr/>
            <p:nvPr/>
          </p:nvSpPr>
          <p:spPr>
            <a:xfrm>
              <a:off x="9671290" y="3456448"/>
              <a:ext cx="57754" cy="15644"/>
            </a:xfrm>
            <a:custGeom>
              <a:avLst/>
              <a:gdLst>
                <a:gd name="connsiteX0" fmla="*/ 7057 w 57754"/>
                <a:gd name="connsiteY0" fmla="*/ 0 h 15644"/>
                <a:gd name="connsiteX1" fmla="*/ 9794 w 57754"/>
                <a:gd name="connsiteY1" fmla="*/ 1658 h 15644"/>
                <a:gd name="connsiteX2" fmla="*/ 11522 w 57754"/>
                <a:gd name="connsiteY2" fmla="*/ 2667 h 15644"/>
                <a:gd name="connsiteX3" fmla="*/ 13467 w 57754"/>
                <a:gd name="connsiteY3" fmla="*/ 3172 h 15644"/>
                <a:gd name="connsiteX4" fmla="*/ 14835 w 57754"/>
                <a:gd name="connsiteY4" fmla="*/ 2884 h 15644"/>
                <a:gd name="connsiteX5" fmla="*/ 16419 w 57754"/>
                <a:gd name="connsiteY5" fmla="*/ 2163 h 15644"/>
                <a:gd name="connsiteX6" fmla="*/ 18003 w 57754"/>
                <a:gd name="connsiteY6" fmla="*/ 1370 h 15644"/>
                <a:gd name="connsiteX7" fmla="*/ 19588 w 57754"/>
                <a:gd name="connsiteY7" fmla="*/ 1009 h 15644"/>
                <a:gd name="connsiteX8" fmla="*/ 22324 w 57754"/>
                <a:gd name="connsiteY8" fmla="*/ 2019 h 15644"/>
                <a:gd name="connsiteX9" fmla="*/ 25277 w 57754"/>
                <a:gd name="connsiteY9" fmla="*/ 3028 h 15644"/>
                <a:gd name="connsiteX10" fmla="*/ 27725 w 57754"/>
                <a:gd name="connsiteY10" fmla="*/ 2235 h 15644"/>
                <a:gd name="connsiteX11" fmla="*/ 30246 w 57754"/>
                <a:gd name="connsiteY11" fmla="*/ 1514 h 15644"/>
                <a:gd name="connsiteX12" fmla="*/ 33198 w 57754"/>
                <a:gd name="connsiteY12" fmla="*/ 2595 h 15644"/>
                <a:gd name="connsiteX13" fmla="*/ 34638 w 57754"/>
                <a:gd name="connsiteY13" fmla="*/ 3172 h 15644"/>
                <a:gd name="connsiteX14" fmla="*/ 36079 w 57754"/>
                <a:gd name="connsiteY14" fmla="*/ 3172 h 15644"/>
                <a:gd name="connsiteX15" fmla="*/ 45224 w 57754"/>
                <a:gd name="connsiteY15" fmla="*/ 1947 h 15644"/>
                <a:gd name="connsiteX16" fmla="*/ 52210 w 57754"/>
                <a:gd name="connsiteY16" fmla="*/ 3100 h 15644"/>
                <a:gd name="connsiteX17" fmla="*/ 52642 w 57754"/>
                <a:gd name="connsiteY17" fmla="*/ 3388 h 15644"/>
                <a:gd name="connsiteX18" fmla="*/ 52858 w 57754"/>
                <a:gd name="connsiteY18" fmla="*/ 3749 h 15644"/>
                <a:gd name="connsiteX19" fmla="*/ 52642 w 57754"/>
                <a:gd name="connsiteY19" fmla="*/ 4614 h 15644"/>
                <a:gd name="connsiteX20" fmla="*/ 52354 w 57754"/>
                <a:gd name="connsiteY20" fmla="*/ 5551 h 15644"/>
                <a:gd name="connsiteX21" fmla="*/ 52642 w 57754"/>
                <a:gd name="connsiteY21" fmla="*/ 6416 h 15644"/>
                <a:gd name="connsiteX22" fmla="*/ 54370 w 57754"/>
                <a:gd name="connsiteY22" fmla="*/ 7426 h 15644"/>
                <a:gd name="connsiteX23" fmla="*/ 56315 w 57754"/>
                <a:gd name="connsiteY23" fmla="*/ 8219 h 15644"/>
                <a:gd name="connsiteX24" fmla="*/ 57107 w 57754"/>
                <a:gd name="connsiteY24" fmla="*/ 8795 h 15644"/>
                <a:gd name="connsiteX25" fmla="*/ 57611 w 57754"/>
                <a:gd name="connsiteY25" fmla="*/ 9660 h 15644"/>
                <a:gd name="connsiteX26" fmla="*/ 57755 w 57754"/>
                <a:gd name="connsiteY26" fmla="*/ 10958 h 15644"/>
                <a:gd name="connsiteX27" fmla="*/ 57395 w 57754"/>
                <a:gd name="connsiteY27" fmla="*/ 12760 h 15644"/>
                <a:gd name="connsiteX28" fmla="*/ 56819 w 57754"/>
                <a:gd name="connsiteY28" fmla="*/ 13626 h 15644"/>
                <a:gd name="connsiteX29" fmla="*/ 55522 w 57754"/>
                <a:gd name="connsiteY29" fmla="*/ 14346 h 15644"/>
                <a:gd name="connsiteX30" fmla="*/ 51562 w 57754"/>
                <a:gd name="connsiteY30" fmla="*/ 15212 h 15644"/>
                <a:gd name="connsiteX31" fmla="*/ 39031 w 57754"/>
                <a:gd name="connsiteY31" fmla="*/ 15644 h 15644"/>
                <a:gd name="connsiteX32" fmla="*/ 21100 w 57754"/>
                <a:gd name="connsiteY32" fmla="*/ 13337 h 15644"/>
                <a:gd name="connsiteX33" fmla="*/ 5545 w 57754"/>
                <a:gd name="connsiteY33" fmla="*/ 10453 h 15644"/>
                <a:gd name="connsiteX34" fmla="*/ 3241 w 57754"/>
                <a:gd name="connsiteY34" fmla="*/ 9516 h 15644"/>
                <a:gd name="connsiteX35" fmla="*/ 1512 w 57754"/>
                <a:gd name="connsiteY35" fmla="*/ 7426 h 15644"/>
                <a:gd name="connsiteX36" fmla="*/ 360 w 57754"/>
                <a:gd name="connsiteY36" fmla="*/ 4974 h 15644"/>
                <a:gd name="connsiteX37" fmla="*/ 0 w 57754"/>
                <a:gd name="connsiteY37" fmla="*/ 2812 h 15644"/>
                <a:gd name="connsiteX38" fmla="*/ 7057 w 57754"/>
                <a:gd name="connsiteY38" fmla="*/ 0 h 1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754" h="15644">
                  <a:moveTo>
                    <a:pt x="7057" y="0"/>
                  </a:moveTo>
                  <a:lnTo>
                    <a:pt x="9794" y="1658"/>
                  </a:lnTo>
                  <a:lnTo>
                    <a:pt x="11522" y="2667"/>
                  </a:lnTo>
                  <a:lnTo>
                    <a:pt x="13467" y="3172"/>
                  </a:lnTo>
                  <a:lnTo>
                    <a:pt x="14835" y="2884"/>
                  </a:lnTo>
                  <a:lnTo>
                    <a:pt x="16419" y="2163"/>
                  </a:lnTo>
                  <a:lnTo>
                    <a:pt x="18003" y="1370"/>
                  </a:lnTo>
                  <a:lnTo>
                    <a:pt x="19588" y="1009"/>
                  </a:lnTo>
                  <a:lnTo>
                    <a:pt x="22324" y="2019"/>
                  </a:lnTo>
                  <a:lnTo>
                    <a:pt x="25277" y="3028"/>
                  </a:lnTo>
                  <a:lnTo>
                    <a:pt x="27725" y="2235"/>
                  </a:lnTo>
                  <a:lnTo>
                    <a:pt x="30246" y="1514"/>
                  </a:lnTo>
                  <a:lnTo>
                    <a:pt x="33198" y="2595"/>
                  </a:lnTo>
                  <a:lnTo>
                    <a:pt x="34638" y="3172"/>
                  </a:lnTo>
                  <a:lnTo>
                    <a:pt x="36079" y="3172"/>
                  </a:lnTo>
                  <a:lnTo>
                    <a:pt x="45224" y="1947"/>
                  </a:lnTo>
                  <a:lnTo>
                    <a:pt x="52210" y="3100"/>
                  </a:lnTo>
                  <a:lnTo>
                    <a:pt x="52642" y="3388"/>
                  </a:lnTo>
                  <a:lnTo>
                    <a:pt x="52858" y="3749"/>
                  </a:lnTo>
                  <a:lnTo>
                    <a:pt x="52642" y="4614"/>
                  </a:lnTo>
                  <a:lnTo>
                    <a:pt x="52354" y="5551"/>
                  </a:lnTo>
                  <a:lnTo>
                    <a:pt x="52642" y="6416"/>
                  </a:lnTo>
                  <a:lnTo>
                    <a:pt x="54370" y="7426"/>
                  </a:lnTo>
                  <a:lnTo>
                    <a:pt x="56315" y="8219"/>
                  </a:lnTo>
                  <a:lnTo>
                    <a:pt x="57107" y="8795"/>
                  </a:lnTo>
                  <a:lnTo>
                    <a:pt x="57611" y="9660"/>
                  </a:lnTo>
                  <a:lnTo>
                    <a:pt x="57755" y="10958"/>
                  </a:lnTo>
                  <a:lnTo>
                    <a:pt x="57395" y="12760"/>
                  </a:lnTo>
                  <a:lnTo>
                    <a:pt x="56819" y="13626"/>
                  </a:lnTo>
                  <a:lnTo>
                    <a:pt x="55522" y="14346"/>
                  </a:lnTo>
                  <a:lnTo>
                    <a:pt x="51562" y="15212"/>
                  </a:lnTo>
                  <a:lnTo>
                    <a:pt x="39031" y="15644"/>
                  </a:lnTo>
                  <a:lnTo>
                    <a:pt x="21100" y="13337"/>
                  </a:lnTo>
                  <a:lnTo>
                    <a:pt x="5545" y="10453"/>
                  </a:lnTo>
                  <a:lnTo>
                    <a:pt x="3241" y="9516"/>
                  </a:lnTo>
                  <a:lnTo>
                    <a:pt x="1512" y="7426"/>
                  </a:lnTo>
                  <a:lnTo>
                    <a:pt x="360" y="4974"/>
                  </a:lnTo>
                  <a:lnTo>
                    <a:pt x="0" y="2812"/>
                  </a:lnTo>
                  <a:lnTo>
                    <a:pt x="705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763ADC91-D85F-8054-B681-C4C69EDB725E}"/>
                </a:ext>
              </a:extLst>
            </p:cNvPr>
            <p:cNvSpPr/>
            <p:nvPr/>
          </p:nvSpPr>
          <p:spPr>
            <a:xfrm>
              <a:off x="9668481" y="3473390"/>
              <a:ext cx="59771" cy="17013"/>
            </a:xfrm>
            <a:custGeom>
              <a:avLst/>
              <a:gdLst>
                <a:gd name="connsiteX0" fmla="*/ 5617 w 59771"/>
                <a:gd name="connsiteY0" fmla="*/ 0 h 17013"/>
                <a:gd name="connsiteX1" fmla="*/ 10442 w 59771"/>
                <a:gd name="connsiteY1" fmla="*/ 1874 h 17013"/>
                <a:gd name="connsiteX2" fmla="*/ 12818 w 59771"/>
                <a:gd name="connsiteY2" fmla="*/ 2740 h 17013"/>
                <a:gd name="connsiteX3" fmla="*/ 15195 w 59771"/>
                <a:gd name="connsiteY3" fmla="*/ 2667 h 17013"/>
                <a:gd name="connsiteX4" fmla="*/ 36583 w 59771"/>
                <a:gd name="connsiteY4" fmla="*/ 1658 h 17013"/>
                <a:gd name="connsiteX5" fmla="*/ 45152 w 59771"/>
                <a:gd name="connsiteY5" fmla="*/ 2451 h 17013"/>
                <a:gd name="connsiteX6" fmla="*/ 51850 w 59771"/>
                <a:gd name="connsiteY6" fmla="*/ 4109 h 17013"/>
                <a:gd name="connsiteX7" fmla="*/ 54874 w 59771"/>
                <a:gd name="connsiteY7" fmla="*/ 4902 h 17013"/>
                <a:gd name="connsiteX8" fmla="*/ 56603 w 59771"/>
                <a:gd name="connsiteY8" fmla="*/ 5623 h 17013"/>
                <a:gd name="connsiteX9" fmla="*/ 57971 w 59771"/>
                <a:gd name="connsiteY9" fmla="*/ 6633 h 17013"/>
                <a:gd name="connsiteX10" fmla="*/ 59483 w 59771"/>
                <a:gd name="connsiteY10" fmla="*/ 9300 h 17013"/>
                <a:gd name="connsiteX11" fmla="*/ 59771 w 59771"/>
                <a:gd name="connsiteY11" fmla="*/ 11895 h 17013"/>
                <a:gd name="connsiteX12" fmla="*/ 59123 w 59771"/>
                <a:gd name="connsiteY12" fmla="*/ 14130 h 17013"/>
                <a:gd name="connsiteX13" fmla="*/ 57971 w 59771"/>
                <a:gd name="connsiteY13" fmla="*/ 15572 h 17013"/>
                <a:gd name="connsiteX14" fmla="*/ 57971 w 59771"/>
                <a:gd name="connsiteY14" fmla="*/ 17014 h 17013"/>
                <a:gd name="connsiteX15" fmla="*/ 37015 w 59771"/>
                <a:gd name="connsiteY15" fmla="*/ 16942 h 17013"/>
                <a:gd name="connsiteX16" fmla="*/ 30030 w 59771"/>
                <a:gd name="connsiteY16" fmla="*/ 17014 h 17013"/>
                <a:gd name="connsiteX17" fmla="*/ 23116 w 59771"/>
                <a:gd name="connsiteY17" fmla="*/ 16437 h 17013"/>
                <a:gd name="connsiteX18" fmla="*/ 16203 w 59771"/>
                <a:gd name="connsiteY18" fmla="*/ 15212 h 17013"/>
                <a:gd name="connsiteX19" fmla="*/ 10010 w 59771"/>
                <a:gd name="connsiteY19" fmla="*/ 14202 h 17013"/>
                <a:gd name="connsiteX20" fmla="*/ 5545 w 59771"/>
                <a:gd name="connsiteY20" fmla="*/ 13481 h 17013"/>
                <a:gd name="connsiteX21" fmla="*/ 3745 w 59771"/>
                <a:gd name="connsiteY21" fmla="*/ 13049 h 17013"/>
                <a:gd name="connsiteX22" fmla="*/ 2520 w 59771"/>
                <a:gd name="connsiteY22" fmla="*/ 11895 h 17013"/>
                <a:gd name="connsiteX23" fmla="*/ 792 w 59771"/>
                <a:gd name="connsiteY23" fmla="*/ 8219 h 17013"/>
                <a:gd name="connsiteX24" fmla="*/ 0 w 59771"/>
                <a:gd name="connsiteY24" fmla="*/ 4253 h 17013"/>
                <a:gd name="connsiteX25" fmla="*/ 5617 w 59771"/>
                <a:gd name="connsiteY25" fmla="*/ 0 h 17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9771" h="17013">
                  <a:moveTo>
                    <a:pt x="5617" y="0"/>
                  </a:moveTo>
                  <a:lnTo>
                    <a:pt x="10442" y="1874"/>
                  </a:lnTo>
                  <a:lnTo>
                    <a:pt x="12818" y="2740"/>
                  </a:lnTo>
                  <a:lnTo>
                    <a:pt x="15195" y="2667"/>
                  </a:lnTo>
                  <a:lnTo>
                    <a:pt x="36583" y="1658"/>
                  </a:lnTo>
                  <a:lnTo>
                    <a:pt x="45152" y="2451"/>
                  </a:lnTo>
                  <a:lnTo>
                    <a:pt x="51850" y="4109"/>
                  </a:lnTo>
                  <a:lnTo>
                    <a:pt x="54874" y="4902"/>
                  </a:lnTo>
                  <a:lnTo>
                    <a:pt x="56603" y="5623"/>
                  </a:lnTo>
                  <a:lnTo>
                    <a:pt x="57971" y="6633"/>
                  </a:lnTo>
                  <a:lnTo>
                    <a:pt x="59483" y="9300"/>
                  </a:lnTo>
                  <a:lnTo>
                    <a:pt x="59771" y="11895"/>
                  </a:lnTo>
                  <a:lnTo>
                    <a:pt x="59123" y="14130"/>
                  </a:lnTo>
                  <a:lnTo>
                    <a:pt x="57971" y="15572"/>
                  </a:lnTo>
                  <a:lnTo>
                    <a:pt x="57971" y="17014"/>
                  </a:lnTo>
                  <a:lnTo>
                    <a:pt x="37015" y="16942"/>
                  </a:lnTo>
                  <a:lnTo>
                    <a:pt x="30030" y="17014"/>
                  </a:lnTo>
                  <a:lnTo>
                    <a:pt x="23116" y="16437"/>
                  </a:lnTo>
                  <a:lnTo>
                    <a:pt x="16203" y="15212"/>
                  </a:lnTo>
                  <a:lnTo>
                    <a:pt x="10010" y="14202"/>
                  </a:lnTo>
                  <a:lnTo>
                    <a:pt x="5545" y="13481"/>
                  </a:lnTo>
                  <a:lnTo>
                    <a:pt x="3745" y="13049"/>
                  </a:lnTo>
                  <a:lnTo>
                    <a:pt x="2520" y="11895"/>
                  </a:lnTo>
                  <a:lnTo>
                    <a:pt x="792" y="8219"/>
                  </a:lnTo>
                  <a:lnTo>
                    <a:pt x="0" y="4253"/>
                  </a:lnTo>
                  <a:lnTo>
                    <a:pt x="561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59460F7F-D15D-4193-723D-163F76751E67}"/>
                </a:ext>
              </a:extLst>
            </p:cNvPr>
            <p:cNvSpPr/>
            <p:nvPr/>
          </p:nvSpPr>
          <p:spPr>
            <a:xfrm>
              <a:off x="9668553" y="3498406"/>
              <a:ext cx="60779" cy="27899"/>
            </a:xfrm>
            <a:custGeom>
              <a:avLst/>
              <a:gdLst>
                <a:gd name="connsiteX0" fmla="*/ 7129 w 60779"/>
                <a:gd name="connsiteY0" fmla="*/ 0 h 27899"/>
                <a:gd name="connsiteX1" fmla="*/ 16635 w 60779"/>
                <a:gd name="connsiteY1" fmla="*/ 1226 h 27899"/>
                <a:gd name="connsiteX2" fmla="*/ 19804 w 60779"/>
                <a:gd name="connsiteY2" fmla="*/ 1586 h 27899"/>
                <a:gd name="connsiteX3" fmla="*/ 22540 w 60779"/>
                <a:gd name="connsiteY3" fmla="*/ 1081 h 27899"/>
                <a:gd name="connsiteX4" fmla="*/ 26213 w 60779"/>
                <a:gd name="connsiteY4" fmla="*/ 721 h 27899"/>
                <a:gd name="connsiteX5" fmla="*/ 31974 w 60779"/>
                <a:gd name="connsiteY5" fmla="*/ 1153 h 27899"/>
                <a:gd name="connsiteX6" fmla="*/ 40256 w 60779"/>
                <a:gd name="connsiteY6" fmla="*/ 1298 h 27899"/>
                <a:gd name="connsiteX7" fmla="*/ 48609 w 60779"/>
                <a:gd name="connsiteY7" fmla="*/ 865 h 27899"/>
                <a:gd name="connsiteX8" fmla="*/ 51490 w 60779"/>
                <a:gd name="connsiteY8" fmla="*/ 793 h 27899"/>
                <a:gd name="connsiteX9" fmla="*/ 53938 w 60779"/>
                <a:gd name="connsiteY9" fmla="*/ 1802 h 27899"/>
                <a:gd name="connsiteX10" fmla="*/ 58259 w 60779"/>
                <a:gd name="connsiteY10" fmla="*/ 5407 h 27899"/>
                <a:gd name="connsiteX11" fmla="*/ 59699 w 60779"/>
                <a:gd name="connsiteY11" fmla="*/ 7209 h 27899"/>
                <a:gd name="connsiteX12" fmla="*/ 60563 w 60779"/>
                <a:gd name="connsiteY12" fmla="*/ 9300 h 27899"/>
                <a:gd name="connsiteX13" fmla="*/ 60779 w 60779"/>
                <a:gd name="connsiteY13" fmla="*/ 11607 h 27899"/>
                <a:gd name="connsiteX14" fmla="*/ 60203 w 60779"/>
                <a:gd name="connsiteY14" fmla="*/ 13914 h 27899"/>
                <a:gd name="connsiteX15" fmla="*/ 57683 w 60779"/>
                <a:gd name="connsiteY15" fmla="*/ 20979 h 27899"/>
                <a:gd name="connsiteX16" fmla="*/ 56243 w 60779"/>
                <a:gd name="connsiteY16" fmla="*/ 24079 h 27899"/>
                <a:gd name="connsiteX17" fmla="*/ 54154 w 60779"/>
                <a:gd name="connsiteY17" fmla="*/ 26602 h 27899"/>
                <a:gd name="connsiteX18" fmla="*/ 52930 w 60779"/>
                <a:gd name="connsiteY18" fmla="*/ 27179 h 27899"/>
                <a:gd name="connsiteX19" fmla="*/ 51490 w 60779"/>
                <a:gd name="connsiteY19" fmla="*/ 27251 h 27899"/>
                <a:gd name="connsiteX20" fmla="*/ 47961 w 60779"/>
                <a:gd name="connsiteY20" fmla="*/ 26602 h 27899"/>
                <a:gd name="connsiteX21" fmla="*/ 44288 w 60779"/>
                <a:gd name="connsiteY21" fmla="*/ 25593 h 27899"/>
                <a:gd name="connsiteX22" fmla="*/ 41120 w 60779"/>
                <a:gd name="connsiteY22" fmla="*/ 25160 h 27899"/>
                <a:gd name="connsiteX23" fmla="*/ 38815 w 60779"/>
                <a:gd name="connsiteY23" fmla="*/ 25737 h 27899"/>
                <a:gd name="connsiteX24" fmla="*/ 36799 w 60779"/>
                <a:gd name="connsiteY24" fmla="*/ 26746 h 27899"/>
                <a:gd name="connsiteX25" fmla="*/ 34711 w 60779"/>
                <a:gd name="connsiteY25" fmla="*/ 27612 h 27899"/>
                <a:gd name="connsiteX26" fmla="*/ 32334 w 60779"/>
                <a:gd name="connsiteY26" fmla="*/ 27900 h 27899"/>
                <a:gd name="connsiteX27" fmla="*/ 25565 w 60779"/>
                <a:gd name="connsiteY27" fmla="*/ 26098 h 27899"/>
                <a:gd name="connsiteX28" fmla="*/ 21748 w 60779"/>
                <a:gd name="connsiteY28" fmla="*/ 25593 h 27899"/>
                <a:gd name="connsiteX29" fmla="*/ 17355 w 60779"/>
                <a:gd name="connsiteY29" fmla="*/ 26314 h 27899"/>
                <a:gd name="connsiteX30" fmla="*/ 16203 w 60779"/>
                <a:gd name="connsiteY30" fmla="*/ 26458 h 27899"/>
                <a:gd name="connsiteX31" fmla="*/ 15123 w 60779"/>
                <a:gd name="connsiteY31" fmla="*/ 25953 h 27899"/>
                <a:gd name="connsiteX32" fmla="*/ 13971 w 60779"/>
                <a:gd name="connsiteY32" fmla="*/ 25377 h 27899"/>
                <a:gd name="connsiteX33" fmla="*/ 12746 w 60779"/>
                <a:gd name="connsiteY33" fmla="*/ 25088 h 27899"/>
                <a:gd name="connsiteX34" fmla="*/ 10082 w 60779"/>
                <a:gd name="connsiteY34" fmla="*/ 25016 h 27899"/>
                <a:gd name="connsiteX35" fmla="*/ 9074 w 60779"/>
                <a:gd name="connsiteY35" fmla="*/ 24656 h 27899"/>
                <a:gd name="connsiteX36" fmla="*/ 8570 w 60779"/>
                <a:gd name="connsiteY36" fmla="*/ 24079 h 27899"/>
                <a:gd name="connsiteX37" fmla="*/ 5329 w 60779"/>
                <a:gd name="connsiteY37" fmla="*/ 19105 h 27899"/>
                <a:gd name="connsiteX38" fmla="*/ 1872 w 60779"/>
                <a:gd name="connsiteY38" fmla="*/ 14995 h 27899"/>
                <a:gd name="connsiteX39" fmla="*/ 432 w 60779"/>
                <a:gd name="connsiteY39" fmla="*/ 13121 h 27899"/>
                <a:gd name="connsiteX40" fmla="*/ 0 w 60779"/>
                <a:gd name="connsiteY40" fmla="*/ 10958 h 27899"/>
                <a:gd name="connsiteX41" fmla="*/ 792 w 60779"/>
                <a:gd name="connsiteY41" fmla="*/ 8363 h 27899"/>
                <a:gd name="connsiteX42" fmla="*/ 2664 w 60779"/>
                <a:gd name="connsiteY42" fmla="*/ 5623 h 27899"/>
                <a:gd name="connsiteX43" fmla="*/ 7129 w 60779"/>
                <a:gd name="connsiteY43" fmla="*/ 0 h 27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0779" h="27899">
                  <a:moveTo>
                    <a:pt x="7129" y="0"/>
                  </a:moveTo>
                  <a:lnTo>
                    <a:pt x="16635" y="1226"/>
                  </a:lnTo>
                  <a:lnTo>
                    <a:pt x="19804" y="1586"/>
                  </a:lnTo>
                  <a:lnTo>
                    <a:pt x="22540" y="1081"/>
                  </a:lnTo>
                  <a:lnTo>
                    <a:pt x="26213" y="721"/>
                  </a:lnTo>
                  <a:lnTo>
                    <a:pt x="31974" y="1153"/>
                  </a:lnTo>
                  <a:lnTo>
                    <a:pt x="40256" y="1298"/>
                  </a:lnTo>
                  <a:lnTo>
                    <a:pt x="48609" y="865"/>
                  </a:lnTo>
                  <a:lnTo>
                    <a:pt x="51490" y="793"/>
                  </a:lnTo>
                  <a:lnTo>
                    <a:pt x="53938" y="1802"/>
                  </a:lnTo>
                  <a:lnTo>
                    <a:pt x="58259" y="5407"/>
                  </a:lnTo>
                  <a:lnTo>
                    <a:pt x="59699" y="7209"/>
                  </a:lnTo>
                  <a:lnTo>
                    <a:pt x="60563" y="9300"/>
                  </a:lnTo>
                  <a:lnTo>
                    <a:pt x="60779" y="11607"/>
                  </a:lnTo>
                  <a:lnTo>
                    <a:pt x="60203" y="13914"/>
                  </a:lnTo>
                  <a:lnTo>
                    <a:pt x="57683" y="20979"/>
                  </a:lnTo>
                  <a:lnTo>
                    <a:pt x="56243" y="24079"/>
                  </a:lnTo>
                  <a:lnTo>
                    <a:pt x="54154" y="26602"/>
                  </a:lnTo>
                  <a:lnTo>
                    <a:pt x="52930" y="27179"/>
                  </a:lnTo>
                  <a:lnTo>
                    <a:pt x="51490" y="27251"/>
                  </a:lnTo>
                  <a:lnTo>
                    <a:pt x="47961" y="26602"/>
                  </a:lnTo>
                  <a:lnTo>
                    <a:pt x="44288" y="25593"/>
                  </a:lnTo>
                  <a:lnTo>
                    <a:pt x="41120" y="25160"/>
                  </a:lnTo>
                  <a:lnTo>
                    <a:pt x="38815" y="25737"/>
                  </a:lnTo>
                  <a:lnTo>
                    <a:pt x="36799" y="26746"/>
                  </a:lnTo>
                  <a:lnTo>
                    <a:pt x="34711" y="27612"/>
                  </a:lnTo>
                  <a:lnTo>
                    <a:pt x="32334" y="27900"/>
                  </a:lnTo>
                  <a:lnTo>
                    <a:pt x="25565" y="26098"/>
                  </a:lnTo>
                  <a:lnTo>
                    <a:pt x="21748" y="25593"/>
                  </a:lnTo>
                  <a:lnTo>
                    <a:pt x="17355" y="26314"/>
                  </a:lnTo>
                  <a:lnTo>
                    <a:pt x="16203" y="26458"/>
                  </a:lnTo>
                  <a:lnTo>
                    <a:pt x="15123" y="25953"/>
                  </a:lnTo>
                  <a:lnTo>
                    <a:pt x="13971" y="25377"/>
                  </a:lnTo>
                  <a:lnTo>
                    <a:pt x="12746" y="25088"/>
                  </a:lnTo>
                  <a:lnTo>
                    <a:pt x="10082" y="25016"/>
                  </a:lnTo>
                  <a:lnTo>
                    <a:pt x="9074" y="24656"/>
                  </a:lnTo>
                  <a:lnTo>
                    <a:pt x="8570" y="24079"/>
                  </a:lnTo>
                  <a:lnTo>
                    <a:pt x="5329" y="19105"/>
                  </a:lnTo>
                  <a:lnTo>
                    <a:pt x="1872" y="14995"/>
                  </a:lnTo>
                  <a:lnTo>
                    <a:pt x="432" y="13121"/>
                  </a:lnTo>
                  <a:lnTo>
                    <a:pt x="0" y="10958"/>
                  </a:lnTo>
                  <a:lnTo>
                    <a:pt x="792" y="8363"/>
                  </a:lnTo>
                  <a:lnTo>
                    <a:pt x="2664" y="5623"/>
                  </a:lnTo>
                  <a:lnTo>
                    <a:pt x="7129" y="0"/>
                  </a:lnTo>
                </a:path>
              </a:pathLst>
            </a:custGeom>
            <a:solidFill>
              <a:srgbClr val="A9218E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1A7FCC67-7511-27F0-4330-44C43A341242}"/>
                </a:ext>
              </a:extLst>
            </p:cNvPr>
            <p:cNvSpPr/>
            <p:nvPr/>
          </p:nvSpPr>
          <p:spPr>
            <a:xfrm>
              <a:off x="9664305" y="3546780"/>
              <a:ext cx="69565" cy="39506"/>
            </a:xfrm>
            <a:custGeom>
              <a:avLst/>
              <a:gdLst>
                <a:gd name="connsiteX0" fmla="*/ 22180 w 69565"/>
                <a:gd name="connsiteY0" fmla="*/ 216 h 39506"/>
                <a:gd name="connsiteX1" fmla="*/ 25709 w 69565"/>
                <a:gd name="connsiteY1" fmla="*/ 0 h 39506"/>
                <a:gd name="connsiteX2" fmla="*/ 29238 w 69565"/>
                <a:gd name="connsiteY2" fmla="*/ 360 h 39506"/>
                <a:gd name="connsiteX3" fmla="*/ 49545 w 69565"/>
                <a:gd name="connsiteY3" fmla="*/ 2379 h 39506"/>
                <a:gd name="connsiteX4" fmla="*/ 55234 w 69565"/>
                <a:gd name="connsiteY4" fmla="*/ 3244 h 39506"/>
                <a:gd name="connsiteX5" fmla="*/ 60635 w 69565"/>
                <a:gd name="connsiteY5" fmla="*/ 4758 h 39506"/>
                <a:gd name="connsiteX6" fmla="*/ 63084 w 69565"/>
                <a:gd name="connsiteY6" fmla="*/ 6272 h 39506"/>
                <a:gd name="connsiteX7" fmla="*/ 65244 w 69565"/>
                <a:gd name="connsiteY7" fmla="*/ 8435 h 39506"/>
                <a:gd name="connsiteX8" fmla="*/ 67045 w 69565"/>
                <a:gd name="connsiteY8" fmla="*/ 11679 h 39506"/>
                <a:gd name="connsiteX9" fmla="*/ 68485 w 69565"/>
                <a:gd name="connsiteY9" fmla="*/ 16005 h 39506"/>
                <a:gd name="connsiteX10" fmla="*/ 69565 w 69565"/>
                <a:gd name="connsiteY10" fmla="*/ 23358 h 39506"/>
                <a:gd name="connsiteX11" fmla="*/ 69205 w 69565"/>
                <a:gd name="connsiteY11" fmla="*/ 27035 h 39506"/>
                <a:gd name="connsiteX12" fmla="*/ 67837 w 69565"/>
                <a:gd name="connsiteY12" fmla="*/ 30423 h 39506"/>
                <a:gd name="connsiteX13" fmla="*/ 65964 w 69565"/>
                <a:gd name="connsiteY13" fmla="*/ 32586 h 39506"/>
                <a:gd name="connsiteX14" fmla="*/ 63516 w 69565"/>
                <a:gd name="connsiteY14" fmla="*/ 34460 h 39506"/>
                <a:gd name="connsiteX15" fmla="*/ 56963 w 69565"/>
                <a:gd name="connsiteY15" fmla="*/ 37272 h 39506"/>
                <a:gd name="connsiteX16" fmla="*/ 39751 w 69565"/>
                <a:gd name="connsiteY16" fmla="*/ 39507 h 39506"/>
                <a:gd name="connsiteX17" fmla="*/ 34278 w 69565"/>
                <a:gd name="connsiteY17" fmla="*/ 38786 h 39506"/>
                <a:gd name="connsiteX18" fmla="*/ 29021 w 69565"/>
                <a:gd name="connsiteY18" fmla="*/ 37272 h 39506"/>
                <a:gd name="connsiteX19" fmla="*/ 23764 w 69565"/>
                <a:gd name="connsiteY19" fmla="*/ 35830 h 39506"/>
                <a:gd name="connsiteX20" fmla="*/ 18652 w 69565"/>
                <a:gd name="connsiteY20" fmla="*/ 35253 h 39506"/>
                <a:gd name="connsiteX21" fmla="*/ 11450 w 69565"/>
                <a:gd name="connsiteY21" fmla="*/ 34388 h 39506"/>
                <a:gd name="connsiteX22" fmla="*/ 6049 w 69565"/>
                <a:gd name="connsiteY22" fmla="*/ 31721 h 39506"/>
                <a:gd name="connsiteX23" fmla="*/ 2448 w 69565"/>
                <a:gd name="connsiteY23" fmla="*/ 27900 h 39506"/>
                <a:gd name="connsiteX24" fmla="*/ 504 w 69565"/>
                <a:gd name="connsiteY24" fmla="*/ 23574 h 39506"/>
                <a:gd name="connsiteX25" fmla="*/ 0 w 69565"/>
                <a:gd name="connsiteY25" fmla="*/ 18816 h 39506"/>
                <a:gd name="connsiteX26" fmla="*/ 1152 w 69565"/>
                <a:gd name="connsiteY26" fmla="*/ 14707 h 39506"/>
                <a:gd name="connsiteX27" fmla="*/ 3529 w 69565"/>
                <a:gd name="connsiteY27" fmla="*/ 11246 h 39506"/>
                <a:gd name="connsiteX28" fmla="*/ 6625 w 69565"/>
                <a:gd name="connsiteY28" fmla="*/ 8507 h 39506"/>
                <a:gd name="connsiteX29" fmla="*/ 13395 w 69565"/>
                <a:gd name="connsiteY29" fmla="*/ 4758 h 39506"/>
                <a:gd name="connsiteX30" fmla="*/ 18003 w 69565"/>
                <a:gd name="connsiteY30" fmla="*/ 3100 h 39506"/>
                <a:gd name="connsiteX31" fmla="*/ 19156 w 69565"/>
                <a:gd name="connsiteY31" fmla="*/ 2523 h 39506"/>
                <a:gd name="connsiteX32" fmla="*/ 19948 w 69565"/>
                <a:gd name="connsiteY32" fmla="*/ 1730 h 39506"/>
                <a:gd name="connsiteX33" fmla="*/ 20812 w 69565"/>
                <a:gd name="connsiteY33" fmla="*/ 865 h 39506"/>
                <a:gd name="connsiteX34" fmla="*/ 22180 w 69565"/>
                <a:gd name="connsiteY34" fmla="*/ 216 h 3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9565" h="39506">
                  <a:moveTo>
                    <a:pt x="22180" y="216"/>
                  </a:moveTo>
                  <a:lnTo>
                    <a:pt x="25709" y="0"/>
                  </a:lnTo>
                  <a:lnTo>
                    <a:pt x="29238" y="360"/>
                  </a:lnTo>
                  <a:lnTo>
                    <a:pt x="49545" y="2379"/>
                  </a:lnTo>
                  <a:lnTo>
                    <a:pt x="55234" y="3244"/>
                  </a:lnTo>
                  <a:lnTo>
                    <a:pt x="60635" y="4758"/>
                  </a:lnTo>
                  <a:lnTo>
                    <a:pt x="63084" y="6272"/>
                  </a:lnTo>
                  <a:lnTo>
                    <a:pt x="65244" y="8435"/>
                  </a:lnTo>
                  <a:lnTo>
                    <a:pt x="67045" y="11679"/>
                  </a:lnTo>
                  <a:lnTo>
                    <a:pt x="68485" y="16005"/>
                  </a:lnTo>
                  <a:lnTo>
                    <a:pt x="69565" y="23358"/>
                  </a:lnTo>
                  <a:lnTo>
                    <a:pt x="69205" y="27035"/>
                  </a:lnTo>
                  <a:lnTo>
                    <a:pt x="67837" y="30423"/>
                  </a:lnTo>
                  <a:lnTo>
                    <a:pt x="65964" y="32586"/>
                  </a:lnTo>
                  <a:lnTo>
                    <a:pt x="63516" y="34460"/>
                  </a:lnTo>
                  <a:lnTo>
                    <a:pt x="56963" y="37272"/>
                  </a:lnTo>
                  <a:lnTo>
                    <a:pt x="39751" y="39507"/>
                  </a:lnTo>
                  <a:lnTo>
                    <a:pt x="34278" y="38786"/>
                  </a:lnTo>
                  <a:lnTo>
                    <a:pt x="29021" y="37272"/>
                  </a:lnTo>
                  <a:lnTo>
                    <a:pt x="23764" y="35830"/>
                  </a:lnTo>
                  <a:lnTo>
                    <a:pt x="18652" y="35253"/>
                  </a:lnTo>
                  <a:lnTo>
                    <a:pt x="11450" y="34388"/>
                  </a:lnTo>
                  <a:lnTo>
                    <a:pt x="6049" y="31721"/>
                  </a:lnTo>
                  <a:lnTo>
                    <a:pt x="2448" y="27900"/>
                  </a:lnTo>
                  <a:lnTo>
                    <a:pt x="504" y="23574"/>
                  </a:lnTo>
                  <a:lnTo>
                    <a:pt x="0" y="18816"/>
                  </a:lnTo>
                  <a:lnTo>
                    <a:pt x="1152" y="14707"/>
                  </a:lnTo>
                  <a:lnTo>
                    <a:pt x="3529" y="11246"/>
                  </a:lnTo>
                  <a:lnTo>
                    <a:pt x="6625" y="8507"/>
                  </a:lnTo>
                  <a:lnTo>
                    <a:pt x="13395" y="4758"/>
                  </a:lnTo>
                  <a:lnTo>
                    <a:pt x="18003" y="3100"/>
                  </a:lnTo>
                  <a:lnTo>
                    <a:pt x="19156" y="2523"/>
                  </a:lnTo>
                  <a:lnTo>
                    <a:pt x="19948" y="1730"/>
                  </a:lnTo>
                  <a:lnTo>
                    <a:pt x="20812" y="865"/>
                  </a:lnTo>
                  <a:lnTo>
                    <a:pt x="22180" y="216"/>
                  </a:lnTo>
                </a:path>
              </a:pathLst>
            </a:custGeom>
            <a:solidFill>
              <a:srgbClr val="353D98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xmlns="" id="{F8A5A7E5-DEDE-2073-CC2D-FAB26C9B9928}"/>
                </a:ext>
              </a:extLst>
            </p:cNvPr>
            <p:cNvSpPr/>
            <p:nvPr/>
          </p:nvSpPr>
          <p:spPr>
            <a:xfrm>
              <a:off x="9669201" y="3603950"/>
              <a:ext cx="58186" cy="38137"/>
            </a:xfrm>
            <a:custGeom>
              <a:avLst/>
              <a:gdLst>
                <a:gd name="connsiteX0" fmla="*/ 32838 w 58186"/>
                <a:gd name="connsiteY0" fmla="*/ 0 h 38137"/>
                <a:gd name="connsiteX1" fmla="*/ 39463 w 58186"/>
                <a:gd name="connsiteY1" fmla="*/ 577 h 38137"/>
                <a:gd name="connsiteX2" fmla="*/ 46377 w 58186"/>
                <a:gd name="connsiteY2" fmla="*/ 3100 h 38137"/>
                <a:gd name="connsiteX3" fmla="*/ 48393 w 58186"/>
                <a:gd name="connsiteY3" fmla="*/ 5046 h 38137"/>
                <a:gd name="connsiteX4" fmla="*/ 50049 w 58186"/>
                <a:gd name="connsiteY4" fmla="*/ 6560 h 38137"/>
                <a:gd name="connsiteX5" fmla="*/ 53506 w 58186"/>
                <a:gd name="connsiteY5" fmla="*/ 7281 h 38137"/>
                <a:gd name="connsiteX6" fmla="*/ 55162 w 58186"/>
                <a:gd name="connsiteY6" fmla="*/ 7786 h 38137"/>
                <a:gd name="connsiteX7" fmla="*/ 56243 w 58186"/>
                <a:gd name="connsiteY7" fmla="*/ 8723 h 38137"/>
                <a:gd name="connsiteX8" fmla="*/ 58043 w 58186"/>
                <a:gd name="connsiteY8" fmla="*/ 16653 h 38137"/>
                <a:gd name="connsiteX9" fmla="*/ 58187 w 58186"/>
                <a:gd name="connsiteY9" fmla="*/ 21700 h 38137"/>
                <a:gd name="connsiteX10" fmla="*/ 57395 w 58186"/>
                <a:gd name="connsiteY10" fmla="*/ 25881 h 38137"/>
                <a:gd name="connsiteX11" fmla="*/ 55882 w 58186"/>
                <a:gd name="connsiteY11" fmla="*/ 28477 h 38137"/>
                <a:gd name="connsiteX12" fmla="*/ 53722 w 58186"/>
                <a:gd name="connsiteY12" fmla="*/ 30784 h 38137"/>
                <a:gd name="connsiteX13" fmla="*/ 48033 w 58186"/>
                <a:gd name="connsiteY13" fmla="*/ 34388 h 38137"/>
                <a:gd name="connsiteX14" fmla="*/ 40904 w 58186"/>
                <a:gd name="connsiteY14" fmla="*/ 36767 h 38137"/>
                <a:gd name="connsiteX15" fmla="*/ 32910 w 58186"/>
                <a:gd name="connsiteY15" fmla="*/ 37993 h 38137"/>
                <a:gd name="connsiteX16" fmla="*/ 24701 w 58186"/>
                <a:gd name="connsiteY16" fmla="*/ 38137 h 38137"/>
                <a:gd name="connsiteX17" fmla="*/ 16851 w 58186"/>
                <a:gd name="connsiteY17" fmla="*/ 37200 h 38137"/>
                <a:gd name="connsiteX18" fmla="*/ 9938 w 58186"/>
                <a:gd name="connsiteY18" fmla="*/ 35398 h 38137"/>
                <a:gd name="connsiteX19" fmla="*/ 4681 w 58186"/>
                <a:gd name="connsiteY19" fmla="*/ 32730 h 38137"/>
                <a:gd name="connsiteX20" fmla="*/ 3025 w 58186"/>
                <a:gd name="connsiteY20" fmla="*/ 31144 h 38137"/>
                <a:gd name="connsiteX21" fmla="*/ 1872 w 58186"/>
                <a:gd name="connsiteY21" fmla="*/ 29270 h 38137"/>
                <a:gd name="connsiteX22" fmla="*/ 432 w 58186"/>
                <a:gd name="connsiteY22" fmla="*/ 25016 h 38137"/>
                <a:gd name="connsiteX23" fmla="*/ 0 w 58186"/>
                <a:gd name="connsiteY23" fmla="*/ 20330 h 38137"/>
                <a:gd name="connsiteX24" fmla="*/ 936 w 58186"/>
                <a:gd name="connsiteY24" fmla="*/ 16221 h 38137"/>
                <a:gd name="connsiteX25" fmla="*/ 3097 w 58186"/>
                <a:gd name="connsiteY25" fmla="*/ 12688 h 38137"/>
                <a:gd name="connsiteX26" fmla="*/ 5977 w 58186"/>
                <a:gd name="connsiteY26" fmla="*/ 9733 h 38137"/>
                <a:gd name="connsiteX27" fmla="*/ 13106 w 58186"/>
                <a:gd name="connsiteY27" fmla="*/ 5623 h 38137"/>
                <a:gd name="connsiteX28" fmla="*/ 19732 w 58186"/>
                <a:gd name="connsiteY28" fmla="*/ 3821 h 38137"/>
                <a:gd name="connsiteX29" fmla="*/ 26429 w 58186"/>
                <a:gd name="connsiteY29" fmla="*/ 1802 h 38137"/>
                <a:gd name="connsiteX30" fmla="*/ 32838 w 58186"/>
                <a:gd name="connsiteY30" fmla="*/ 0 h 3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8186" h="38137">
                  <a:moveTo>
                    <a:pt x="32838" y="0"/>
                  </a:moveTo>
                  <a:lnTo>
                    <a:pt x="39463" y="577"/>
                  </a:lnTo>
                  <a:lnTo>
                    <a:pt x="46377" y="3100"/>
                  </a:lnTo>
                  <a:lnTo>
                    <a:pt x="48393" y="5046"/>
                  </a:lnTo>
                  <a:lnTo>
                    <a:pt x="50049" y="6560"/>
                  </a:lnTo>
                  <a:lnTo>
                    <a:pt x="53506" y="7281"/>
                  </a:lnTo>
                  <a:lnTo>
                    <a:pt x="55162" y="7786"/>
                  </a:lnTo>
                  <a:lnTo>
                    <a:pt x="56243" y="8723"/>
                  </a:lnTo>
                  <a:lnTo>
                    <a:pt x="58043" y="16653"/>
                  </a:lnTo>
                  <a:lnTo>
                    <a:pt x="58187" y="21700"/>
                  </a:lnTo>
                  <a:lnTo>
                    <a:pt x="57395" y="25881"/>
                  </a:lnTo>
                  <a:lnTo>
                    <a:pt x="55882" y="28477"/>
                  </a:lnTo>
                  <a:lnTo>
                    <a:pt x="53722" y="30784"/>
                  </a:lnTo>
                  <a:lnTo>
                    <a:pt x="48033" y="34388"/>
                  </a:lnTo>
                  <a:lnTo>
                    <a:pt x="40904" y="36767"/>
                  </a:lnTo>
                  <a:lnTo>
                    <a:pt x="32910" y="37993"/>
                  </a:lnTo>
                  <a:lnTo>
                    <a:pt x="24701" y="38137"/>
                  </a:lnTo>
                  <a:lnTo>
                    <a:pt x="16851" y="37200"/>
                  </a:lnTo>
                  <a:lnTo>
                    <a:pt x="9938" y="35398"/>
                  </a:lnTo>
                  <a:lnTo>
                    <a:pt x="4681" y="32730"/>
                  </a:lnTo>
                  <a:lnTo>
                    <a:pt x="3025" y="31144"/>
                  </a:lnTo>
                  <a:lnTo>
                    <a:pt x="1872" y="29270"/>
                  </a:lnTo>
                  <a:lnTo>
                    <a:pt x="432" y="25016"/>
                  </a:lnTo>
                  <a:lnTo>
                    <a:pt x="0" y="20330"/>
                  </a:lnTo>
                  <a:lnTo>
                    <a:pt x="936" y="16221"/>
                  </a:lnTo>
                  <a:lnTo>
                    <a:pt x="3097" y="12688"/>
                  </a:lnTo>
                  <a:lnTo>
                    <a:pt x="5977" y="9733"/>
                  </a:lnTo>
                  <a:lnTo>
                    <a:pt x="13106" y="5623"/>
                  </a:lnTo>
                  <a:lnTo>
                    <a:pt x="19732" y="3821"/>
                  </a:lnTo>
                  <a:lnTo>
                    <a:pt x="26429" y="1802"/>
                  </a:lnTo>
                  <a:lnTo>
                    <a:pt x="32838" y="0"/>
                  </a:lnTo>
                </a:path>
              </a:pathLst>
            </a:custGeom>
            <a:solidFill>
              <a:srgbClr val="002E56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673639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Graphic 33">
            <a:extLst>
              <a:ext uri="{FF2B5EF4-FFF2-40B4-BE49-F238E27FC236}">
                <a16:creationId xmlns:a16="http://schemas.microsoft.com/office/drawing/2014/main" xmlns="" id="{34CD2AA6-2706-7EC2-F57F-131D1C3858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4191" b="36629"/>
          <a:stretch>
            <a:fillRect/>
          </a:stretch>
        </p:blipFill>
        <p:spPr>
          <a:xfrm rot="295338">
            <a:off x="9170701" y="3414667"/>
            <a:ext cx="3157612" cy="3585415"/>
          </a:xfrm>
          <a:custGeom>
            <a:avLst/>
            <a:gdLst>
              <a:gd name="connsiteX0" fmla="*/ 0 w 3157612"/>
              <a:gd name="connsiteY0" fmla="*/ 0 h 3585415"/>
              <a:gd name="connsiteX1" fmla="*/ 2872248 w 3157612"/>
              <a:gd name="connsiteY1" fmla="*/ 0 h 3585415"/>
              <a:gd name="connsiteX2" fmla="*/ 3157612 w 3157612"/>
              <a:gd name="connsiteY2" fmla="*/ 3313474 h 3585415"/>
              <a:gd name="connsiteX3" fmla="*/ 0 w 3157612"/>
              <a:gd name="connsiteY3" fmla="*/ 3585415 h 3585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7612" h="3585415">
                <a:moveTo>
                  <a:pt x="0" y="0"/>
                </a:moveTo>
                <a:lnTo>
                  <a:pt x="2872248" y="0"/>
                </a:lnTo>
                <a:lnTo>
                  <a:pt x="3157612" y="3313474"/>
                </a:lnTo>
                <a:lnTo>
                  <a:pt x="0" y="358541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4E68EE33-9B9E-1E4F-8E73-9450211530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388" y="538397"/>
            <a:ext cx="8229600" cy="873931"/>
          </a:xfrm>
        </p:spPr>
        <p:txBody>
          <a:bodyPr lIns="91440" tIns="45720" rIns="91440" bIns="4572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Agenda (Arial 32pt)</a:t>
            </a:r>
            <a:endParaRPr lang="x-none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xmlns="" id="{B4FD7D8E-80F1-7FBF-FCFA-2BBA4618D6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91388" y="1552950"/>
            <a:ext cx="8229600" cy="231854"/>
          </a:xfr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Bold 16pt)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xmlns="" id="{4991D21C-9BF8-166C-F2E5-2325A2FDEF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90650" y="1874318"/>
            <a:ext cx="8229600" cy="481427"/>
          </a:xfr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Click to edit Master text styles (Arial 14pt)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xmlns="" id="{6F6DE264-2A3B-8B9E-1D2E-4DF930D0254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390650" y="2728221"/>
            <a:ext cx="3108325" cy="2577204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xmlns="" id="{4680C19E-F6DE-6E83-DBAE-59442B11E90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076242" y="2728221"/>
            <a:ext cx="3108325" cy="2577204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xmlns="" id="{2FC15814-3A61-716E-3272-DC7C0CD2796D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3C1A15FB-6FF2-CA63-437E-AEEFA1DF0DA9}"/>
              </a:ext>
            </a:extLst>
          </p:cNvPr>
          <p:cNvGrpSpPr/>
          <p:nvPr userDrawn="1"/>
        </p:nvGrpSpPr>
        <p:grpSpPr>
          <a:xfrm>
            <a:off x="10184220" y="5738223"/>
            <a:ext cx="1599131" cy="233575"/>
            <a:chOff x="10184220" y="5738223"/>
            <a:chExt cx="1599131" cy="233575"/>
          </a:xfrm>
        </p:grpSpPr>
        <p:grpSp>
          <p:nvGrpSpPr>
            <p:cNvPr id="4" name="Picture 13">
              <a:extLst>
                <a:ext uri="{FF2B5EF4-FFF2-40B4-BE49-F238E27FC236}">
                  <a16:creationId xmlns:a16="http://schemas.microsoft.com/office/drawing/2014/main" xmlns="" id="{4477D121-013F-6C28-3295-EDAF0A5CC6F5}"/>
                </a:ext>
              </a:extLst>
            </p:cNvPr>
            <p:cNvGrpSpPr/>
            <p:nvPr/>
          </p:nvGrpSpPr>
          <p:grpSpPr>
            <a:xfrm>
              <a:off x="10184220" y="5738223"/>
              <a:ext cx="1599131" cy="230409"/>
              <a:chOff x="10184220" y="5738223"/>
              <a:chExt cx="1599131" cy="230409"/>
            </a:xfrm>
            <a:solidFill>
              <a:schemeClr val="bg1"/>
            </a:solidFill>
          </p:grpSpPr>
          <p:sp>
            <p:nvSpPr>
              <p:cNvPr id="5" name="Freeform 4">
                <a:extLst>
                  <a:ext uri="{FF2B5EF4-FFF2-40B4-BE49-F238E27FC236}">
                    <a16:creationId xmlns:a16="http://schemas.microsoft.com/office/drawing/2014/main" xmlns="" id="{6ACD00D0-F595-C755-F44B-E6BE71A329F9}"/>
                  </a:ext>
                </a:extLst>
              </p:cNvPr>
              <p:cNvSpPr/>
              <p:nvPr/>
            </p:nvSpPr>
            <p:spPr>
              <a:xfrm>
                <a:off x="10998572" y="5738223"/>
                <a:ext cx="197736" cy="225712"/>
              </a:xfrm>
              <a:custGeom>
                <a:avLst/>
                <a:gdLst>
                  <a:gd name="connsiteX0" fmla="*/ 98842 w 197736"/>
                  <a:gd name="connsiteY0" fmla="*/ 0 h 225712"/>
                  <a:gd name="connsiteX1" fmla="*/ 0 w 197736"/>
                  <a:gd name="connsiteY1" fmla="*/ 225713 h 225712"/>
                  <a:gd name="connsiteX2" fmla="*/ 21192 w 197736"/>
                  <a:gd name="connsiteY2" fmla="*/ 225713 h 225712"/>
                  <a:gd name="connsiteX3" fmla="*/ 55826 w 197736"/>
                  <a:gd name="connsiteY3" fmla="*/ 146605 h 225712"/>
                  <a:gd name="connsiteX4" fmla="*/ 141963 w 197736"/>
                  <a:gd name="connsiteY4" fmla="*/ 146605 h 225712"/>
                  <a:gd name="connsiteX5" fmla="*/ 176809 w 197736"/>
                  <a:gd name="connsiteY5" fmla="*/ 225713 h 225712"/>
                  <a:gd name="connsiteX6" fmla="*/ 197737 w 197736"/>
                  <a:gd name="connsiteY6" fmla="*/ 225713 h 225712"/>
                  <a:gd name="connsiteX7" fmla="*/ 98842 w 197736"/>
                  <a:gd name="connsiteY7" fmla="*/ 0 h 225712"/>
                  <a:gd name="connsiteX8" fmla="*/ 64155 w 197736"/>
                  <a:gd name="connsiteY8" fmla="*/ 127448 h 225712"/>
                  <a:gd name="connsiteX9" fmla="*/ 98684 w 197736"/>
                  <a:gd name="connsiteY9" fmla="*/ 48446 h 225712"/>
                  <a:gd name="connsiteX10" fmla="*/ 133476 w 197736"/>
                  <a:gd name="connsiteY10" fmla="*/ 127448 h 225712"/>
                  <a:gd name="connsiteX11" fmla="*/ 64102 w 197736"/>
                  <a:gd name="connsiteY11" fmla="*/ 127448 h 225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7736" h="225712">
                    <a:moveTo>
                      <a:pt x="98842" y="0"/>
                    </a:moveTo>
                    <a:lnTo>
                      <a:pt x="0" y="225713"/>
                    </a:lnTo>
                    <a:lnTo>
                      <a:pt x="21192" y="225713"/>
                    </a:lnTo>
                    <a:lnTo>
                      <a:pt x="55826" y="146605"/>
                    </a:lnTo>
                    <a:lnTo>
                      <a:pt x="141963" y="146605"/>
                    </a:lnTo>
                    <a:lnTo>
                      <a:pt x="176809" y="225713"/>
                    </a:lnTo>
                    <a:lnTo>
                      <a:pt x="197737" y="225713"/>
                    </a:lnTo>
                    <a:lnTo>
                      <a:pt x="98842" y="0"/>
                    </a:lnTo>
                    <a:close/>
                    <a:moveTo>
                      <a:pt x="64155" y="127448"/>
                    </a:moveTo>
                    <a:lnTo>
                      <a:pt x="98684" y="48446"/>
                    </a:lnTo>
                    <a:lnTo>
                      <a:pt x="133476" y="127448"/>
                    </a:lnTo>
                    <a:lnTo>
                      <a:pt x="64102" y="127448"/>
                    </a:lnTo>
                    <a:close/>
                  </a:path>
                </a:pathLst>
              </a:custGeom>
              <a:solidFill>
                <a:schemeClr val="bg1"/>
              </a:solidFill>
              <a:ln w="52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xmlns="" id="{4C95CE01-DAD5-5D89-BBCC-7D4F7E124164}"/>
                  </a:ext>
                </a:extLst>
              </p:cNvPr>
              <p:cNvSpPr/>
              <p:nvPr/>
            </p:nvSpPr>
            <p:spPr>
              <a:xfrm>
                <a:off x="11456882" y="5742919"/>
                <a:ext cx="19135" cy="220963"/>
              </a:xfrm>
              <a:custGeom>
                <a:avLst/>
                <a:gdLst>
                  <a:gd name="connsiteX0" fmla="*/ 0 w 19135"/>
                  <a:gd name="connsiteY0" fmla="*/ 0 h 220963"/>
                  <a:gd name="connsiteX1" fmla="*/ 19136 w 19135"/>
                  <a:gd name="connsiteY1" fmla="*/ 0 h 220963"/>
                  <a:gd name="connsiteX2" fmla="*/ 19136 w 19135"/>
                  <a:gd name="connsiteY2" fmla="*/ 220963 h 220963"/>
                  <a:gd name="connsiteX3" fmla="*/ 0 w 19135"/>
                  <a:gd name="connsiteY3" fmla="*/ 220963 h 220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135" h="220963">
                    <a:moveTo>
                      <a:pt x="0" y="0"/>
                    </a:moveTo>
                    <a:lnTo>
                      <a:pt x="19136" y="0"/>
                    </a:lnTo>
                    <a:lnTo>
                      <a:pt x="19136" y="220963"/>
                    </a:lnTo>
                    <a:lnTo>
                      <a:pt x="0" y="220963"/>
                    </a:lnTo>
                    <a:close/>
                  </a:path>
                </a:pathLst>
              </a:custGeom>
              <a:solidFill>
                <a:schemeClr val="bg1"/>
              </a:solidFill>
              <a:ln w="52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xmlns="" id="{BE825E31-4286-5E0F-C0E0-8071C3119915}"/>
                  </a:ext>
                </a:extLst>
              </p:cNvPr>
              <p:cNvSpPr/>
              <p:nvPr/>
            </p:nvSpPr>
            <p:spPr>
              <a:xfrm>
                <a:off x="10755869" y="5738592"/>
                <a:ext cx="202639" cy="225290"/>
              </a:xfrm>
              <a:custGeom>
                <a:avLst/>
                <a:gdLst>
                  <a:gd name="connsiteX0" fmla="*/ 100845 w 202639"/>
                  <a:gd name="connsiteY0" fmla="*/ 101853 h 225290"/>
                  <a:gd name="connsiteX1" fmla="*/ 0 w 202639"/>
                  <a:gd name="connsiteY1" fmla="*/ 106 h 225290"/>
                  <a:gd name="connsiteX2" fmla="*/ 105 w 202639"/>
                  <a:gd name="connsiteY2" fmla="*/ 225291 h 225290"/>
                  <a:gd name="connsiteX3" fmla="*/ 19241 w 202639"/>
                  <a:gd name="connsiteY3" fmla="*/ 225291 h 225290"/>
                  <a:gd name="connsiteX4" fmla="*/ 19241 w 202639"/>
                  <a:gd name="connsiteY4" fmla="*/ 46810 h 225290"/>
                  <a:gd name="connsiteX5" fmla="*/ 100634 w 202639"/>
                  <a:gd name="connsiteY5" fmla="*/ 129243 h 225290"/>
                  <a:gd name="connsiteX6" fmla="*/ 183503 w 202639"/>
                  <a:gd name="connsiteY6" fmla="*/ 46388 h 225290"/>
                  <a:gd name="connsiteX7" fmla="*/ 183503 w 202639"/>
                  <a:gd name="connsiteY7" fmla="*/ 225291 h 225290"/>
                  <a:gd name="connsiteX8" fmla="*/ 202639 w 202639"/>
                  <a:gd name="connsiteY8" fmla="*/ 225291 h 225290"/>
                  <a:gd name="connsiteX9" fmla="*/ 202639 w 202639"/>
                  <a:gd name="connsiteY9" fmla="*/ 0 h 225290"/>
                  <a:gd name="connsiteX10" fmla="*/ 100845 w 202639"/>
                  <a:gd name="connsiteY10" fmla="*/ 101853 h 22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2639" h="225290">
                    <a:moveTo>
                      <a:pt x="100845" y="101853"/>
                    </a:moveTo>
                    <a:lnTo>
                      <a:pt x="0" y="106"/>
                    </a:lnTo>
                    <a:lnTo>
                      <a:pt x="105" y="225291"/>
                    </a:lnTo>
                    <a:lnTo>
                      <a:pt x="19241" y="225291"/>
                    </a:lnTo>
                    <a:lnTo>
                      <a:pt x="19241" y="46810"/>
                    </a:lnTo>
                    <a:lnTo>
                      <a:pt x="100634" y="129243"/>
                    </a:lnTo>
                    <a:lnTo>
                      <a:pt x="183503" y="46388"/>
                    </a:lnTo>
                    <a:lnTo>
                      <a:pt x="183503" y="225291"/>
                    </a:lnTo>
                    <a:lnTo>
                      <a:pt x="202639" y="225291"/>
                    </a:lnTo>
                    <a:lnTo>
                      <a:pt x="202639" y="0"/>
                    </a:lnTo>
                    <a:lnTo>
                      <a:pt x="100845" y="101853"/>
                    </a:lnTo>
                    <a:close/>
                  </a:path>
                </a:pathLst>
              </a:custGeom>
              <a:solidFill>
                <a:schemeClr val="bg1"/>
              </a:solidFill>
              <a:ln w="52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xmlns="" id="{33ED72F1-6D0B-BB75-B6DE-11E5680B9940}"/>
                  </a:ext>
                </a:extLst>
              </p:cNvPr>
              <p:cNvSpPr/>
              <p:nvPr/>
            </p:nvSpPr>
            <p:spPr>
              <a:xfrm>
                <a:off x="11554354" y="5739172"/>
                <a:ext cx="167056" cy="229459"/>
              </a:xfrm>
              <a:custGeom>
                <a:avLst/>
                <a:gdLst>
                  <a:gd name="connsiteX0" fmla="*/ 147868 w 167056"/>
                  <a:gd name="connsiteY0" fmla="*/ 3747 h 229459"/>
                  <a:gd name="connsiteX1" fmla="*/ 147868 w 167056"/>
                  <a:gd name="connsiteY1" fmla="*/ 175842 h 229459"/>
                  <a:gd name="connsiteX2" fmla="*/ 0 w 167056"/>
                  <a:gd name="connsiteY2" fmla="*/ 0 h 229459"/>
                  <a:gd name="connsiteX3" fmla="*/ 0 w 167056"/>
                  <a:gd name="connsiteY3" fmla="*/ 30609 h 229459"/>
                  <a:gd name="connsiteX4" fmla="*/ 0 w 167056"/>
                  <a:gd name="connsiteY4" fmla="*/ 224710 h 229459"/>
                  <a:gd name="connsiteX5" fmla="*/ 19136 w 167056"/>
                  <a:gd name="connsiteY5" fmla="*/ 224710 h 229459"/>
                  <a:gd name="connsiteX6" fmla="*/ 19136 w 167056"/>
                  <a:gd name="connsiteY6" fmla="*/ 53407 h 229459"/>
                  <a:gd name="connsiteX7" fmla="*/ 167056 w 167056"/>
                  <a:gd name="connsiteY7" fmla="*/ 229460 h 229459"/>
                  <a:gd name="connsiteX8" fmla="*/ 167056 w 167056"/>
                  <a:gd name="connsiteY8" fmla="*/ 3747 h 229459"/>
                  <a:gd name="connsiteX9" fmla="*/ 147868 w 167056"/>
                  <a:gd name="connsiteY9" fmla="*/ 3747 h 229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7056" h="229459">
                    <a:moveTo>
                      <a:pt x="147868" y="3747"/>
                    </a:moveTo>
                    <a:lnTo>
                      <a:pt x="147868" y="175842"/>
                    </a:lnTo>
                    <a:lnTo>
                      <a:pt x="0" y="0"/>
                    </a:lnTo>
                    <a:lnTo>
                      <a:pt x="0" y="30609"/>
                    </a:lnTo>
                    <a:lnTo>
                      <a:pt x="0" y="224710"/>
                    </a:lnTo>
                    <a:lnTo>
                      <a:pt x="19136" y="224710"/>
                    </a:lnTo>
                    <a:lnTo>
                      <a:pt x="19136" y="53407"/>
                    </a:lnTo>
                    <a:lnTo>
                      <a:pt x="167056" y="229460"/>
                    </a:lnTo>
                    <a:lnTo>
                      <a:pt x="167056" y="3747"/>
                    </a:lnTo>
                    <a:lnTo>
                      <a:pt x="147868" y="3747"/>
                    </a:lnTo>
                    <a:close/>
                  </a:path>
                </a:pathLst>
              </a:custGeom>
              <a:solidFill>
                <a:schemeClr val="bg1"/>
              </a:solidFill>
              <a:ln w="52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xmlns="" id="{BADD0BF0-5850-39BB-05C4-D6A3B0960508}"/>
                  </a:ext>
                </a:extLst>
              </p:cNvPr>
              <p:cNvSpPr/>
              <p:nvPr/>
            </p:nvSpPr>
            <p:spPr>
              <a:xfrm>
                <a:off x="11238059" y="5743078"/>
                <a:ext cx="160308" cy="220910"/>
              </a:xfrm>
              <a:custGeom>
                <a:avLst/>
                <a:gdLst>
                  <a:gd name="connsiteX0" fmla="*/ 138695 w 160308"/>
                  <a:gd name="connsiteY0" fmla="*/ 220910 h 220910"/>
                  <a:gd name="connsiteX1" fmla="*/ 160308 w 160308"/>
                  <a:gd name="connsiteY1" fmla="*/ 220910 h 220910"/>
                  <a:gd name="connsiteX2" fmla="*/ 107382 w 160308"/>
                  <a:gd name="connsiteY2" fmla="*/ 117474 h 220910"/>
                  <a:gd name="connsiteX3" fmla="*/ 151030 w 160308"/>
                  <a:gd name="connsiteY3" fmla="*/ 65492 h 220910"/>
                  <a:gd name="connsiteX4" fmla="*/ 151083 w 160308"/>
                  <a:gd name="connsiteY4" fmla="*/ 65492 h 220910"/>
                  <a:gd name="connsiteX5" fmla="*/ 151083 w 160308"/>
                  <a:gd name="connsiteY5" fmla="*/ 64278 h 220910"/>
                  <a:gd name="connsiteX6" fmla="*/ 151294 w 160308"/>
                  <a:gd name="connsiteY6" fmla="*/ 60742 h 220910"/>
                  <a:gd name="connsiteX7" fmla="*/ 151083 w 160308"/>
                  <a:gd name="connsiteY7" fmla="*/ 60742 h 220910"/>
                  <a:gd name="connsiteX8" fmla="*/ 151083 w 160308"/>
                  <a:gd name="connsiteY8" fmla="*/ 58684 h 220910"/>
                  <a:gd name="connsiteX9" fmla="*/ 151294 w 160308"/>
                  <a:gd name="connsiteY9" fmla="*/ 58684 h 220910"/>
                  <a:gd name="connsiteX10" fmla="*/ 151083 w 160308"/>
                  <a:gd name="connsiteY10" fmla="*/ 55096 h 220910"/>
                  <a:gd name="connsiteX11" fmla="*/ 151083 w 160308"/>
                  <a:gd name="connsiteY11" fmla="*/ 55096 h 220910"/>
                  <a:gd name="connsiteX12" fmla="*/ 92674 w 160308"/>
                  <a:gd name="connsiteY12" fmla="*/ 0 h 220910"/>
                  <a:gd name="connsiteX13" fmla="*/ 0 w 160308"/>
                  <a:gd name="connsiteY13" fmla="*/ 0 h 220910"/>
                  <a:gd name="connsiteX14" fmla="*/ 0 w 160308"/>
                  <a:gd name="connsiteY14" fmla="*/ 220858 h 220910"/>
                  <a:gd name="connsiteX15" fmla="*/ 19136 w 160308"/>
                  <a:gd name="connsiteY15" fmla="*/ 220858 h 220910"/>
                  <a:gd name="connsiteX16" fmla="*/ 19136 w 160308"/>
                  <a:gd name="connsiteY16" fmla="*/ 119321 h 220910"/>
                  <a:gd name="connsiteX17" fmla="*/ 86665 w 160308"/>
                  <a:gd name="connsiteY17" fmla="*/ 119321 h 220910"/>
                  <a:gd name="connsiteX18" fmla="*/ 138695 w 160308"/>
                  <a:gd name="connsiteY18" fmla="*/ 220910 h 220910"/>
                  <a:gd name="connsiteX19" fmla="*/ 19136 w 160308"/>
                  <a:gd name="connsiteY19" fmla="*/ 19210 h 220910"/>
                  <a:gd name="connsiteX20" fmla="*/ 92674 w 160308"/>
                  <a:gd name="connsiteY20" fmla="*/ 19210 h 220910"/>
                  <a:gd name="connsiteX21" fmla="*/ 131947 w 160308"/>
                  <a:gd name="connsiteY21" fmla="*/ 57840 h 220910"/>
                  <a:gd name="connsiteX22" fmla="*/ 131947 w 160308"/>
                  <a:gd name="connsiteY22" fmla="*/ 61481 h 220910"/>
                  <a:gd name="connsiteX23" fmla="*/ 92674 w 160308"/>
                  <a:gd name="connsiteY23" fmla="*/ 100059 h 220910"/>
                  <a:gd name="connsiteX24" fmla="*/ 92674 w 160308"/>
                  <a:gd name="connsiteY24" fmla="*/ 100059 h 220910"/>
                  <a:gd name="connsiteX25" fmla="*/ 19136 w 160308"/>
                  <a:gd name="connsiteY25" fmla="*/ 100112 h 220910"/>
                  <a:gd name="connsiteX26" fmla="*/ 19136 w 160308"/>
                  <a:gd name="connsiteY26" fmla="*/ 19210 h 220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0308" h="220910">
                    <a:moveTo>
                      <a:pt x="138695" y="220910"/>
                    </a:moveTo>
                    <a:lnTo>
                      <a:pt x="160308" y="220910"/>
                    </a:lnTo>
                    <a:cubicBezTo>
                      <a:pt x="160308" y="220910"/>
                      <a:pt x="107382" y="117474"/>
                      <a:pt x="107382" y="117474"/>
                    </a:cubicBezTo>
                    <a:cubicBezTo>
                      <a:pt x="131104" y="111300"/>
                      <a:pt x="149027" y="90665"/>
                      <a:pt x="151030" y="65492"/>
                    </a:cubicBezTo>
                    <a:lnTo>
                      <a:pt x="151083" y="65492"/>
                    </a:lnTo>
                    <a:lnTo>
                      <a:pt x="151083" y="64278"/>
                    </a:lnTo>
                    <a:cubicBezTo>
                      <a:pt x="151136" y="63117"/>
                      <a:pt x="151294" y="61903"/>
                      <a:pt x="151294" y="60742"/>
                    </a:cubicBezTo>
                    <a:lnTo>
                      <a:pt x="151083" y="60742"/>
                    </a:lnTo>
                    <a:lnTo>
                      <a:pt x="151083" y="58684"/>
                    </a:lnTo>
                    <a:lnTo>
                      <a:pt x="151294" y="58684"/>
                    </a:lnTo>
                    <a:cubicBezTo>
                      <a:pt x="151294" y="57470"/>
                      <a:pt x="151189" y="56309"/>
                      <a:pt x="151083" y="55096"/>
                    </a:cubicBezTo>
                    <a:lnTo>
                      <a:pt x="151083" y="55096"/>
                    </a:lnTo>
                    <a:cubicBezTo>
                      <a:pt x="149185" y="24329"/>
                      <a:pt x="123829" y="0"/>
                      <a:pt x="92674" y="0"/>
                    </a:cubicBezTo>
                    <a:lnTo>
                      <a:pt x="0" y="0"/>
                    </a:lnTo>
                    <a:lnTo>
                      <a:pt x="0" y="220858"/>
                    </a:lnTo>
                    <a:lnTo>
                      <a:pt x="19136" y="220858"/>
                    </a:lnTo>
                    <a:lnTo>
                      <a:pt x="19136" y="119321"/>
                    </a:lnTo>
                    <a:lnTo>
                      <a:pt x="86665" y="119321"/>
                    </a:lnTo>
                    <a:lnTo>
                      <a:pt x="138695" y="220910"/>
                    </a:lnTo>
                    <a:close/>
                    <a:moveTo>
                      <a:pt x="19136" y="19210"/>
                    </a:moveTo>
                    <a:lnTo>
                      <a:pt x="92674" y="19210"/>
                    </a:lnTo>
                    <a:cubicBezTo>
                      <a:pt x="114129" y="19210"/>
                      <a:pt x="131526" y="36467"/>
                      <a:pt x="131947" y="57840"/>
                    </a:cubicBezTo>
                    <a:lnTo>
                      <a:pt x="131947" y="61481"/>
                    </a:lnTo>
                    <a:cubicBezTo>
                      <a:pt x="131526" y="82855"/>
                      <a:pt x="114129" y="100059"/>
                      <a:pt x="92674" y="100059"/>
                    </a:cubicBezTo>
                    <a:lnTo>
                      <a:pt x="92674" y="100059"/>
                    </a:lnTo>
                    <a:cubicBezTo>
                      <a:pt x="92674" y="100059"/>
                      <a:pt x="19136" y="100112"/>
                      <a:pt x="19136" y="100112"/>
                    </a:cubicBezTo>
                    <a:lnTo>
                      <a:pt x="19136" y="19210"/>
                    </a:lnTo>
                    <a:close/>
                  </a:path>
                </a:pathLst>
              </a:custGeom>
              <a:solidFill>
                <a:schemeClr val="bg1"/>
              </a:solidFill>
              <a:ln w="52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xmlns="" id="{CDBFE520-EA3C-DE6A-EBAA-F1DC369D3A27}"/>
                  </a:ext>
                </a:extLst>
              </p:cNvPr>
              <p:cNvSpPr/>
              <p:nvPr/>
            </p:nvSpPr>
            <p:spPr>
              <a:xfrm>
                <a:off x="10184220" y="5742972"/>
                <a:ext cx="155880" cy="220963"/>
              </a:xfrm>
              <a:custGeom>
                <a:avLst/>
                <a:gdLst>
                  <a:gd name="connsiteX0" fmla="*/ 155670 w 155880"/>
                  <a:gd name="connsiteY0" fmla="*/ 155788 h 220963"/>
                  <a:gd name="connsiteX1" fmla="*/ 147446 w 155880"/>
                  <a:gd name="connsiteY1" fmla="*/ 126973 h 220963"/>
                  <a:gd name="connsiteX2" fmla="*/ 127572 w 155880"/>
                  <a:gd name="connsiteY2" fmla="*/ 107869 h 220963"/>
                  <a:gd name="connsiteX3" fmla="*/ 150978 w 155880"/>
                  <a:gd name="connsiteY3" fmla="*/ 65545 h 220963"/>
                  <a:gd name="connsiteX4" fmla="*/ 151031 w 155880"/>
                  <a:gd name="connsiteY4" fmla="*/ 65545 h 220963"/>
                  <a:gd name="connsiteX5" fmla="*/ 151031 w 155880"/>
                  <a:gd name="connsiteY5" fmla="*/ 64331 h 220963"/>
                  <a:gd name="connsiteX6" fmla="*/ 151189 w 155880"/>
                  <a:gd name="connsiteY6" fmla="*/ 60795 h 220963"/>
                  <a:gd name="connsiteX7" fmla="*/ 151031 w 155880"/>
                  <a:gd name="connsiteY7" fmla="*/ 60795 h 220963"/>
                  <a:gd name="connsiteX8" fmla="*/ 151031 w 155880"/>
                  <a:gd name="connsiteY8" fmla="*/ 58737 h 220963"/>
                  <a:gd name="connsiteX9" fmla="*/ 151189 w 155880"/>
                  <a:gd name="connsiteY9" fmla="*/ 58737 h 220963"/>
                  <a:gd name="connsiteX10" fmla="*/ 151031 w 155880"/>
                  <a:gd name="connsiteY10" fmla="*/ 55148 h 220963"/>
                  <a:gd name="connsiteX11" fmla="*/ 151031 w 155880"/>
                  <a:gd name="connsiteY11" fmla="*/ 55148 h 220963"/>
                  <a:gd name="connsiteX12" fmla="*/ 151031 w 155880"/>
                  <a:gd name="connsiteY12" fmla="*/ 55096 h 220963"/>
                  <a:gd name="connsiteX13" fmla="*/ 92569 w 155880"/>
                  <a:gd name="connsiteY13" fmla="*/ 53 h 220963"/>
                  <a:gd name="connsiteX14" fmla="*/ 92569 w 155880"/>
                  <a:gd name="connsiteY14" fmla="*/ 158 h 220963"/>
                  <a:gd name="connsiteX15" fmla="*/ 0 w 155880"/>
                  <a:gd name="connsiteY15" fmla="*/ 0 h 220963"/>
                  <a:gd name="connsiteX16" fmla="*/ 0 w 155880"/>
                  <a:gd name="connsiteY16" fmla="*/ 220963 h 220963"/>
                  <a:gd name="connsiteX17" fmla="*/ 96206 w 155880"/>
                  <a:gd name="connsiteY17" fmla="*/ 220963 h 220963"/>
                  <a:gd name="connsiteX18" fmla="*/ 155775 w 155880"/>
                  <a:gd name="connsiteY18" fmla="*/ 162173 h 220963"/>
                  <a:gd name="connsiteX19" fmla="*/ 155880 w 155880"/>
                  <a:gd name="connsiteY19" fmla="*/ 162173 h 220963"/>
                  <a:gd name="connsiteX20" fmla="*/ 155880 w 155880"/>
                  <a:gd name="connsiteY20" fmla="*/ 155788 h 220963"/>
                  <a:gd name="connsiteX21" fmla="*/ 155775 w 155880"/>
                  <a:gd name="connsiteY21" fmla="*/ 155788 h 220963"/>
                  <a:gd name="connsiteX22" fmla="*/ 92622 w 155880"/>
                  <a:gd name="connsiteY22" fmla="*/ 19315 h 220963"/>
                  <a:gd name="connsiteX23" fmla="*/ 92622 w 155880"/>
                  <a:gd name="connsiteY23" fmla="*/ 19315 h 220963"/>
                  <a:gd name="connsiteX24" fmla="*/ 131947 w 155880"/>
                  <a:gd name="connsiteY24" fmla="*/ 58051 h 220963"/>
                  <a:gd name="connsiteX25" fmla="*/ 131947 w 155880"/>
                  <a:gd name="connsiteY25" fmla="*/ 61481 h 220963"/>
                  <a:gd name="connsiteX26" fmla="*/ 92622 w 155880"/>
                  <a:gd name="connsiteY26" fmla="*/ 100323 h 220963"/>
                  <a:gd name="connsiteX27" fmla="*/ 19136 w 155880"/>
                  <a:gd name="connsiteY27" fmla="*/ 100323 h 220963"/>
                  <a:gd name="connsiteX28" fmla="*/ 19136 w 155880"/>
                  <a:gd name="connsiteY28" fmla="*/ 19315 h 220963"/>
                  <a:gd name="connsiteX29" fmla="*/ 92622 w 155880"/>
                  <a:gd name="connsiteY29" fmla="*/ 19315 h 220963"/>
                  <a:gd name="connsiteX30" fmla="*/ 136639 w 155880"/>
                  <a:gd name="connsiteY30" fmla="*/ 161171 h 220963"/>
                  <a:gd name="connsiteX31" fmla="*/ 136481 w 155880"/>
                  <a:gd name="connsiteY31" fmla="*/ 161171 h 220963"/>
                  <a:gd name="connsiteX32" fmla="*/ 95837 w 155880"/>
                  <a:gd name="connsiteY32" fmla="*/ 201859 h 220963"/>
                  <a:gd name="connsiteX33" fmla="*/ 95837 w 155880"/>
                  <a:gd name="connsiteY33" fmla="*/ 201859 h 220963"/>
                  <a:gd name="connsiteX34" fmla="*/ 19136 w 155880"/>
                  <a:gd name="connsiteY34" fmla="*/ 201859 h 220963"/>
                  <a:gd name="connsiteX35" fmla="*/ 19136 w 155880"/>
                  <a:gd name="connsiteY35" fmla="*/ 119585 h 220963"/>
                  <a:gd name="connsiteX36" fmla="*/ 98526 w 155880"/>
                  <a:gd name="connsiteY36" fmla="*/ 119902 h 220963"/>
                  <a:gd name="connsiteX37" fmla="*/ 98526 w 155880"/>
                  <a:gd name="connsiteY37" fmla="*/ 119902 h 220963"/>
                  <a:gd name="connsiteX38" fmla="*/ 131368 w 155880"/>
                  <a:gd name="connsiteY38" fmla="*/ 137581 h 220963"/>
                  <a:gd name="connsiteX39" fmla="*/ 136534 w 155880"/>
                  <a:gd name="connsiteY39" fmla="*/ 157265 h 220963"/>
                  <a:gd name="connsiteX40" fmla="*/ 136692 w 155880"/>
                  <a:gd name="connsiteY40" fmla="*/ 157265 h 220963"/>
                  <a:gd name="connsiteX41" fmla="*/ 136692 w 155880"/>
                  <a:gd name="connsiteY41" fmla="*/ 161171 h 220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55880" h="220963">
                    <a:moveTo>
                      <a:pt x="155670" y="155788"/>
                    </a:moveTo>
                    <a:cubicBezTo>
                      <a:pt x="155406" y="145075"/>
                      <a:pt x="152717" y="135523"/>
                      <a:pt x="147446" y="126973"/>
                    </a:cubicBezTo>
                    <a:cubicBezTo>
                      <a:pt x="142385" y="118899"/>
                      <a:pt x="135585" y="112408"/>
                      <a:pt x="127572" y="107869"/>
                    </a:cubicBezTo>
                    <a:cubicBezTo>
                      <a:pt x="140698" y="98053"/>
                      <a:pt x="149607" y="82855"/>
                      <a:pt x="150978" y="65545"/>
                    </a:cubicBezTo>
                    <a:lnTo>
                      <a:pt x="151031" y="65545"/>
                    </a:lnTo>
                    <a:lnTo>
                      <a:pt x="151031" y="64331"/>
                    </a:lnTo>
                    <a:cubicBezTo>
                      <a:pt x="151083" y="63170"/>
                      <a:pt x="151189" y="61956"/>
                      <a:pt x="151189" y="60795"/>
                    </a:cubicBezTo>
                    <a:lnTo>
                      <a:pt x="151031" y="60795"/>
                    </a:lnTo>
                    <a:lnTo>
                      <a:pt x="151031" y="58737"/>
                    </a:lnTo>
                    <a:lnTo>
                      <a:pt x="151189" y="58737"/>
                    </a:lnTo>
                    <a:cubicBezTo>
                      <a:pt x="151189" y="57523"/>
                      <a:pt x="151083" y="56362"/>
                      <a:pt x="151031" y="55148"/>
                    </a:cubicBezTo>
                    <a:lnTo>
                      <a:pt x="151031" y="55148"/>
                    </a:lnTo>
                    <a:cubicBezTo>
                      <a:pt x="151031" y="55148"/>
                      <a:pt x="151031" y="55096"/>
                      <a:pt x="151031" y="55096"/>
                    </a:cubicBezTo>
                    <a:cubicBezTo>
                      <a:pt x="149133" y="24381"/>
                      <a:pt x="123724" y="53"/>
                      <a:pt x="92569" y="53"/>
                    </a:cubicBezTo>
                    <a:lnTo>
                      <a:pt x="92569" y="158"/>
                    </a:lnTo>
                    <a:lnTo>
                      <a:pt x="0" y="0"/>
                    </a:lnTo>
                    <a:lnTo>
                      <a:pt x="0" y="220963"/>
                    </a:lnTo>
                    <a:lnTo>
                      <a:pt x="96206" y="220963"/>
                    </a:lnTo>
                    <a:cubicBezTo>
                      <a:pt x="128732" y="220752"/>
                      <a:pt x="155090" y="194629"/>
                      <a:pt x="155775" y="162173"/>
                    </a:cubicBezTo>
                    <a:lnTo>
                      <a:pt x="155880" y="162173"/>
                    </a:lnTo>
                    <a:lnTo>
                      <a:pt x="155880" y="155788"/>
                    </a:lnTo>
                    <a:lnTo>
                      <a:pt x="155775" y="155788"/>
                    </a:lnTo>
                    <a:close/>
                    <a:moveTo>
                      <a:pt x="92622" y="19315"/>
                    </a:moveTo>
                    <a:lnTo>
                      <a:pt x="92622" y="19315"/>
                    </a:lnTo>
                    <a:cubicBezTo>
                      <a:pt x="114130" y="19315"/>
                      <a:pt x="131578" y="36625"/>
                      <a:pt x="131947" y="58051"/>
                    </a:cubicBezTo>
                    <a:lnTo>
                      <a:pt x="131947" y="61481"/>
                    </a:lnTo>
                    <a:cubicBezTo>
                      <a:pt x="131578" y="82907"/>
                      <a:pt x="114130" y="100323"/>
                      <a:pt x="92622" y="100323"/>
                    </a:cubicBezTo>
                    <a:lnTo>
                      <a:pt x="19136" y="100323"/>
                    </a:lnTo>
                    <a:lnTo>
                      <a:pt x="19136" y="19315"/>
                    </a:lnTo>
                    <a:lnTo>
                      <a:pt x="92622" y="19315"/>
                    </a:lnTo>
                    <a:close/>
                    <a:moveTo>
                      <a:pt x="136639" y="161171"/>
                    </a:moveTo>
                    <a:lnTo>
                      <a:pt x="136481" y="161171"/>
                    </a:lnTo>
                    <a:cubicBezTo>
                      <a:pt x="136481" y="183652"/>
                      <a:pt x="118294" y="201859"/>
                      <a:pt x="95837" y="201859"/>
                    </a:cubicBezTo>
                    <a:lnTo>
                      <a:pt x="95837" y="201859"/>
                    </a:lnTo>
                    <a:cubicBezTo>
                      <a:pt x="95837" y="201859"/>
                      <a:pt x="19136" y="201859"/>
                      <a:pt x="19136" y="201859"/>
                    </a:cubicBezTo>
                    <a:lnTo>
                      <a:pt x="19136" y="119585"/>
                    </a:lnTo>
                    <a:lnTo>
                      <a:pt x="98526" y="119902"/>
                    </a:lnTo>
                    <a:lnTo>
                      <a:pt x="98526" y="119902"/>
                    </a:lnTo>
                    <a:cubicBezTo>
                      <a:pt x="112337" y="119902"/>
                      <a:pt x="124356" y="126710"/>
                      <a:pt x="131368" y="137581"/>
                    </a:cubicBezTo>
                    <a:cubicBezTo>
                      <a:pt x="134320" y="143755"/>
                      <a:pt x="136534" y="149983"/>
                      <a:pt x="136534" y="157265"/>
                    </a:cubicBezTo>
                    <a:lnTo>
                      <a:pt x="136692" y="157265"/>
                    </a:lnTo>
                    <a:lnTo>
                      <a:pt x="136692" y="161171"/>
                    </a:lnTo>
                    <a:close/>
                  </a:path>
                </a:pathLst>
              </a:custGeom>
              <a:solidFill>
                <a:schemeClr val="bg1"/>
              </a:solidFill>
              <a:ln w="52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xmlns="" id="{05C383D6-D256-4BAF-93DF-34D1FDEDD015}"/>
                  </a:ext>
                </a:extLst>
              </p:cNvPr>
              <p:cNvSpPr/>
              <p:nvPr/>
            </p:nvSpPr>
            <p:spPr>
              <a:xfrm>
                <a:off x="10479902" y="5739172"/>
                <a:ext cx="228259" cy="228404"/>
              </a:xfrm>
              <a:custGeom>
                <a:avLst/>
                <a:gdLst>
                  <a:gd name="connsiteX0" fmla="*/ 1002 w 228259"/>
                  <a:gd name="connsiteY0" fmla="*/ 128557 h 228404"/>
                  <a:gd name="connsiteX1" fmla="*/ 114182 w 228259"/>
                  <a:gd name="connsiteY1" fmla="*/ 228404 h 228404"/>
                  <a:gd name="connsiteX2" fmla="*/ 227363 w 228259"/>
                  <a:gd name="connsiteY2" fmla="*/ 128504 h 228404"/>
                  <a:gd name="connsiteX3" fmla="*/ 228259 w 228259"/>
                  <a:gd name="connsiteY3" fmla="*/ 114572 h 228404"/>
                  <a:gd name="connsiteX4" fmla="*/ 227626 w 228259"/>
                  <a:gd name="connsiteY4" fmla="*/ 102117 h 228404"/>
                  <a:gd name="connsiteX5" fmla="*/ 114182 w 228259"/>
                  <a:gd name="connsiteY5" fmla="*/ 0 h 228404"/>
                  <a:gd name="connsiteX6" fmla="*/ 738 w 228259"/>
                  <a:gd name="connsiteY6" fmla="*/ 102117 h 228404"/>
                  <a:gd name="connsiteX7" fmla="*/ 633 w 228259"/>
                  <a:gd name="connsiteY7" fmla="*/ 102117 h 228404"/>
                  <a:gd name="connsiteX8" fmla="*/ 0 w 228259"/>
                  <a:gd name="connsiteY8" fmla="*/ 114572 h 228404"/>
                  <a:gd name="connsiteX9" fmla="*/ 896 w 228259"/>
                  <a:gd name="connsiteY9" fmla="*/ 128504 h 228404"/>
                  <a:gd name="connsiteX10" fmla="*/ 114182 w 228259"/>
                  <a:gd name="connsiteY10" fmla="*/ 208984 h 228404"/>
                  <a:gd name="connsiteX11" fmla="*/ 20559 w 228259"/>
                  <a:gd name="connsiteY11" fmla="*/ 128557 h 228404"/>
                  <a:gd name="connsiteX12" fmla="*/ 20454 w 228259"/>
                  <a:gd name="connsiteY12" fmla="*/ 128557 h 228404"/>
                  <a:gd name="connsiteX13" fmla="*/ 19399 w 228259"/>
                  <a:gd name="connsiteY13" fmla="*/ 114572 h 228404"/>
                  <a:gd name="connsiteX14" fmla="*/ 20137 w 228259"/>
                  <a:gd name="connsiteY14" fmla="*/ 102486 h 228404"/>
                  <a:gd name="connsiteX15" fmla="*/ 20190 w 228259"/>
                  <a:gd name="connsiteY15" fmla="*/ 102486 h 228404"/>
                  <a:gd name="connsiteX16" fmla="*/ 114130 w 228259"/>
                  <a:gd name="connsiteY16" fmla="*/ 19421 h 228404"/>
                  <a:gd name="connsiteX17" fmla="*/ 208016 w 228259"/>
                  <a:gd name="connsiteY17" fmla="*/ 102328 h 228404"/>
                  <a:gd name="connsiteX18" fmla="*/ 208807 w 228259"/>
                  <a:gd name="connsiteY18" fmla="*/ 114624 h 228404"/>
                  <a:gd name="connsiteX19" fmla="*/ 207753 w 228259"/>
                  <a:gd name="connsiteY19" fmla="*/ 128768 h 228404"/>
                  <a:gd name="connsiteX20" fmla="*/ 114130 w 228259"/>
                  <a:gd name="connsiteY20" fmla="*/ 209036 h 22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28259" h="228404">
                    <a:moveTo>
                      <a:pt x="1002" y="128557"/>
                    </a:moveTo>
                    <a:cubicBezTo>
                      <a:pt x="8065" y="184866"/>
                      <a:pt x="56037" y="228404"/>
                      <a:pt x="114182" y="228404"/>
                    </a:cubicBezTo>
                    <a:cubicBezTo>
                      <a:pt x="172328" y="228404"/>
                      <a:pt x="220299" y="184813"/>
                      <a:pt x="227363" y="128504"/>
                    </a:cubicBezTo>
                    <a:cubicBezTo>
                      <a:pt x="227890" y="123965"/>
                      <a:pt x="228259" y="119268"/>
                      <a:pt x="228259" y="114572"/>
                    </a:cubicBezTo>
                    <a:cubicBezTo>
                      <a:pt x="228259" y="110244"/>
                      <a:pt x="228101" y="106339"/>
                      <a:pt x="227626" y="102117"/>
                    </a:cubicBezTo>
                    <a:cubicBezTo>
                      <a:pt x="221722" y="44541"/>
                      <a:pt x="173224" y="0"/>
                      <a:pt x="114182" y="0"/>
                    </a:cubicBezTo>
                    <a:cubicBezTo>
                      <a:pt x="55141" y="0"/>
                      <a:pt x="6748" y="44752"/>
                      <a:pt x="738" y="102117"/>
                    </a:cubicBezTo>
                    <a:lnTo>
                      <a:pt x="633" y="102117"/>
                    </a:lnTo>
                    <a:cubicBezTo>
                      <a:pt x="158" y="106339"/>
                      <a:pt x="0" y="110244"/>
                      <a:pt x="0" y="114572"/>
                    </a:cubicBezTo>
                    <a:cubicBezTo>
                      <a:pt x="0" y="119268"/>
                      <a:pt x="316" y="123965"/>
                      <a:pt x="896" y="128504"/>
                    </a:cubicBezTo>
                    <a:moveTo>
                      <a:pt x="114182" y="208984"/>
                    </a:moveTo>
                    <a:cubicBezTo>
                      <a:pt x="66738" y="208984"/>
                      <a:pt x="27465" y="174100"/>
                      <a:pt x="20559" y="128557"/>
                    </a:cubicBezTo>
                    <a:lnTo>
                      <a:pt x="20454" y="128557"/>
                    </a:lnTo>
                    <a:cubicBezTo>
                      <a:pt x="19768" y="123965"/>
                      <a:pt x="19399" y="119374"/>
                      <a:pt x="19399" y="114572"/>
                    </a:cubicBezTo>
                    <a:cubicBezTo>
                      <a:pt x="19399" y="110402"/>
                      <a:pt x="19610" y="106497"/>
                      <a:pt x="20137" y="102486"/>
                    </a:cubicBezTo>
                    <a:lnTo>
                      <a:pt x="20190" y="102486"/>
                    </a:lnTo>
                    <a:cubicBezTo>
                      <a:pt x="25936" y="55676"/>
                      <a:pt x="65789" y="19421"/>
                      <a:pt x="114130" y="19421"/>
                    </a:cubicBezTo>
                    <a:cubicBezTo>
                      <a:pt x="162470" y="19421"/>
                      <a:pt x="202270" y="55465"/>
                      <a:pt x="208016" y="102328"/>
                    </a:cubicBezTo>
                    <a:cubicBezTo>
                      <a:pt x="208543" y="106444"/>
                      <a:pt x="208807" y="110402"/>
                      <a:pt x="208807" y="114624"/>
                    </a:cubicBezTo>
                    <a:cubicBezTo>
                      <a:pt x="208807" y="119480"/>
                      <a:pt x="208438" y="124124"/>
                      <a:pt x="207753" y="128768"/>
                    </a:cubicBezTo>
                    <a:cubicBezTo>
                      <a:pt x="200847" y="174311"/>
                      <a:pt x="161574" y="209036"/>
                      <a:pt x="114130" y="209036"/>
                    </a:cubicBezTo>
                    <a:close/>
                  </a:path>
                </a:pathLst>
              </a:custGeom>
              <a:solidFill>
                <a:schemeClr val="bg1"/>
              </a:solidFill>
              <a:ln w="52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748EC9CA-EB8F-7569-FCA3-F6BDF3C11ACC}"/>
                  </a:ext>
                </a:extLst>
              </p:cNvPr>
              <p:cNvSpPr/>
              <p:nvPr/>
            </p:nvSpPr>
            <p:spPr>
              <a:xfrm>
                <a:off x="11752354" y="5738697"/>
                <a:ext cx="30996" cy="31030"/>
              </a:xfrm>
              <a:custGeom>
                <a:avLst/>
                <a:gdLst>
                  <a:gd name="connsiteX0" fmla="*/ 0 w 30996"/>
                  <a:gd name="connsiteY0" fmla="*/ 15463 h 31030"/>
                  <a:gd name="connsiteX1" fmla="*/ 15551 w 30996"/>
                  <a:gd name="connsiteY1" fmla="*/ 0 h 31030"/>
                  <a:gd name="connsiteX2" fmla="*/ 30997 w 30996"/>
                  <a:gd name="connsiteY2" fmla="*/ 15463 h 31030"/>
                  <a:gd name="connsiteX3" fmla="*/ 15551 w 30996"/>
                  <a:gd name="connsiteY3" fmla="*/ 31031 h 31030"/>
                  <a:gd name="connsiteX4" fmla="*/ 0 w 30996"/>
                  <a:gd name="connsiteY4" fmla="*/ 15463 h 31030"/>
                  <a:gd name="connsiteX5" fmla="*/ 28519 w 30996"/>
                  <a:gd name="connsiteY5" fmla="*/ 15463 h 31030"/>
                  <a:gd name="connsiteX6" fmla="*/ 15551 w 30996"/>
                  <a:gd name="connsiteY6" fmla="*/ 2058 h 31030"/>
                  <a:gd name="connsiteX7" fmla="*/ 2478 w 30996"/>
                  <a:gd name="connsiteY7" fmla="*/ 15463 h 31030"/>
                  <a:gd name="connsiteX8" fmla="*/ 15551 w 30996"/>
                  <a:gd name="connsiteY8" fmla="*/ 28973 h 31030"/>
                  <a:gd name="connsiteX9" fmla="*/ 28519 w 30996"/>
                  <a:gd name="connsiteY9" fmla="*/ 15463 h 31030"/>
                  <a:gd name="connsiteX10" fmla="*/ 23248 w 30996"/>
                  <a:gd name="connsiteY10" fmla="*/ 24118 h 31030"/>
                  <a:gd name="connsiteX11" fmla="*/ 20717 w 30996"/>
                  <a:gd name="connsiteY11" fmla="*/ 24118 h 31030"/>
                  <a:gd name="connsiteX12" fmla="*/ 15762 w 30996"/>
                  <a:gd name="connsiteY12" fmla="*/ 16149 h 31030"/>
                  <a:gd name="connsiteX13" fmla="*/ 11861 w 30996"/>
                  <a:gd name="connsiteY13" fmla="*/ 16149 h 31030"/>
                  <a:gd name="connsiteX14" fmla="*/ 11861 w 30996"/>
                  <a:gd name="connsiteY14" fmla="*/ 24118 h 31030"/>
                  <a:gd name="connsiteX15" fmla="*/ 9752 w 30996"/>
                  <a:gd name="connsiteY15" fmla="*/ 24118 h 31030"/>
                  <a:gd name="connsiteX16" fmla="*/ 9752 w 30996"/>
                  <a:gd name="connsiteY16" fmla="*/ 6808 h 31030"/>
                  <a:gd name="connsiteX17" fmla="*/ 17344 w 30996"/>
                  <a:gd name="connsiteY17" fmla="*/ 6808 h 31030"/>
                  <a:gd name="connsiteX18" fmla="*/ 23459 w 30996"/>
                  <a:gd name="connsiteY18" fmla="*/ 11399 h 31030"/>
                  <a:gd name="connsiteX19" fmla="*/ 18029 w 30996"/>
                  <a:gd name="connsiteY19" fmla="*/ 16149 h 31030"/>
                  <a:gd name="connsiteX20" fmla="*/ 23248 w 30996"/>
                  <a:gd name="connsiteY20" fmla="*/ 24118 h 31030"/>
                  <a:gd name="connsiteX21" fmla="*/ 15129 w 30996"/>
                  <a:gd name="connsiteY21" fmla="*/ 14460 h 31030"/>
                  <a:gd name="connsiteX22" fmla="*/ 21192 w 30996"/>
                  <a:gd name="connsiteY22" fmla="*/ 11346 h 31030"/>
                  <a:gd name="connsiteX23" fmla="*/ 16869 w 30996"/>
                  <a:gd name="connsiteY23" fmla="*/ 8338 h 31030"/>
                  <a:gd name="connsiteX24" fmla="*/ 11914 w 30996"/>
                  <a:gd name="connsiteY24" fmla="*/ 8338 h 31030"/>
                  <a:gd name="connsiteX25" fmla="*/ 11914 w 30996"/>
                  <a:gd name="connsiteY25" fmla="*/ 14460 h 31030"/>
                  <a:gd name="connsiteX26" fmla="*/ 15129 w 30996"/>
                  <a:gd name="connsiteY26" fmla="*/ 14460 h 31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0996" h="31030">
                    <a:moveTo>
                      <a:pt x="0" y="15463"/>
                    </a:moveTo>
                    <a:cubicBezTo>
                      <a:pt x="0" y="6966"/>
                      <a:pt x="6959" y="0"/>
                      <a:pt x="15551" y="0"/>
                    </a:cubicBezTo>
                    <a:cubicBezTo>
                      <a:pt x="24144" y="0"/>
                      <a:pt x="30997" y="6966"/>
                      <a:pt x="30997" y="15463"/>
                    </a:cubicBezTo>
                    <a:cubicBezTo>
                      <a:pt x="30997" y="23959"/>
                      <a:pt x="24091" y="31031"/>
                      <a:pt x="15551" y="31031"/>
                    </a:cubicBezTo>
                    <a:cubicBezTo>
                      <a:pt x="7011" y="31031"/>
                      <a:pt x="0" y="24065"/>
                      <a:pt x="0" y="15463"/>
                    </a:cubicBezTo>
                    <a:close/>
                    <a:moveTo>
                      <a:pt x="28519" y="15463"/>
                    </a:moveTo>
                    <a:cubicBezTo>
                      <a:pt x="28519" y="7916"/>
                      <a:pt x="23037" y="2058"/>
                      <a:pt x="15551" y="2058"/>
                    </a:cubicBezTo>
                    <a:cubicBezTo>
                      <a:pt x="8065" y="2058"/>
                      <a:pt x="2478" y="7969"/>
                      <a:pt x="2478" y="15463"/>
                    </a:cubicBezTo>
                    <a:cubicBezTo>
                      <a:pt x="2478" y="22957"/>
                      <a:pt x="8013" y="28973"/>
                      <a:pt x="15551" y="28973"/>
                    </a:cubicBezTo>
                    <a:cubicBezTo>
                      <a:pt x="23090" y="28973"/>
                      <a:pt x="28519" y="23062"/>
                      <a:pt x="28519" y="15463"/>
                    </a:cubicBezTo>
                    <a:close/>
                    <a:moveTo>
                      <a:pt x="23248" y="24118"/>
                    </a:moveTo>
                    <a:lnTo>
                      <a:pt x="20717" y="24118"/>
                    </a:lnTo>
                    <a:lnTo>
                      <a:pt x="15762" y="16149"/>
                    </a:lnTo>
                    <a:lnTo>
                      <a:pt x="11861" y="16149"/>
                    </a:lnTo>
                    <a:lnTo>
                      <a:pt x="11861" y="24118"/>
                    </a:lnTo>
                    <a:lnTo>
                      <a:pt x="9752" y="24118"/>
                    </a:lnTo>
                    <a:lnTo>
                      <a:pt x="9752" y="6808"/>
                    </a:lnTo>
                    <a:lnTo>
                      <a:pt x="17344" y="6808"/>
                    </a:lnTo>
                    <a:cubicBezTo>
                      <a:pt x="21930" y="6808"/>
                      <a:pt x="23459" y="8549"/>
                      <a:pt x="23459" y="11399"/>
                    </a:cubicBezTo>
                    <a:cubicBezTo>
                      <a:pt x="23459" y="14777"/>
                      <a:pt x="21086" y="16043"/>
                      <a:pt x="18029" y="16149"/>
                    </a:cubicBezTo>
                    <a:lnTo>
                      <a:pt x="23248" y="24118"/>
                    </a:lnTo>
                    <a:close/>
                    <a:moveTo>
                      <a:pt x="15129" y="14460"/>
                    </a:moveTo>
                    <a:cubicBezTo>
                      <a:pt x="17607" y="14460"/>
                      <a:pt x="21192" y="14882"/>
                      <a:pt x="21192" y="11346"/>
                    </a:cubicBezTo>
                    <a:cubicBezTo>
                      <a:pt x="21192" y="8655"/>
                      <a:pt x="18978" y="8338"/>
                      <a:pt x="16869" y="8338"/>
                    </a:cubicBezTo>
                    <a:lnTo>
                      <a:pt x="11914" y="8338"/>
                    </a:lnTo>
                    <a:lnTo>
                      <a:pt x="11914" y="14460"/>
                    </a:lnTo>
                    <a:lnTo>
                      <a:pt x="15129" y="14460"/>
                    </a:lnTo>
                    <a:close/>
                  </a:path>
                </a:pathLst>
              </a:custGeom>
              <a:solidFill>
                <a:schemeClr val="bg1"/>
              </a:solidFill>
              <a:ln w="52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BF13C558-A996-E799-C86F-B4A0983EE8D4}"/>
                </a:ext>
              </a:extLst>
            </p:cNvPr>
            <p:cNvSpPr/>
            <p:nvPr/>
          </p:nvSpPr>
          <p:spPr>
            <a:xfrm>
              <a:off x="10385541" y="5740597"/>
              <a:ext cx="51397" cy="30028"/>
            </a:xfrm>
            <a:custGeom>
              <a:avLst/>
              <a:gdLst>
                <a:gd name="connsiteX0" fmla="*/ 11176 w 51397"/>
                <a:gd name="connsiteY0" fmla="*/ 3219 h 30028"/>
                <a:gd name="connsiteX1" fmla="*/ 6906 w 51397"/>
                <a:gd name="connsiteY1" fmla="*/ 5647 h 30028"/>
                <a:gd name="connsiteX2" fmla="*/ 3163 w 51397"/>
                <a:gd name="connsiteY2" fmla="*/ 8497 h 30028"/>
                <a:gd name="connsiteX3" fmla="*/ 2003 w 51397"/>
                <a:gd name="connsiteY3" fmla="*/ 11082 h 30028"/>
                <a:gd name="connsiteX4" fmla="*/ 474 w 51397"/>
                <a:gd name="connsiteY4" fmla="*/ 13299 h 30028"/>
                <a:gd name="connsiteX5" fmla="*/ 105 w 51397"/>
                <a:gd name="connsiteY5" fmla="*/ 14091 h 30028"/>
                <a:gd name="connsiteX6" fmla="*/ 0 w 51397"/>
                <a:gd name="connsiteY6" fmla="*/ 14882 h 30028"/>
                <a:gd name="connsiteX7" fmla="*/ 211 w 51397"/>
                <a:gd name="connsiteY7" fmla="*/ 15779 h 30028"/>
                <a:gd name="connsiteX8" fmla="*/ 1634 w 51397"/>
                <a:gd name="connsiteY8" fmla="*/ 19685 h 30028"/>
                <a:gd name="connsiteX9" fmla="*/ 4112 w 51397"/>
                <a:gd name="connsiteY9" fmla="*/ 21215 h 30028"/>
                <a:gd name="connsiteX10" fmla="*/ 6958 w 51397"/>
                <a:gd name="connsiteY10" fmla="*/ 24434 h 30028"/>
                <a:gd name="connsiteX11" fmla="*/ 9014 w 51397"/>
                <a:gd name="connsiteY11" fmla="*/ 26387 h 30028"/>
                <a:gd name="connsiteX12" fmla="*/ 11966 w 51397"/>
                <a:gd name="connsiteY12" fmla="*/ 27812 h 30028"/>
                <a:gd name="connsiteX13" fmla="*/ 14919 w 51397"/>
                <a:gd name="connsiteY13" fmla="*/ 28709 h 30028"/>
                <a:gd name="connsiteX14" fmla="*/ 19083 w 51397"/>
                <a:gd name="connsiteY14" fmla="*/ 28709 h 30028"/>
                <a:gd name="connsiteX15" fmla="*/ 21824 w 51397"/>
                <a:gd name="connsiteY15" fmla="*/ 29237 h 30028"/>
                <a:gd name="connsiteX16" fmla="*/ 24776 w 51397"/>
                <a:gd name="connsiteY16" fmla="*/ 29500 h 30028"/>
                <a:gd name="connsiteX17" fmla="*/ 28783 w 51397"/>
                <a:gd name="connsiteY17" fmla="*/ 29764 h 30028"/>
                <a:gd name="connsiteX18" fmla="*/ 32631 w 51397"/>
                <a:gd name="connsiteY18" fmla="*/ 30028 h 30028"/>
                <a:gd name="connsiteX19" fmla="*/ 37428 w 51397"/>
                <a:gd name="connsiteY19" fmla="*/ 29659 h 30028"/>
                <a:gd name="connsiteX20" fmla="*/ 41066 w 51397"/>
                <a:gd name="connsiteY20" fmla="*/ 28603 h 30028"/>
                <a:gd name="connsiteX21" fmla="*/ 45441 w 51397"/>
                <a:gd name="connsiteY21" fmla="*/ 26809 h 30028"/>
                <a:gd name="connsiteX22" fmla="*/ 47391 w 51397"/>
                <a:gd name="connsiteY22" fmla="*/ 24593 h 30028"/>
                <a:gd name="connsiteX23" fmla="*/ 49605 w 51397"/>
                <a:gd name="connsiteY23" fmla="*/ 22534 h 30028"/>
                <a:gd name="connsiteX24" fmla="*/ 51398 w 51397"/>
                <a:gd name="connsiteY24" fmla="*/ 19685 h 30028"/>
                <a:gd name="connsiteX25" fmla="*/ 51292 w 51397"/>
                <a:gd name="connsiteY25" fmla="*/ 16729 h 30028"/>
                <a:gd name="connsiteX26" fmla="*/ 50502 w 51397"/>
                <a:gd name="connsiteY26" fmla="*/ 12455 h 30028"/>
                <a:gd name="connsiteX27" fmla="*/ 45863 w 51397"/>
                <a:gd name="connsiteY27" fmla="*/ 5700 h 30028"/>
                <a:gd name="connsiteX28" fmla="*/ 41751 w 51397"/>
                <a:gd name="connsiteY28" fmla="*/ 2586 h 30028"/>
                <a:gd name="connsiteX29" fmla="*/ 39695 w 51397"/>
                <a:gd name="connsiteY29" fmla="*/ 1583 h 30028"/>
                <a:gd name="connsiteX30" fmla="*/ 38166 w 51397"/>
                <a:gd name="connsiteY30" fmla="*/ 1003 h 30028"/>
                <a:gd name="connsiteX31" fmla="*/ 36690 w 51397"/>
                <a:gd name="connsiteY31" fmla="*/ 792 h 30028"/>
                <a:gd name="connsiteX32" fmla="*/ 31893 w 51397"/>
                <a:gd name="connsiteY32" fmla="*/ 1161 h 30028"/>
                <a:gd name="connsiteX33" fmla="*/ 27096 w 51397"/>
                <a:gd name="connsiteY33" fmla="*/ 369 h 30028"/>
                <a:gd name="connsiteX34" fmla="*/ 24776 w 51397"/>
                <a:gd name="connsiteY34" fmla="*/ 0 h 30028"/>
                <a:gd name="connsiteX35" fmla="*/ 21824 w 51397"/>
                <a:gd name="connsiteY35" fmla="*/ 633 h 30028"/>
                <a:gd name="connsiteX36" fmla="*/ 17923 w 51397"/>
                <a:gd name="connsiteY36" fmla="*/ 1161 h 30028"/>
                <a:gd name="connsiteX37" fmla="*/ 15446 w 51397"/>
                <a:gd name="connsiteY37" fmla="*/ 2058 h 30028"/>
                <a:gd name="connsiteX38" fmla="*/ 11176 w 51397"/>
                <a:gd name="connsiteY38" fmla="*/ 3219 h 30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397" h="30028">
                  <a:moveTo>
                    <a:pt x="11176" y="3219"/>
                  </a:moveTo>
                  <a:lnTo>
                    <a:pt x="6906" y="5647"/>
                  </a:lnTo>
                  <a:lnTo>
                    <a:pt x="3163" y="8497"/>
                  </a:lnTo>
                  <a:lnTo>
                    <a:pt x="2003" y="11082"/>
                  </a:lnTo>
                  <a:lnTo>
                    <a:pt x="474" y="13299"/>
                  </a:lnTo>
                  <a:lnTo>
                    <a:pt x="105" y="14091"/>
                  </a:lnTo>
                  <a:lnTo>
                    <a:pt x="0" y="14882"/>
                  </a:lnTo>
                  <a:lnTo>
                    <a:pt x="211" y="15779"/>
                  </a:lnTo>
                  <a:lnTo>
                    <a:pt x="1634" y="19685"/>
                  </a:lnTo>
                  <a:lnTo>
                    <a:pt x="4112" y="21215"/>
                  </a:lnTo>
                  <a:lnTo>
                    <a:pt x="6958" y="24434"/>
                  </a:lnTo>
                  <a:lnTo>
                    <a:pt x="9014" y="26387"/>
                  </a:lnTo>
                  <a:lnTo>
                    <a:pt x="11966" y="27812"/>
                  </a:lnTo>
                  <a:lnTo>
                    <a:pt x="14919" y="28709"/>
                  </a:lnTo>
                  <a:lnTo>
                    <a:pt x="19083" y="28709"/>
                  </a:lnTo>
                  <a:lnTo>
                    <a:pt x="21824" y="29237"/>
                  </a:lnTo>
                  <a:lnTo>
                    <a:pt x="24776" y="29500"/>
                  </a:lnTo>
                  <a:lnTo>
                    <a:pt x="28783" y="29764"/>
                  </a:lnTo>
                  <a:lnTo>
                    <a:pt x="32631" y="30028"/>
                  </a:lnTo>
                  <a:lnTo>
                    <a:pt x="37428" y="29659"/>
                  </a:lnTo>
                  <a:lnTo>
                    <a:pt x="41066" y="28603"/>
                  </a:lnTo>
                  <a:lnTo>
                    <a:pt x="45441" y="26809"/>
                  </a:lnTo>
                  <a:lnTo>
                    <a:pt x="47391" y="24593"/>
                  </a:lnTo>
                  <a:lnTo>
                    <a:pt x="49605" y="22534"/>
                  </a:lnTo>
                  <a:lnTo>
                    <a:pt x="51398" y="19685"/>
                  </a:lnTo>
                  <a:lnTo>
                    <a:pt x="51292" y="16729"/>
                  </a:lnTo>
                  <a:lnTo>
                    <a:pt x="50502" y="12455"/>
                  </a:lnTo>
                  <a:lnTo>
                    <a:pt x="45863" y="5700"/>
                  </a:lnTo>
                  <a:lnTo>
                    <a:pt x="41751" y="2586"/>
                  </a:lnTo>
                  <a:lnTo>
                    <a:pt x="39695" y="1583"/>
                  </a:lnTo>
                  <a:lnTo>
                    <a:pt x="38166" y="1003"/>
                  </a:lnTo>
                  <a:lnTo>
                    <a:pt x="36690" y="792"/>
                  </a:lnTo>
                  <a:lnTo>
                    <a:pt x="31893" y="1161"/>
                  </a:lnTo>
                  <a:lnTo>
                    <a:pt x="27096" y="369"/>
                  </a:lnTo>
                  <a:lnTo>
                    <a:pt x="24776" y="0"/>
                  </a:lnTo>
                  <a:lnTo>
                    <a:pt x="21824" y="633"/>
                  </a:lnTo>
                  <a:lnTo>
                    <a:pt x="17923" y="1161"/>
                  </a:lnTo>
                  <a:lnTo>
                    <a:pt x="15446" y="2058"/>
                  </a:lnTo>
                  <a:lnTo>
                    <a:pt x="11176" y="3219"/>
                  </a:lnTo>
                </a:path>
              </a:pathLst>
            </a:custGeom>
            <a:solidFill>
              <a:schemeClr val="bg1"/>
            </a:solidFill>
            <a:ln w="52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7688A229-B217-FD3B-4138-AD68B1775D3B}"/>
                </a:ext>
              </a:extLst>
            </p:cNvPr>
            <p:cNvSpPr/>
            <p:nvPr/>
          </p:nvSpPr>
          <p:spPr>
            <a:xfrm>
              <a:off x="10389705" y="5814375"/>
              <a:ext cx="43859" cy="11662"/>
            </a:xfrm>
            <a:custGeom>
              <a:avLst/>
              <a:gdLst>
                <a:gd name="connsiteX0" fmla="*/ 896 w 43859"/>
                <a:gd name="connsiteY0" fmla="*/ 264 h 11662"/>
                <a:gd name="connsiteX1" fmla="*/ 23933 w 43859"/>
                <a:gd name="connsiteY1" fmla="*/ 792 h 11662"/>
                <a:gd name="connsiteX2" fmla="*/ 27359 w 43859"/>
                <a:gd name="connsiteY2" fmla="*/ 106 h 11662"/>
                <a:gd name="connsiteX3" fmla="*/ 31788 w 43859"/>
                <a:gd name="connsiteY3" fmla="*/ 0 h 11662"/>
                <a:gd name="connsiteX4" fmla="*/ 36216 w 43859"/>
                <a:gd name="connsiteY4" fmla="*/ 475 h 11662"/>
                <a:gd name="connsiteX5" fmla="*/ 39590 w 43859"/>
                <a:gd name="connsiteY5" fmla="*/ 1425 h 11662"/>
                <a:gd name="connsiteX6" fmla="*/ 42173 w 43859"/>
                <a:gd name="connsiteY6" fmla="*/ 3166 h 11662"/>
                <a:gd name="connsiteX7" fmla="*/ 43121 w 43859"/>
                <a:gd name="connsiteY7" fmla="*/ 4380 h 11662"/>
                <a:gd name="connsiteX8" fmla="*/ 43701 w 43859"/>
                <a:gd name="connsiteY8" fmla="*/ 5647 h 11662"/>
                <a:gd name="connsiteX9" fmla="*/ 43859 w 43859"/>
                <a:gd name="connsiteY9" fmla="*/ 7019 h 11662"/>
                <a:gd name="connsiteX10" fmla="*/ 43438 w 43859"/>
                <a:gd name="connsiteY10" fmla="*/ 8444 h 11662"/>
                <a:gd name="connsiteX11" fmla="*/ 42436 w 43859"/>
                <a:gd name="connsiteY11" fmla="*/ 9816 h 11662"/>
                <a:gd name="connsiteX12" fmla="*/ 40644 w 43859"/>
                <a:gd name="connsiteY12" fmla="*/ 11135 h 11662"/>
                <a:gd name="connsiteX13" fmla="*/ 38008 w 43859"/>
                <a:gd name="connsiteY13" fmla="*/ 11663 h 11662"/>
                <a:gd name="connsiteX14" fmla="*/ 33316 w 43859"/>
                <a:gd name="connsiteY14" fmla="*/ 11663 h 11662"/>
                <a:gd name="connsiteX15" fmla="*/ 20665 w 43859"/>
                <a:gd name="connsiteY15" fmla="*/ 10713 h 11662"/>
                <a:gd name="connsiteX16" fmla="*/ 1371 w 43859"/>
                <a:gd name="connsiteY16" fmla="*/ 8497 h 11662"/>
                <a:gd name="connsiteX17" fmla="*/ 633 w 43859"/>
                <a:gd name="connsiteY17" fmla="*/ 8180 h 11662"/>
                <a:gd name="connsiteX18" fmla="*/ 211 w 43859"/>
                <a:gd name="connsiteY18" fmla="*/ 7441 h 11662"/>
                <a:gd name="connsiteX19" fmla="*/ 0 w 43859"/>
                <a:gd name="connsiteY19" fmla="*/ 5066 h 11662"/>
                <a:gd name="connsiteX20" fmla="*/ 896 w 43859"/>
                <a:gd name="connsiteY20" fmla="*/ 264 h 1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859" h="11662">
                  <a:moveTo>
                    <a:pt x="896" y="264"/>
                  </a:moveTo>
                  <a:lnTo>
                    <a:pt x="23933" y="792"/>
                  </a:lnTo>
                  <a:lnTo>
                    <a:pt x="27359" y="106"/>
                  </a:lnTo>
                  <a:lnTo>
                    <a:pt x="31788" y="0"/>
                  </a:lnTo>
                  <a:lnTo>
                    <a:pt x="36216" y="475"/>
                  </a:lnTo>
                  <a:lnTo>
                    <a:pt x="39590" y="1425"/>
                  </a:lnTo>
                  <a:lnTo>
                    <a:pt x="42173" y="3166"/>
                  </a:lnTo>
                  <a:lnTo>
                    <a:pt x="43121" y="4380"/>
                  </a:lnTo>
                  <a:lnTo>
                    <a:pt x="43701" y="5647"/>
                  </a:lnTo>
                  <a:lnTo>
                    <a:pt x="43859" y="7019"/>
                  </a:lnTo>
                  <a:lnTo>
                    <a:pt x="43438" y="8444"/>
                  </a:lnTo>
                  <a:lnTo>
                    <a:pt x="42436" y="9816"/>
                  </a:lnTo>
                  <a:lnTo>
                    <a:pt x="40644" y="11135"/>
                  </a:lnTo>
                  <a:lnTo>
                    <a:pt x="38008" y="11663"/>
                  </a:lnTo>
                  <a:lnTo>
                    <a:pt x="33316" y="11663"/>
                  </a:lnTo>
                  <a:lnTo>
                    <a:pt x="20665" y="10713"/>
                  </a:lnTo>
                  <a:lnTo>
                    <a:pt x="1371" y="8497"/>
                  </a:lnTo>
                  <a:lnTo>
                    <a:pt x="633" y="8180"/>
                  </a:lnTo>
                  <a:lnTo>
                    <a:pt x="211" y="7441"/>
                  </a:lnTo>
                  <a:lnTo>
                    <a:pt x="0" y="5066"/>
                  </a:lnTo>
                  <a:lnTo>
                    <a:pt x="896" y="264"/>
                  </a:lnTo>
                </a:path>
              </a:pathLst>
            </a:custGeom>
            <a:solidFill>
              <a:schemeClr val="bg1"/>
            </a:solidFill>
            <a:ln w="52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1B4CB31C-83F7-0D88-4DE0-97FDC6944A30}"/>
                </a:ext>
              </a:extLst>
            </p:cNvPr>
            <p:cNvSpPr/>
            <p:nvPr/>
          </p:nvSpPr>
          <p:spPr>
            <a:xfrm>
              <a:off x="10391919" y="5835907"/>
              <a:ext cx="42277" cy="11451"/>
            </a:xfrm>
            <a:custGeom>
              <a:avLst/>
              <a:gdLst>
                <a:gd name="connsiteX0" fmla="*/ 5166 w 42277"/>
                <a:gd name="connsiteY0" fmla="*/ 0 h 11451"/>
                <a:gd name="connsiteX1" fmla="*/ 7169 w 42277"/>
                <a:gd name="connsiteY1" fmla="*/ 1214 h 11451"/>
                <a:gd name="connsiteX2" fmla="*/ 8435 w 42277"/>
                <a:gd name="connsiteY2" fmla="*/ 1953 h 11451"/>
                <a:gd name="connsiteX3" fmla="*/ 9858 w 42277"/>
                <a:gd name="connsiteY3" fmla="*/ 2322 h 11451"/>
                <a:gd name="connsiteX4" fmla="*/ 10859 w 42277"/>
                <a:gd name="connsiteY4" fmla="*/ 2111 h 11451"/>
                <a:gd name="connsiteX5" fmla="*/ 12019 w 42277"/>
                <a:gd name="connsiteY5" fmla="*/ 1583 h 11451"/>
                <a:gd name="connsiteX6" fmla="*/ 13179 w 42277"/>
                <a:gd name="connsiteY6" fmla="*/ 1003 h 11451"/>
                <a:gd name="connsiteX7" fmla="*/ 14339 w 42277"/>
                <a:gd name="connsiteY7" fmla="*/ 739 h 11451"/>
                <a:gd name="connsiteX8" fmla="*/ 16342 w 42277"/>
                <a:gd name="connsiteY8" fmla="*/ 1478 h 11451"/>
                <a:gd name="connsiteX9" fmla="*/ 18503 w 42277"/>
                <a:gd name="connsiteY9" fmla="*/ 2216 h 11451"/>
                <a:gd name="connsiteX10" fmla="*/ 20296 w 42277"/>
                <a:gd name="connsiteY10" fmla="*/ 1636 h 11451"/>
                <a:gd name="connsiteX11" fmla="*/ 22141 w 42277"/>
                <a:gd name="connsiteY11" fmla="*/ 1108 h 11451"/>
                <a:gd name="connsiteX12" fmla="*/ 24302 w 42277"/>
                <a:gd name="connsiteY12" fmla="*/ 1900 h 11451"/>
                <a:gd name="connsiteX13" fmla="*/ 25356 w 42277"/>
                <a:gd name="connsiteY13" fmla="*/ 2322 h 11451"/>
                <a:gd name="connsiteX14" fmla="*/ 26411 w 42277"/>
                <a:gd name="connsiteY14" fmla="*/ 2322 h 11451"/>
                <a:gd name="connsiteX15" fmla="*/ 33105 w 42277"/>
                <a:gd name="connsiteY15" fmla="*/ 1425 h 11451"/>
                <a:gd name="connsiteX16" fmla="*/ 38219 w 42277"/>
                <a:gd name="connsiteY16" fmla="*/ 2269 h 11451"/>
                <a:gd name="connsiteX17" fmla="*/ 38535 w 42277"/>
                <a:gd name="connsiteY17" fmla="*/ 2480 h 11451"/>
                <a:gd name="connsiteX18" fmla="*/ 38693 w 42277"/>
                <a:gd name="connsiteY18" fmla="*/ 2744 h 11451"/>
                <a:gd name="connsiteX19" fmla="*/ 38535 w 42277"/>
                <a:gd name="connsiteY19" fmla="*/ 3378 h 11451"/>
                <a:gd name="connsiteX20" fmla="*/ 38324 w 42277"/>
                <a:gd name="connsiteY20" fmla="*/ 4064 h 11451"/>
                <a:gd name="connsiteX21" fmla="*/ 38535 w 42277"/>
                <a:gd name="connsiteY21" fmla="*/ 4697 h 11451"/>
                <a:gd name="connsiteX22" fmla="*/ 39800 w 42277"/>
                <a:gd name="connsiteY22" fmla="*/ 5436 h 11451"/>
                <a:gd name="connsiteX23" fmla="*/ 41224 w 42277"/>
                <a:gd name="connsiteY23" fmla="*/ 6016 h 11451"/>
                <a:gd name="connsiteX24" fmla="*/ 41804 w 42277"/>
                <a:gd name="connsiteY24" fmla="*/ 6438 h 11451"/>
                <a:gd name="connsiteX25" fmla="*/ 42173 w 42277"/>
                <a:gd name="connsiteY25" fmla="*/ 7072 h 11451"/>
                <a:gd name="connsiteX26" fmla="*/ 42278 w 42277"/>
                <a:gd name="connsiteY26" fmla="*/ 8022 h 11451"/>
                <a:gd name="connsiteX27" fmla="*/ 42014 w 42277"/>
                <a:gd name="connsiteY27" fmla="*/ 9341 h 11451"/>
                <a:gd name="connsiteX28" fmla="*/ 41593 w 42277"/>
                <a:gd name="connsiteY28" fmla="*/ 9974 h 11451"/>
                <a:gd name="connsiteX29" fmla="*/ 40644 w 42277"/>
                <a:gd name="connsiteY29" fmla="*/ 10502 h 11451"/>
                <a:gd name="connsiteX30" fmla="*/ 37744 w 42277"/>
                <a:gd name="connsiteY30" fmla="*/ 11135 h 11451"/>
                <a:gd name="connsiteX31" fmla="*/ 28572 w 42277"/>
                <a:gd name="connsiteY31" fmla="*/ 11452 h 11451"/>
                <a:gd name="connsiteX32" fmla="*/ 15446 w 42277"/>
                <a:gd name="connsiteY32" fmla="*/ 9763 h 11451"/>
                <a:gd name="connsiteX33" fmla="*/ 4059 w 42277"/>
                <a:gd name="connsiteY33" fmla="*/ 7652 h 11451"/>
                <a:gd name="connsiteX34" fmla="*/ 2372 w 42277"/>
                <a:gd name="connsiteY34" fmla="*/ 6966 h 11451"/>
                <a:gd name="connsiteX35" fmla="*/ 1107 w 42277"/>
                <a:gd name="connsiteY35" fmla="*/ 5436 h 11451"/>
                <a:gd name="connsiteX36" fmla="*/ 264 w 42277"/>
                <a:gd name="connsiteY36" fmla="*/ 3641 h 11451"/>
                <a:gd name="connsiteX37" fmla="*/ 0 w 42277"/>
                <a:gd name="connsiteY37" fmla="*/ 2058 h 11451"/>
                <a:gd name="connsiteX38" fmla="*/ 5166 w 42277"/>
                <a:gd name="connsiteY38" fmla="*/ 0 h 11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2277" h="11451">
                  <a:moveTo>
                    <a:pt x="5166" y="0"/>
                  </a:moveTo>
                  <a:lnTo>
                    <a:pt x="7169" y="1214"/>
                  </a:lnTo>
                  <a:lnTo>
                    <a:pt x="8435" y="1953"/>
                  </a:lnTo>
                  <a:lnTo>
                    <a:pt x="9858" y="2322"/>
                  </a:lnTo>
                  <a:lnTo>
                    <a:pt x="10859" y="2111"/>
                  </a:lnTo>
                  <a:lnTo>
                    <a:pt x="12019" y="1583"/>
                  </a:lnTo>
                  <a:lnTo>
                    <a:pt x="13179" y="1003"/>
                  </a:lnTo>
                  <a:lnTo>
                    <a:pt x="14339" y="739"/>
                  </a:lnTo>
                  <a:lnTo>
                    <a:pt x="16342" y="1478"/>
                  </a:lnTo>
                  <a:lnTo>
                    <a:pt x="18503" y="2216"/>
                  </a:lnTo>
                  <a:lnTo>
                    <a:pt x="20296" y="1636"/>
                  </a:lnTo>
                  <a:lnTo>
                    <a:pt x="22141" y="1108"/>
                  </a:lnTo>
                  <a:lnTo>
                    <a:pt x="24302" y="1900"/>
                  </a:lnTo>
                  <a:lnTo>
                    <a:pt x="25356" y="2322"/>
                  </a:lnTo>
                  <a:lnTo>
                    <a:pt x="26411" y="2322"/>
                  </a:lnTo>
                  <a:lnTo>
                    <a:pt x="33105" y="1425"/>
                  </a:lnTo>
                  <a:lnTo>
                    <a:pt x="38219" y="2269"/>
                  </a:lnTo>
                  <a:lnTo>
                    <a:pt x="38535" y="2480"/>
                  </a:lnTo>
                  <a:lnTo>
                    <a:pt x="38693" y="2744"/>
                  </a:lnTo>
                  <a:lnTo>
                    <a:pt x="38535" y="3378"/>
                  </a:lnTo>
                  <a:lnTo>
                    <a:pt x="38324" y="4064"/>
                  </a:lnTo>
                  <a:lnTo>
                    <a:pt x="38535" y="4697"/>
                  </a:lnTo>
                  <a:lnTo>
                    <a:pt x="39800" y="5436"/>
                  </a:lnTo>
                  <a:lnTo>
                    <a:pt x="41224" y="6016"/>
                  </a:lnTo>
                  <a:lnTo>
                    <a:pt x="41804" y="6438"/>
                  </a:lnTo>
                  <a:lnTo>
                    <a:pt x="42173" y="7072"/>
                  </a:lnTo>
                  <a:lnTo>
                    <a:pt x="42278" y="8022"/>
                  </a:lnTo>
                  <a:lnTo>
                    <a:pt x="42014" y="9341"/>
                  </a:lnTo>
                  <a:lnTo>
                    <a:pt x="41593" y="9974"/>
                  </a:lnTo>
                  <a:lnTo>
                    <a:pt x="40644" y="10502"/>
                  </a:lnTo>
                  <a:lnTo>
                    <a:pt x="37744" y="11135"/>
                  </a:lnTo>
                  <a:lnTo>
                    <a:pt x="28572" y="11452"/>
                  </a:lnTo>
                  <a:lnTo>
                    <a:pt x="15446" y="9763"/>
                  </a:lnTo>
                  <a:lnTo>
                    <a:pt x="4059" y="7652"/>
                  </a:lnTo>
                  <a:lnTo>
                    <a:pt x="2372" y="6966"/>
                  </a:lnTo>
                  <a:lnTo>
                    <a:pt x="1107" y="5436"/>
                  </a:lnTo>
                  <a:lnTo>
                    <a:pt x="264" y="3641"/>
                  </a:lnTo>
                  <a:lnTo>
                    <a:pt x="0" y="2058"/>
                  </a:lnTo>
                  <a:lnTo>
                    <a:pt x="5166" y="0"/>
                  </a:lnTo>
                </a:path>
              </a:pathLst>
            </a:custGeom>
            <a:solidFill>
              <a:schemeClr val="bg1"/>
            </a:solidFill>
            <a:ln w="52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3F571D81-16FE-B2FA-9F57-0118AD41FBB5}"/>
                </a:ext>
              </a:extLst>
            </p:cNvPr>
            <p:cNvSpPr/>
            <p:nvPr/>
          </p:nvSpPr>
          <p:spPr>
            <a:xfrm>
              <a:off x="10389863" y="5848308"/>
              <a:ext cx="43754" cy="12454"/>
            </a:xfrm>
            <a:custGeom>
              <a:avLst/>
              <a:gdLst>
                <a:gd name="connsiteX0" fmla="*/ 4112 w 43754"/>
                <a:gd name="connsiteY0" fmla="*/ 0 h 12454"/>
                <a:gd name="connsiteX1" fmla="*/ 7644 w 43754"/>
                <a:gd name="connsiteY1" fmla="*/ 1372 h 12454"/>
                <a:gd name="connsiteX2" fmla="*/ 9383 w 43754"/>
                <a:gd name="connsiteY2" fmla="*/ 2005 h 12454"/>
                <a:gd name="connsiteX3" fmla="*/ 11123 w 43754"/>
                <a:gd name="connsiteY3" fmla="*/ 1953 h 12454"/>
                <a:gd name="connsiteX4" fmla="*/ 26780 w 43754"/>
                <a:gd name="connsiteY4" fmla="*/ 1214 h 12454"/>
                <a:gd name="connsiteX5" fmla="*/ 33053 w 43754"/>
                <a:gd name="connsiteY5" fmla="*/ 1794 h 12454"/>
                <a:gd name="connsiteX6" fmla="*/ 37955 w 43754"/>
                <a:gd name="connsiteY6" fmla="*/ 3008 h 12454"/>
                <a:gd name="connsiteX7" fmla="*/ 40169 w 43754"/>
                <a:gd name="connsiteY7" fmla="*/ 3589 h 12454"/>
                <a:gd name="connsiteX8" fmla="*/ 41435 w 43754"/>
                <a:gd name="connsiteY8" fmla="*/ 4116 h 12454"/>
                <a:gd name="connsiteX9" fmla="*/ 42436 w 43754"/>
                <a:gd name="connsiteY9" fmla="*/ 4855 h 12454"/>
                <a:gd name="connsiteX10" fmla="*/ 43543 w 43754"/>
                <a:gd name="connsiteY10" fmla="*/ 6808 h 12454"/>
                <a:gd name="connsiteX11" fmla="*/ 43754 w 43754"/>
                <a:gd name="connsiteY11" fmla="*/ 8708 h 12454"/>
                <a:gd name="connsiteX12" fmla="*/ 43280 w 43754"/>
                <a:gd name="connsiteY12" fmla="*/ 10344 h 12454"/>
                <a:gd name="connsiteX13" fmla="*/ 42436 w 43754"/>
                <a:gd name="connsiteY13" fmla="*/ 11399 h 12454"/>
                <a:gd name="connsiteX14" fmla="*/ 42436 w 43754"/>
                <a:gd name="connsiteY14" fmla="*/ 12455 h 12454"/>
                <a:gd name="connsiteX15" fmla="*/ 27096 w 43754"/>
                <a:gd name="connsiteY15" fmla="*/ 12402 h 12454"/>
                <a:gd name="connsiteX16" fmla="*/ 21982 w 43754"/>
                <a:gd name="connsiteY16" fmla="*/ 12455 h 12454"/>
                <a:gd name="connsiteX17" fmla="*/ 16922 w 43754"/>
                <a:gd name="connsiteY17" fmla="*/ 12032 h 12454"/>
                <a:gd name="connsiteX18" fmla="*/ 11861 w 43754"/>
                <a:gd name="connsiteY18" fmla="*/ 11135 h 12454"/>
                <a:gd name="connsiteX19" fmla="*/ 7328 w 43754"/>
                <a:gd name="connsiteY19" fmla="*/ 10396 h 12454"/>
                <a:gd name="connsiteX20" fmla="*/ 4059 w 43754"/>
                <a:gd name="connsiteY20" fmla="*/ 9869 h 12454"/>
                <a:gd name="connsiteX21" fmla="*/ 2741 w 43754"/>
                <a:gd name="connsiteY21" fmla="*/ 9552 h 12454"/>
                <a:gd name="connsiteX22" fmla="*/ 1845 w 43754"/>
                <a:gd name="connsiteY22" fmla="*/ 8708 h 12454"/>
                <a:gd name="connsiteX23" fmla="*/ 580 w 43754"/>
                <a:gd name="connsiteY23" fmla="*/ 6016 h 12454"/>
                <a:gd name="connsiteX24" fmla="*/ 0 w 43754"/>
                <a:gd name="connsiteY24" fmla="*/ 3114 h 12454"/>
                <a:gd name="connsiteX25" fmla="*/ 4112 w 43754"/>
                <a:gd name="connsiteY25" fmla="*/ 0 h 12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3754" h="12454">
                  <a:moveTo>
                    <a:pt x="4112" y="0"/>
                  </a:moveTo>
                  <a:lnTo>
                    <a:pt x="7644" y="1372"/>
                  </a:lnTo>
                  <a:lnTo>
                    <a:pt x="9383" y="2005"/>
                  </a:lnTo>
                  <a:lnTo>
                    <a:pt x="11123" y="1953"/>
                  </a:lnTo>
                  <a:lnTo>
                    <a:pt x="26780" y="1214"/>
                  </a:lnTo>
                  <a:lnTo>
                    <a:pt x="33053" y="1794"/>
                  </a:lnTo>
                  <a:lnTo>
                    <a:pt x="37955" y="3008"/>
                  </a:lnTo>
                  <a:lnTo>
                    <a:pt x="40169" y="3589"/>
                  </a:lnTo>
                  <a:lnTo>
                    <a:pt x="41435" y="4116"/>
                  </a:lnTo>
                  <a:lnTo>
                    <a:pt x="42436" y="4855"/>
                  </a:lnTo>
                  <a:lnTo>
                    <a:pt x="43543" y="6808"/>
                  </a:lnTo>
                  <a:lnTo>
                    <a:pt x="43754" y="8708"/>
                  </a:lnTo>
                  <a:lnTo>
                    <a:pt x="43280" y="10344"/>
                  </a:lnTo>
                  <a:lnTo>
                    <a:pt x="42436" y="11399"/>
                  </a:lnTo>
                  <a:lnTo>
                    <a:pt x="42436" y="12455"/>
                  </a:lnTo>
                  <a:lnTo>
                    <a:pt x="27096" y="12402"/>
                  </a:lnTo>
                  <a:lnTo>
                    <a:pt x="21982" y="12455"/>
                  </a:lnTo>
                  <a:lnTo>
                    <a:pt x="16922" y="12032"/>
                  </a:lnTo>
                  <a:lnTo>
                    <a:pt x="11861" y="11135"/>
                  </a:lnTo>
                  <a:lnTo>
                    <a:pt x="7328" y="10396"/>
                  </a:lnTo>
                  <a:lnTo>
                    <a:pt x="4059" y="9869"/>
                  </a:lnTo>
                  <a:lnTo>
                    <a:pt x="2741" y="9552"/>
                  </a:lnTo>
                  <a:lnTo>
                    <a:pt x="1845" y="8708"/>
                  </a:lnTo>
                  <a:lnTo>
                    <a:pt x="580" y="6016"/>
                  </a:lnTo>
                  <a:lnTo>
                    <a:pt x="0" y="3114"/>
                  </a:lnTo>
                  <a:lnTo>
                    <a:pt x="4112" y="0"/>
                  </a:lnTo>
                </a:path>
              </a:pathLst>
            </a:custGeom>
            <a:solidFill>
              <a:schemeClr val="bg1"/>
            </a:solidFill>
            <a:ln w="52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FF29A23E-9C0F-1373-4B46-ECFBDB61E124}"/>
                </a:ext>
              </a:extLst>
            </p:cNvPr>
            <p:cNvSpPr/>
            <p:nvPr/>
          </p:nvSpPr>
          <p:spPr>
            <a:xfrm>
              <a:off x="10389916" y="5866621"/>
              <a:ext cx="44492" cy="20423"/>
            </a:xfrm>
            <a:custGeom>
              <a:avLst/>
              <a:gdLst>
                <a:gd name="connsiteX0" fmla="*/ 5219 w 44492"/>
                <a:gd name="connsiteY0" fmla="*/ 0 h 20423"/>
                <a:gd name="connsiteX1" fmla="*/ 12177 w 44492"/>
                <a:gd name="connsiteY1" fmla="*/ 897 h 20423"/>
                <a:gd name="connsiteX2" fmla="*/ 14497 w 44492"/>
                <a:gd name="connsiteY2" fmla="*/ 1161 h 20423"/>
                <a:gd name="connsiteX3" fmla="*/ 16500 w 44492"/>
                <a:gd name="connsiteY3" fmla="*/ 792 h 20423"/>
                <a:gd name="connsiteX4" fmla="*/ 19189 w 44492"/>
                <a:gd name="connsiteY4" fmla="*/ 528 h 20423"/>
                <a:gd name="connsiteX5" fmla="*/ 23406 w 44492"/>
                <a:gd name="connsiteY5" fmla="*/ 844 h 20423"/>
                <a:gd name="connsiteX6" fmla="*/ 29468 w 44492"/>
                <a:gd name="connsiteY6" fmla="*/ 950 h 20423"/>
                <a:gd name="connsiteX7" fmla="*/ 35583 w 44492"/>
                <a:gd name="connsiteY7" fmla="*/ 633 h 20423"/>
                <a:gd name="connsiteX8" fmla="*/ 37692 w 44492"/>
                <a:gd name="connsiteY8" fmla="*/ 581 h 20423"/>
                <a:gd name="connsiteX9" fmla="*/ 39484 w 44492"/>
                <a:gd name="connsiteY9" fmla="*/ 1319 h 20423"/>
                <a:gd name="connsiteX10" fmla="*/ 42647 w 44492"/>
                <a:gd name="connsiteY10" fmla="*/ 3958 h 20423"/>
                <a:gd name="connsiteX11" fmla="*/ 43701 w 44492"/>
                <a:gd name="connsiteY11" fmla="*/ 5277 h 20423"/>
                <a:gd name="connsiteX12" fmla="*/ 44334 w 44492"/>
                <a:gd name="connsiteY12" fmla="*/ 6808 h 20423"/>
                <a:gd name="connsiteX13" fmla="*/ 44492 w 44492"/>
                <a:gd name="connsiteY13" fmla="*/ 8497 h 20423"/>
                <a:gd name="connsiteX14" fmla="*/ 44070 w 44492"/>
                <a:gd name="connsiteY14" fmla="*/ 10185 h 20423"/>
                <a:gd name="connsiteX15" fmla="*/ 42225 w 44492"/>
                <a:gd name="connsiteY15" fmla="*/ 15357 h 20423"/>
                <a:gd name="connsiteX16" fmla="*/ 41171 w 44492"/>
                <a:gd name="connsiteY16" fmla="*/ 17626 h 20423"/>
                <a:gd name="connsiteX17" fmla="*/ 39642 w 44492"/>
                <a:gd name="connsiteY17" fmla="*/ 19473 h 20423"/>
                <a:gd name="connsiteX18" fmla="*/ 38746 w 44492"/>
                <a:gd name="connsiteY18" fmla="*/ 19896 h 20423"/>
                <a:gd name="connsiteX19" fmla="*/ 37692 w 44492"/>
                <a:gd name="connsiteY19" fmla="*/ 19948 h 20423"/>
                <a:gd name="connsiteX20" fmla="*/ 35109 w 44492"/>
                <a:gd name="connsiteY20" fmla="*/ 19473 h 20423"/>
                <a:gd name="connsiteX21" fmla="*/ 32420 w 44492"/>
                <a:gd name="connsiteY21" fmla="*/ 18735 h 20423"/>
                <a:gd name="connsiteX22" fmla="*/ 30101 w 44492"/>
                <a:gd name="connsiteY22" fmla="*/ 18418 h 20423"/>
                <a:gd name="connsiteX23" fmla="*/ 28414 w 44492"/>
                <a:gd name="connsiteY23" fmla="*/ 18840 h 20423"/>
                <a:gd name="connsiteX24" fmla="*/ 26938 w 44492"/>
                <a:gd name="connsiteY24" fmla="*/ 19579 h 20423"/>
                <a:gd name="connsiteX25" fmla="*/ 25409 w 44492"/>
                <a:gd name="connsiteY25" fmla="*/ 20212 h 20423"/>
                <a:gd name="connsiteX26" fmla="*/ 23669 w 44492"/>
                <a:gd name="connsiteY26" fmla="*/ 20423 h 20423"/>
                <a:gd name="connsiteX27" fmla="*/ 18714 w 44492"/>
                <a:gd name="connsiteY27" fmla="*/ 19104 h 20423"/>
                <a:gd name="connsiteX28" fmla="*/ 15920 w 44492"/>
                <a:gd name="connsiteY28" fmla="*/ 18735 h 20423"/>
                <a:gd name="connsiteX29" fmla="*/ 12704 w 44492"/>
                <a:gd name="connsiteY29" fmla="*/ 19262 h 20423"/>
                <a:gd name="connsiteX30" fmla="*/ 11861 w 44492"/>
                <a:gd name="connsiteY30" fmla="*/ 19368 h 20423"/>
                <a:gd name="connsiteX31" fmla="*/ 11070 w 44492"/>
                <a:gd name="connsiteY31" fmla="*/ 18999 h 20423"/>
                <a:gd name="connsiteX32" fmla="*/ 10227 w 44492"/>
                <a:gd name="connsiteY32" fmla="*/ 18576 h 20423"/>
                <a:gd name="connsiteX33" fmla="*/ 9331 w 44492"/>
                <a:gd name="connsiteY33" fmla="*/ 18365 h 20423"/>
                <a:gd name="connsiteX34" fmla="*/ 7380 w 44492"/>
                <a:gd name="connsiteY34" fmla="*/ 18312 h 20423"/>
                <a:gd name="connsiteX35" fmla="*/ 6642 w 44492"/>
                <a:gd name="connsiteY35" fmla="*/ 18049 h 20423"/>
                <a:gd name="connsiteX36" fmla="*/ 6273 w 44492"/>
                <a:gd name="connsiteY36" fmla="*/ 17626 h 20423"/>
                <a:gd name="connsiteX37" fmla="*/ 3901 w 44492"/>
                <a:gd name="connsiteY37" fmla="*/ 13985 h 20423"/>
                <a:gd name="connsiteX38" fmla="*/ 1371 w 44492"/>
                <a:gd name="connsiteY38" fmla="*/ 10977 h 20423"/>
                <a:gd name="connsiteX39" fmla="*/ 316 w 44492"/>
                <a:gd name="connsiteY39" fmla="*/ 9605 h 20423"/>
                <a:gd name="connsiteX40" fmla="*/ 0 w 44492"/>
                <a:gd name="connsiteY40" fmla="*/ 8022 h 20423"/>
                <a:gd name="connsiteX41" fmla="*/ 580 w 44492"/>
                <a:gd name="connsiteY41" fmla="*/ 6122 h 20423"/>
                <a:gd name="connsiteX42" fmla="*/ 1950 w 44492"/>
                <a:gd name="connsiteY42" fmla="*/ 4116 h 20423"/>
                <a:gd name="connsiteX43" fmla="*/ 5219 w 44492"/>
                <a:gd name="connsiteY43" fmla="*/ 0 h 20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492" h="20423">
                  <a:moveTo>
                    <a:pt x="5219" y="0"/>
                  </a:moveTo>
                  <a:lnTo>
                    <a:pt x="12177" y="897"/>
                  </a:lnTo>
                  <a:lnTo>
                    <a:pt x="14497" y="1161"/>
                  </a:lnTo>
                  <a:lnTo>
                    <a:pt x="16500" y="792"/>
                  </a:lnTo>
                  <a:lnTo>
                    <a:pt x="19189" y="528"/>
                  </a:lnTo>
                  <a:lnTo>
                    <a:pt x="23406" y="844"/>
                  </a:lnTo>
                  <a:lnTo>
                    <a:pt x="29468" y="950"/>
                  </a:lnTo>
                  <a:lnTo>
                    <a:pt x="35583" y="633"/>
                  </a:lnTo>
                  <a:lnTo>
                    <a:pt x="37692" y="581"/>
                  </a:lnTo>
                  <a:lnTo>
                    <a:pt x="39484" y="1319"/>
                  </a:lnTo>
                  <a:lnTo>
                    <a:pt x="42647" y="3958"/>
                  </a:lnTo>
                  <a:lnTo>
                    <a:pt x="43701" y="5277"/>
                  </a:lnTo>
                  <a:lnTo>
                    <a:pt x="44334" y="6808"/>
                  </a:lnTo>
                  <a:lnTo>
                    <a:pt x="44492" y="8497"/>
                  </a:lnTo>
                  <a:lnTo>
                    <a:pt x="44070" y="10185"/>
                  </a:lnTo>
                  <a:lnTo>
                    <a:pt x="42225" y="15357"/>
                  </a:lnTo>
                  <a:lnTo>
                    <a:pt x="41171" y="17626"/>
                  </a:lnTo>
                  <a:lnTo>
                    <a:pt x="39642" y="19473"/>
                  </a:lnTo>
                  <a:lnTo>
                    <a:pt x="38746" y="19896"/>
                  </a:lnTo>
                  <a:lnTo>
                    <a:pt x="37692" y="19948"/>
                  </a:lnTo>
                  <a:lnTo>
                    <a:pt x="35109" y="19473"/>
                  </a:lnTo>
                  <a:lnTo>
                    <a:pt x="32420" y="18735"/>
                  </a:lnTo>
                  <a:lnTo>
                    <a:pt x="30101" y="18418"/>
                  </a:lnTo>
                  <a:lnTo>
                    <a:pt x="28414" y="18840"/>
                  </a:lnTo>
                  <a:lnTo>
                    <a:pt x="26938" y="19579"/>
                  </a:lnTo>
                  <a:lnTo>
                    <a:pt x="25409" y="20212"/>
                  </a:lnTo>
                  <a:lnTo>
                    <a:pt x="23669" y="20423"/>
                  </a:lnTo>
                  <a:lnTo>
                    <a:pt x="18714" y="19104"/>
                  </a:lnTo>
                  <a:lnTo>
                    <a:pt x="15920" y="18735"/>
                  </a:lnTo>
                  <a:lnTo>
                    <a:pt x="12704" y="19262"/>
                  </a:lnTo>
                  <a:lnTo>
                    <a:pt x="11861" y="19368"/>
                  </a:lnTo>
                  <a:lnTo>
                    <a:pt x="11070" y="18999"/>
                  </a:lnTo>
                  <a:lnTo>
                    <a:pt x="10227" y="18576"/>
                  </a:lnTo>
                  <a:lnTo>
                    <a:pt x="9331" y="18365"/>
                  </a:lnTo>
                  <a:lnTo>
                    <a:pt x="7380" y="18312"/>
                  </a:lnTo>
                  <a:lnTo>
                    <a:pt x="6642" y="18049"/>
                  </a:lnTo>
                  <a:lnTo>
                    <a:pt x="6273" y="17626"/>
                  </a:lnTo>
                  <a:lnTo>
                    <a:pt x="3901" y="13985"/>
                  </a:lnTo>
                  <a:lnTo>
                    <a:pt x="1371" y="10977"/>
                  </a:lnTo>
                  <a:lnTo>
                    <a:pt x="316" y="9605"/>
                  </a:lnTo>
                  <a:lnTo>
                    <a:pt x="0" y="8022"/>
                  </a:lnTo>
                  <a:lnTo>
                    <a:pt x="580" y="6122"/>
                  </a:lnTo>
                  <a:lnTo>
                    <a:pt x="1950" y="4116"/>
                  </a:lnTo>
                  <a:lnTo>
                    <a:pt x="5219" y="0"/>
                  </a:lnTo>
                </a:path>
              </a:pathLst>
            </a:custGeom>
            <a:solidFill>
              <a:schemeClr val="bg1"/>
            </a:solidFill>
            <a:ln w="52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F49717D1-D84D-56DA-3B95-27DDA120C510}"/>
                </a:ext>
              </a:extLst>
            </p:cNvPr>
            <p:cNvSpPr/>
            <p:nvPr/>
          </p:nvSpPr>
          <p:spPr>
            <a:xfrm>
              <a:off x="10386806" y="5902032"/>
              <a:ext cx="50923" cy="28919"/>
            </a:xfrm>
            <a:custGeom>
              <a:avLst/>
              <a:gdLst>
                <a:gd name="connsiteX0" fmla="*/ 16236 w 50923"/>
                <a:gd name="connsiteY0" fmla="*/ 158 h 28919"/>
                <a:gd name="connsiteX1" fmla="*/ 18820 w 50923"/>
                <a:gd name="connsiteY1" fmla="*/ 0 h 28919"/>
                <a:gd name="connsiteX2" fmla="*/ 21403 w 50923"/>
                <a:gd name="connsiteY2" fmla="*/ 264 h 28919"/>
                <a:gd name="connsiteX3" fmla="*/ 36268 w 50923"/>
                <a:gd name="connsiteY3" fmla="*/ 1742 h 28919"/>
                <a:gd name="connsiteX4" fmla="*/ 40433 w 50923"/>
                <a:gd name="connsiteY4" fmla="*/ 2375 h 28919"/>
                <a:gd name="connsiteX5" fmla="*/ 44387 w 50923"/>
                <a:gd name="connsiteY5" fmla="*/ 3483 h 28919"/>
                <a:gd name="connsiteX6" fmla="*/ 46179 w 50923"/>
                <a:gd name="connsiteY6" fmla="*/ 4591 h 28919"/>
                <a:gd name="connsiteX7" fmla="*/ 47760 w 50923"/>
                <a:gd name="connsiteY7" fmla="*/ 6175 h 28919"/>
                <a:gd name="connsiteX8" fmla="*/ 49078 w 50923"/>
                <a:gd name="connsiteY8" fmla="*/ 8549 h 28919"/>
                <a:gd name="connsiteX9" fmla="*/ 50133 w 50923"/>
                <a:gd name="connsiteY9" fmla="*/ 11716 h 28919"/>
                <a:gd name="connsiteX10" fmla="*/ 50923 w 50923"/>
                <a:gd name="connsiteY10" fmla="*/ 17099 h 28919"/>
                <a:gd name="connsiteX11" fmla="*/ 50660 w 50923"/>
                <a:gd name="connsiteY11" fmla="*/ 19790 h 28919"/>
                <a:gd name="connsiteX12" fmla="*/ 49658 w 50923"/>
                <a:gd name="connsiteY12" fmla="*/ 22270 h 28919"/>
                <a:gd name="connsiteX13" fmla="*/ 48288 w 50923"/>
                <a:gd name="connsiteY13" fmla="*/ 23854 h 28919"/>
                <a:gd name="connsiteX14" fmla="*/ 46495 w 50923"/>
                <a:gd name="connsiteY14" fmla="*/ 25226 h 28919"/>
                <a:gd name="connsiteX15" fmla="*/ 41698 w 50923"/>
                <a:gd name="connsiteY15" fmla="*/ 27284 h 28919"/>
                <a:gd name="connsiteX16" fmla="*/ 29099 w 50923"/>
                <a:gd name="connsiteY16" fmla="*/ 28920 h 28919"/>
                <a:gd name="connsiteX17" fmla="*/ 25093 w 50923"/>
                <a:gd name="connsiteY17" fmla="*/ 28392 h 28919"/>
                <a:gd name="connsiteX18" fmla="*/ 21244 w 50923"/>
                <a:gd name="connsiteY18" fmla="*/ 27284 h 28919"/>
                <a:gd name="connsiteX19" fmla="*/ 17396 w 50923"/>
                <a:gd name="connsiteY19" fmla="*/ 26228 h 28919"/>
                <a:gd name="connsiteX20" fmla="*/ 13653 w 50923"/>
                <a:gd name="connsiteY20" fmla="*/ 25806 h 28919"/>
                <a:gd name="connsiteX21" fmla="*/ 8382 w 50923"/>
                <a:gd name="connsiteY21" fmla="*/ 25173 h 28919"/>
                <a:gd name="connsiteX22" fmla="*/ 4428 w 50923"/>
                <a:gd name="connsiteY22" fmla="*/ 23220 h 28919"/>
                <a:gd name="connsiteX23" fmla="*/ 1792 w 50923"/>
                <a:gd name="connsiteY23" fmla="*/ 20423 h 28919"/>
                <a:gd name="connsiteX24" fmla="*/ 369 w 50923"/>
                <a:gd name="connsiteY24" fmla="*/ 17257 h 28919"/>
                <a:gd name="connsiteX25" fmla="*/ 0 w 50923"/>
                <a:gd name="connsiteY25" fmla="*/ 13774 h 28919"/>
                <a:gd name="connsiteX26" fmla="*/ 843 w 50923"/>
                <a:gd name="connsiteY26" fmla="*/ 10766 h 28919"/>
                <a:gd name="connsiteX27" fmla="*/ 2583 w 50923"/>
                <a:gd name="connsiteY27" fmla="*/ 8233 h 28919"/>
                <a:gd name="connsiteX28" fmla="*/ 4850 w 50923"/>
                <a:gd name="connsiteY28" fmla="*/ 6227 h 28919"/>
                <a:gd name="connsiteX29" fmla="*/ 9805 w 50923"/>
                <a:gd name="connsiteY29" fmla="*/ 3483 h 28919"/>
                <a:gd name="connsiteX30" fmla="*/ 13179 w 50923"/>
                <a:gd name="connsiteY30" fmla="*/ 2269 h 28919"/>
                <a:gd name="connsiteX31" fmla="*/ 14022 w 50923"/>
                <a:gd name="connsiteY31" fmla="*/ 1847 h 28919"/>
                <a:gd name="connsiteX32" fmla="*/ 14602 w 50923"/>
                <a:gd name="connsiteY32" fmla="*/ 1267 h 28919"/>
                <a:gd name="connsiteX33" fmla="*/ 15235 w 50923"/>
                <a:gd name="connsiteY33" fmla="*/ 633 h 28919"/>
                <a:gd name="connsiteX34" fmla="*/ 16236 w 50923"/>
                <a:gd name="connsiteY34" fmla="*/ 158 h 28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0923" h="28919">
                  <a:moveTo>
                    <a:pt x="16236" y="158"/>
                  </a:moveTo>
                  <a:lnTo>
                    <a:pt x="18820" y="0"/>
                  </a:lnTo>
                  <a:lnTo>
                    <a:pt x="21403" y="264"/>
                  </a:lnTo>
                  <a:lnTo>
                    <a:pt x="36268" y="1742"/>
                  </a:lnTo>
                  <a:lnTo>
                    <a:pt x="40433" y="2375"/>
                  </a:lnTo>
                  <a:lnTo>
                    <a:pt x="44387" y="3483"/>
                  </a:lnTo>
                  <a:lnTo>
                    <a:pt x="46179" y="4591"/>
                  </a:lnTo>
                  <a:lnTo>
                    <a:pt x="47760" y="6175"/>
                  </a:lnTo>
                  <a:lnTo>
                    <a:pt x="49078" y="8549"/>
                  </a:lnTo>
                  <a:lnTo>
                    <a:pt x="50133" y="11716"/>
                  </a:lnTo>
                  <a:lnTo>
                    <a:pt x="50923" y="17099"/>
                  </a:lnTo>
                  <a:lnTo>
                    <a:pt x="50660" y="19790"/>
                  </a:lnTo>
                  <a:lnTo>
                    <a:pt x="49658" y="22270"/>
                  </a:lnTo>
                  <a:lnTo>
                    <a:pt x="48288" y="23854"/>
                  </a:lnTo>
                  <a:lnTo>
                    <a:pt x="46495" y="25226"/>
                  </a:lnTo>
                  <a:lnTo>
                    <a:pt x="41698" y="27284"/>
                  </a:lnTo>
                  <a:lnTo>
                    <a:pt x="29099" y="28920"/>
                  </a:lnTo>
                  <a:lnTo>
                    <a:pt x="25093" y="28392"/>
                  </a:lnTo>
                  <a:lnTo>
                    <a:pt x="21244" y="27284"/>
                  </a:lnTo>
                  <a:lnTo>
                    <a:pt x="17396" y="26228"/>
                  </a:lnTo>
                  <a:lnTo>
                    <a:pt x="13653" y="25806"/>
                  </a:lnTo>
                  <a:lnTo>
                    <a:pt x="8382" y="25173"/>
                  </a:lnTo>
                  <a:lnTo>
                    <a:pt x="4428" y="23220"/>
                  </a:lnTo>
                  <a:lnTo>
                    <a:pt x="1792" y="20423"/>
                  </a:lnTo>
                  <a:lnTo>
                    <a:pt x="369" y="17257"/>
                  </a:lnTo>
                  <a:lnTo>
                    <a:pt x="0" y="13774"/>
                  </a:lnTo>
                  <a:lnTo>
                    <a:pt x="843" y="10766"/>
                  </a:lnTo>
                  <a:lnTo>
                    <a:pt x="2583" y="8233"/>
                  </a:lnTo>
                  <a:lnTo>
                    <a:pt x="4850" y="6227"/>
                  </a:lnTo>
                  <a:lnTo>
                    <a:pt x="9805" y="3483"/>
                  </a:lnTo>
                  <a:lnTo>
                    <a:pt x="13179" y="2269"/>
                  </a:lnTo>
                  <a:lnTo>
                    <a:pt x="14022" y="1847"/>
                  </a:lnTo>
                  <a:lnTo>
                    <a:pt x="14602" y="1267"/>
                  </a:lnTo>
                  <a:lnTo>
                    <a:pt x="15235" y="633"/>
                  </a:lnTo>
                  <a:lnTo>
                    <a:pt x="16236" y="158"/>
                  </a:lnTo>
                </a:path>
              </a:pathLst>
            </a:custGeom>
            <a:solidFill>
              <a:schemeClr val="bg1"/>
            </a:solidFill>
            <a:ln w="52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CF16696D-FA7B-1075-5429-04049933DF63}"/>
                </a:ext>
              </a:extLst>
            </p:cNvPr>
            <p:cNvSpPr/>
            <p:nvPr/>
          </p:nvSpPr>
          <p:spPr>
            <a:xfrm>
              <a:off x="10390391" y="5943881"/>
              <a:ext cx="42594" cy="27917"/>
            </a:xfrm>
            <a:custGeom>
              <a:avLst/>
              <a:gdLst>
                <a:gd name="connsiteX0" fmla="*/ 24038 w 42594"/>
                <a:gd name="connsiteY0" fmla="*/ 0 h 27917"/>
                <a:gd name="connsiteX1" fmla="*/ 28888 w 42594"/>
                <a:gd name="connsiteY1" fmla="*/ 422 h 27917"/>
                <a:gd name="connsiteX2" fmla="*/ 33949 w 42594"/>
                <a:gd name="connsiteY2" fmla="*/ 2269 h 27917"/>
                <a:gd name="connsiteX3" fmla="*/ 35425 w 42594"/>
                <a:gd name="connsiteY3" fmla="*/ 3694 h 27917"/>
                <a:gd name="connsiteX4" fmla="*/ 36637 w 42594"/>
                <a:gd name="connsiteY4" fmla="*/ 4802 h 27917"/>
                <a:gd name="connsiteX5" fmla="*/ 39168 w 42594"/>
                <a:gd name="connsiteY5" fmla="*/ 5330 h 27917"/>
                <a:gd name="connsiteX6" fmla="*/ 40380 w 42594"/>
                <a:gd name="connsiteY6" fmla="*/ 5700 h 27917"/>
                <a:gd name="connsiteX7" fmla="*/ 41171 w 42594"/>
                <a:gd name="connsiteY7" fmla="*/ 6386 h 27917"/>
                <a:gd name="connsiteX8" fmla="*/ 42489 w 42594"/>
                <a:gd name="connsiteY8" fmla="*/ 12191 h 27917"/>
                <a:gd name="connsiteX9" fmla="*/ 42594 w 42594"/>
                <a:gd name="connsiteY9" fmla="*/ 15885 h 27917"/>
                <a:gd name="connsiteX10" fmla="*/ 42014 w 42594"/>
                <a:gd name="connsiteY10" fmla="*/ 18946 h 27917"/>
                <a:gd name="connsiteX11" fmla="*/ 40907 w 42594"/>
                <a:gd name="connsiteY11" fmla="*/ 20846 h 27917"/>
                <a:gd name="connsiteX12" fmla="*/ 39326 w 42594"/>
                <a:gd name="connsiteY12" fmla="*/ 22534 h 27917"/>
                <a:gd name="connsiteX13" fmla="*/ 35161 w 42594"/>
                <a:gd name="connsiteY13" fmla="*/ 25173 h 27917"/>
                <a:gd name="connsiteX14" fmla="*/ 29943 w 42594"/>
                <a:gd name="connsiteY14" fmla="*/ 26915 h 27917"/>
                <a:gd name="connsiteX15" fmla="*/ 24091 w 42594"/>
                <a:gd name="connsiteY15" fmla="*/ 27812 h 27917"/>
                <a:gd name="connsiteX16" fmla="*/ 18081 w 42594"/>
                <a:gd name="connsiteY16" fmla="*/ 27917 h 27917"/>
                <a:gd name="connsiteX17" fmla="*/ 12335 w 42594"/>
                <a:gd name="connsiteY17" fmla="*/ 27231 h 27917"/>
                <a:gd name="connsiteX18" fmla="*/ 7275 w 42594"/>
                <a:gd name="connsiteY18" fmla="*/ 25912 h 27917"/>
                <a:gd name="connsiteX19" fmla="*/ 3427 w 42594"/>
                <a:gd name="connsiteY19" fmla="*/ 23959 h 27917"/>
                <a:gd name="connsiteX20" fmla="*/ 2214 w 42594"/>
                <a:gd name="connsiteY20" fmla="*/ 22798 h 27917"/>
                <a:gd name="connsiteX21" fmla="*/ 1371 w 42594"/>
                <a:gd name="connsiteY21" fmla="*/ 21426 h 27917"/>
                <a:gd name="connsiteX22" fmla="*/ 316 w 42594"/>
                <a:gd name="connsiteY22" fmla="*/ 18312 h 27917"/>
                <a:gd name="connsiteX23" fmla="*/ 0 w 42594"/>
                <a:gd name="connsiteY23" fmla="*/ 14882 h 27917"/>
                <a:gd name="connsiteX24" fmla="*/ 685 w 42594"/>
                <a:gd name="connsiteY24" fmla="*/ 11874 h 27917"/>
                <a:gd name="connsiteX25" fmla="*/ 2267 w 42594"/>
                <a:gd name="connsiteY25" fmla="*/ 9288 h 27917"/>
                <a:gd name="connsiteX26" fmla="*/ 4375 w 42594"/>
                <a:gd name="connsiteY26" fmla="*/ 7124 h 27917"/>
                <a:gd name="connsiteX27" fmla="*/ 9594 w 42594"/>
                <a:gd name="connsiteY27" fmla="*/ 4116 h 27917"/>
                <a:gd name="connsiteX28" fmla="*/ 14444 w 42594"/>
                <a:gd name="connsiteY28" fmla="*/ 2797 h 27917"/>
                <a:gd name="connsiteX29" fmla="*/ 19347 w 42594"/>
                <a:gd name="connsiteY29" fmla="*/ 1319 h 27917"/>
                <a:gd name="connsiteX30" fmla="*/ 24038 w 42594"/>
                <a:gd name="connsiteY30" fmla="*/ 0 h 27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2594" h="27917">
                  <a:moveTo>
                    <a:pt x="24038" y="0"/>
                  </a:moveTo>
                  <a:lnTo>
                    <a:pt x="28888" y="422"/>
                  </a:lnTo>
                  <a:lnTo>
                    <a:pt x="33949" y="2269"/>
                  </a:lnTo>
                  <a:lnTo>
                    <a:pt x="35425" y="3694"/>
                  </a:lnTo>
                  <a:lnTo>
                    <a:pt x="36637" y="4802"/>
                  </a:lnTo>
                  <a:lnTo>
                    <a:pt x="39168" y="5330"/>
                  </a:lnTo>
                  <a:lnTo>
                    <a:pt x="40380" y="5700"/>
                  </a:lnTo>
                  <a:lnTo>
                    <a:pt x="41171" y="6386"/>
                  </a:lnTo>
                  <a:lnTo>
                    <a:pt x="42489" y="12191"/>
                  </a:lnTo>
                  <a:lnTo>
                    <a:pt x="42594" y="15885"/>
                  </a:lnTo>
                  <a:lnTo>
                    <a:pt x="42014" y="18946"/>
                  </a:lnTo>
                  <a:lnTo>
                    <a:pt x="40907" y="20846"/>
                  </a:lnTo>
                  <a:lnTo>
                    <a:pt x="39326" y="22534"/>
                  </a:lnTo>
                  <a:lnTo>
                    <a:pt x="35161" y="25173"/>
                  </a:lnTo>
                  <a:lnTo>
                    <a:pt x="29943" y="26915"/>
                  </a:lnTo>
                  <a:lnTo>
                    <a:pt x="24091" y="27812"/>
                  </a:lnTo>
                  <a:lnTo>
                    <a:pt x="18081" y="27917"/>
                  </a:lnTo>
                  <a:lnTo>
                    <a:pt x="12335" y="27231"/>
                  </a:lnTo>
                  <a:lnTo>
                    <a:pt x="7275" y="25912"/>
                  </a:lnTo>
                  <a:lnTo>
                    <a:pt x="3427" y="23959"/>
                  </a:lnTo>
                  <a:lnTo>
                    <a:pt x="2214" y="22798"/>
                  </a:lnTo>
                  <a:lnTo>
                    <a:pt x="1371" y="21426"/>
                  </a:lnTo>
                  <a:lnTo>
                    <a:pt x="316" y="18312"/>
                  </a:lnTo>
                  <a:lnTo>
                    <a:pt x="0" y="14882"/>
                  </a:lnTo>
                  <a:lnTo>
                    <a:pt x="685" y="11874"/>
                  </a:lnTo>
                  <a:lnTo>
                    <a:pt x="2267" y="9288"/>
                  </a:lnTo>
                  <a:lnTo>
                    <a:pt x="4375" y="7124"/>
                  </a:lnTo>
                  <a:lnTo>
                    <a:pt x="9594" y="4116"/>
                  </a:lnTo>
                  <a:lnTo>
                    <a:pt x="14444" y="2797"/>
                  </a:lnTo>
                  <a:lnTo>
                    <a:pt x="19347" y="1319"/>
                  </a:lnTo>
                  <a:lnTo>
                    <a:pt x="24038" y="0"/>
                  </a:lnTo>
                </a:path>
              </a:pathLst>
            </a:custGeom>
            <a:solidFill>
              <a:schemeClr val="bg1"/>
            </a:solidFill>
            <a:ln w="52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13412CE7-E614-BF67-264A-9451183F019C}"/>
              </a:ext>
            </a:extLst>
          </p:cNvPr>
          <p:cNvSpPr>
            <a:spLocks noChangeAspect="1"/>
          </p:cNvSpPr>
          <p:nvPr userDrawn="1"/>
        </p:nvSpPr>
        <p:spPr>
          <a:xfrm>
            <a:off x="9091496" y="6136723"/>
            <a:ext cx="210312" cy="21031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95FA4B09-FCAA-A7A1-6550-CC158A9C4982}"/>
              </a:ext>
            </a:extLst>
          </p:cNvPr>
          <p:cNvSpPr>
            <a:spLocks noChangeAspect="1"/>
          </p:cNvSpPr>
          <p:nvPr userDrawn="1"/>
        </p:nvSpPr>
        <p:spPr>
          <a:xfrm>
            <a:off x="10979288" y="3658993"/>
            <a:ext cx="362221" cy="36222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83170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lanet in space&#10;&#10;Description automatically generated with low confidence">
            <a:extLst>
              <a:ext uri="{FF2B5EF4-FFF2-40B4-BE49-F238E27FC236}">
                <a16:creationId xmlns:a16="http://schemas.microsoft.com/office/drawing/2014/main" xmlns="" id="{313ACBB8-4986-9398-81E2-C5A4BE27F5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636399" cy="6858001"/>
          </a:xfrm>
          <a:custGeom>
            <a:avLst/>
            <a:gdLst>
              <a:gd name="connsiteX0" fmla="*/ 0 w 5636399"/>
              <a:gd name="connsiteY0" fmla="*/ 0 h 6660590"/>
              <a:gd name="connsiteX1" fmla="*/ 5636399 w 5636399"/>
              <a:gd name="connsiteY1" fmla="*/ 0 h 6660590"/>
              <a:gd name="connsiteX2" fmla="*/ 5636399 w 5636399"/>
              <a:gd name="connsiteY2" fmla="*/ 6660590 h 6660590"/>
              <a:gd name="connsiteX3" fmla="*/ 0 w 5636399"/>
              <a:gd name="connsiteY3" fmla="*/ 6660590 h 6660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36399" h="6660590">
                <a:moveTo>
                  <a:pt x="0" y="0"/>
                </a:moveTo>
                <a:lnTo>
                  <a:pt x="5636399" y="0"/>
                </a:lnTo>
                <a:lnTo>
                  <a:pt x="5636399" y="6660590"/>
                </a:lnTo>
                <a:lnTo>
                  <a:pt x="0" y="6660590"/>
                </a:lnTo>
                <a:close/>
              </a:path>
            </a:pathLst>
          </a:cu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01A44FAD-6DFD-C07A-328C-35C4262ABD4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68474" y="1260764"/>
            <a:ext cx="4019478" cy="401947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xmlns="" id="{8306019C-5539-2A51-4CC8-3A7F9C609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553" y="2456231"/>
            <a:ext cx="3299320" cy="1048494"/>
          </a:xfrm>
        </p:spPr>
        <p:txBody>
          <a:bodyPr>
            <a:noAutofit/>
          </a:bodyPr>
          <a:lstStyle>
            <a:lvl1pPr marL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x-none" sz="3200" kern="1200">
                <a:solidFill>
                  <a:schemeClr val="bg1"/>
                </a:soli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Agenda</a:t>
            </a:r>
            <a:br>
              <a:rPr lang="en-US"/>
            </a:br>
            <a:r>
              <a:rPr lang="en-US"/>
              <a:t>(Arial 32pt)</a:t>
            </a:r>
            <a:endParaRPr lang="x-non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7F0BA483-841A-AD1E-89F6-BA7D225B4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9100" y="3668828"/>
            <a:ext cx="3298227" cy="535531"/>
          </a:xfrm>
        </p:spPr>
        <p:txBody>
          <a:bodyPr lIns="91440" tIns="45720" rIns="91440" bIns="45720">
            <a:sp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  <a:br>
              <a:rPr lang="en-US"/>
            </a:br>
            <a:r>
              <a:rPr lang="en-US"/>
              <a:t>(Arial Bold 16pt)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xmlns="" id="{8EABF6FD-DB8A-D499-5CAC-A58ADC72E1B1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4209B340-845F-2D14-2E99-408C80DB1E08}"/>
              </a:ext>
            </a:extLst>
          </p:cNvPr>
          <p:cNvGrpSpPr/>
          <p:nvPr userDrawn="1"/>
        </p:nvGrpSpPr>
        <p:grpSpPr>
          <a:xfrm>
            <a:off x="10575235" y="6274936"/>
            <a:ext cx="1369766" cy="200074"/>
            <a:chOff x="10575235" y="6274936"/>
            <a:chExt cx="1369766" cy="200074"/>
          </a:xfrm>
        </p:grpSpPr>
        <p:grpSp>
          <p:nvGrpSpPr>
            <p:cNvPr id="5" name="Picture 15">
              <a:extLst>
                <a:ext uri="{FF2B5EF4-FFF2-40B4-BE49-F238E27FC236}">
                  <a16:creationId xmlns:a16="http://schemas.microsoft.com/office/drawing/2014/main" xmlns="" id="{9F2C8581-4317-C749-5672-AB6635850062}"/>
                </a:ext>
              </a:extLst>
            </p:cNvPr>
            <p:cNvGrpSpPr/>
            <p:nvPr/>
          </p:nvGrpSpPr>
          <p:grpSpPr>
            <a:xfrm>
              <a:off x="10575235" y="6274936"/>
              <a:ext cx="1369766" cy="197362"/>
              <a:chOff x="10575235" y="6274936"/>
              <a:chExt cx="1369766" cy="197362"/>
            </a:xfrm>
            <a:solidFill>
              <a:srgbClr val="28509C"/>
            </a:solidFill>
          </p:grpSpPr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xmlns="" id="{0291C492-60D6-9965-491C-DBB01FF31C12}"/>
                  </a:ext>
                </a:extLst>
              </p:cNvPr>
              <p:cNvSpPr/>
              <p:nvPr/>
            </p:nvSpPr>
            <p:spPr>
              <a:xfrm>
                <a:off x="11272784" y="6274936"/>
                <a:ext cx="169375" cy="193338"/>
              </a:xfrm>
              <a:custGeom>
                <a:avLst/>
                <a:gdLst>
                  <a:gd name="connsiteX0" fmla="*/ 84665 w 169375"/>
                  <a:gd name="connsiteY0" fmla="*/ 0 h 193338"/>
                  <a:gd name="connsiteX1" fmla="*/ 0 w 169375"/>
                  <a:gd name="connsiteY1" fmla="*/ 193339 h 193338"/>
                  <a:gd name="connsiteX2" fmla="*/ 18152 w 169375"/>
                  <a:gd name="connsiteY2" fmla="*/ 193339 h 193338"/>
                  <a:gd name="connsiteX3" fmla="*/ 47819 w 169375"/>
                  <a:gd name="connsiteY3" fmla="*/ 125578 h 193338"/>
                  <a:gd name="connsiteX4" fmla="*/ 121602 w 169375"/>
                  <a:gd name="connsiteY4" fmla="*/ 125578 h 193338"/>
                  <a:gd name="connsiteX5" fmla="*/ 151449 w 169375"/>
                  <a:gd name="connsiteY5" fmla="*/ 193339 h 193338"/>
                  <a:gd name="connsiteX6" fmla="*/ 169375 w 169375"/>
                  <a:gd name="connsiteY6" fmla="*/ 193339 h 193338"/>
                  <a:gd name="connsiteX7" fmla="*/ 84665 w 169375"/>
                  <a:gd name="connsiteY7" fmla="*/ 0 h 193338"/>
                  <a:gd name="connsiteX8" fmla="*/ 54953 w 169375"/>
                  <a:gd name="connsiteY8" fmla="*/ 109168 h 193338"/>
                  <a:gd name="connsiteX9" fmla="*/ 84530 w 169375"/>
                  <a:gd name="connsiteY9" fmla="*/ 41498 h 193338"/>
                  <a:gd name="connsiteX10" fmla="*/ 114332 w 169375"/>
                  <a:gd name="connsiteY10" fmla="*/ 109168 h 193338"/>
                  <a:gd name="connsiteX11" fmla="*/ 54908 w 169375"/>
                  <a:gd name="connsiteY11" fmla="*/ 109168 h 193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9375" h="193338">
                    <a:moveTo>
                      <a:pt x="84665" y="0"/>
                    </a:moveTo>
                    <a:lnTo>
                      <a:pt x="0" y="193339"/>
                    </a:lnTo>
                    <a:lnTo>
                      <a:pt x="18152" y="193339"/>
                    </a:lnTo>
                    <a:lnTo>
                      <a:pt x="47819" y="125578"/>
                    </a:lnTo>
                    <a:lnTo>
                      <a:pt x="121602" y="125578"/>
                    </a:lnTo>
                    <a:lnTo>
                      <a:pt x="151449" y="193339"/>
                    </a:lnTo>
                    <a:lnTo>
                      <a:pt x="169375" y="193339"/>
                    </a:lnTo>
                    <a:lnTo>
                      <a:pt x="84665" y="0"/>
                    </a:lnTo>
                    <a:close/>
                    <a:moveTo>
                      <a:pt x="54953" y="109168"/>
                    </a:moveTo>
                    <a:lnTo>
                      <a:pt x="84530" y="41498"/>
                    </a:lnTo>
                    <a:lnTo>
                      <a:pt x="114332" y="109168"/>
                    </a:lnTo>
                    <a:lnTo>
                      <a:pt x="54908" y="109168"/>
                    </a:lnTo>
                    <a:close/>
                  </a:path>
                </a:pathLst>
              </a:custGeom>
              <a:solidFill>
                <a:srgbClr val="28509C"/>
              </a:solidFill>
              <a:ln w="4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xmlns="" id="{AE326681-E464-2C61-D076-C627FFB1B2C4}"/>
                  </a:ext>
                </a:extLst>
              </p:cNvPr>
              <p:cNvSpPr/>
              <p:nvPr/>
            </p:nvSpPr>
            <p:spPr>
              <a:xfrm>
                <a:off x="11665358" y="6278959"/>
                <a:ext cx="16391" cy="189270"/>
              </a:xfrm>
              <a:custGeom>
                <a:avLst/>
                <a:gdLst>
                  <a:gd name="connsiteX0" fmla="*/ 0 w 16391"/>
                  <a:gd name="connsiteY0" fmla="*/ 0 h 189270"/>
                  <a:gd name="connsiteX1" fmla="*/ 16391 w 16391"/>
                  <a:gd name="connsiteY1" fmla="*/ 0 h 189270"/>
                  <a:gd name="connsiteX2" fmla="*/ 16391 w 16391"/>
                  <a:gd name="connsiteY2" fmla="*/ 189270 h 189270"/>
                  <a:gd name="connsiteX3" fmla="*/ 0 w 16391"/>
                  <a:gd name="connsiteY3" fmla="*/ 189270 h 189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391" h="189270">
                    <a:moveTo>
                      <a:pt x="0" y="0"/>
                    </a:moveTo>
                    <a:lnTo>
                      <a:pt x="16391" y="0"/>
                    </a:lnTo>
                    <a:lnTo>
                      <a:pt x="16391" y="189270"/>
                    </a:lnTo>
                    <a:lnTo>
                      <a:pt x="0" y="189270"/>
                    </a:lnTo>
                    <a:close/>
                  </a:path>
                </a:pathLst>
              </a:custGeom>
              <a:solidFill>
                <a:srgbClr val="28509C"/>
              </a:solidFill>
              <a:ln w="4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A98EF29C-6578-DD38-2C1D-485D0B0DA84A}"/>
                  </a:ext>
                </a:extLst>
              </p:cNvPr>
              <p:cNvSpPr/>
              <p:nvPr/>
            </p:nvSpPr>
            <p:spPr>
              <a:xfrm>
                <a:off x="11064892" y="6275252"/>
                <a:ext cx="173574" cy="192977"/>
              </a:xfrm>
              <a:custGeom>
                <a:avLst/>
                <a:gdLst>
                  <a:gd name="connsiteX0" fmla="*/ 86381 w 173574"/>
                  <a:gd name="connsiteY0" fmla="*/ 87244 h 192977"/>
                  <a:gd name="connsiteX1" fmla="*/ 0 w 173574"/>
                  <a:gd name="connsiteY1" fmla="*/ 90 h 192977"/>
                  <a:gd name="connsiteX2" fmla="*/ 90 w 173574"/>
                  <a:gd name="connsiteY2" fmla="*/ 192977 h 192977"/>
                  <a:gd name="connsiteX3" fmla="*/ 16481 w 173574"/>
                  <a:gd name="connsiteY3" fmla="*/ 192977 h 192977"/>
                  <a:gd name="connsiteX4" fmla="*/ 16481 w 173574"/>
                  <a:gd name="connsiteY4" fmla="*/ 40096 h 192977"/>
                  <a:gd name="connsiteX5" fmla="*/ 86200 w 173574"/>
                  <a:gd name="connsiteY5" fmla="*/ 110705 h 192977"/>
                  <a:gd name="connsiteX6" fmla="*/ 157183 w 173574"/>
                  <a:gd name="connsiteY6" fmla="*/ 39735 h 192977"/>
                  <a:gd name="connsiteX7" fmla="*/ 157183 w 173574"/>
                  <a:gd name="connsiteY7" fmla="*/ 192977 h 192977"/>
                  <a:gd name="connsiteX8" fmla="*/ 173575 w 173574"/>
                  <a:gd name="connsiteY8" fmla="*/ 192977 h 192977"/>
                  <a:gd name="connsiteX9" fmla="*/ 173575 w 173574"/>
                  <a:gd name="connsiteY9" fmla="*/ 0 h 192977"/>
                  <a:gd name="connsiteX10" fmla="*/ 86381 w 173574"/>
                  <a:gd name="connsiteY10" fmla="*/ 87244 h 192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3574" h="192977">
                    <a:moveTo>
                      <a:pt x="86381" y="87244"/>
                    </a:moveTo>
                    <a:lnTo>
                      <a:pt x="0" y="90"/>
                    </a:lnTo>
                    <a:lnTo>
                      <a:pt x="90" y="192977"/>
                    </a:lnTo>
                    <a:lnTo>
                      <a:pt x="16481" y="192977"/>
                    </a:lnTo>
                    <a:lnTo>
                      <a:pt x="16481" y="40096"/>
                    </a:lnTo>
                    <a:lnTo>
                      <a:pt x="86200" y="110705"/>
                    </a:lnTo>
                    <a:lnTo>
                      <a:pt x="157183" y="39735"/>
                    </a:lnTo>
                    <a:lnTo>
                      <a:pt x="157183" y="192977"/>
                    </a:lnTo>
                    <a:lnTo>
                      <a:pt x="173575" y="192977"/>
                    </a:lnTo>
                    <a:lnTo>
                      <a:pt x="173575" y="0"/>
                    </a:lnTo>
                    <a:lnTo>
                      <a:pt x="86381" y="87244"/>
                    </a:lnTo>
                    <a:close/>
                  </a:path>
                </a:pathLst>
              </a:custGeom>
              <a:solidFill>
                <a:srgbClr val="28509C"/>
              </a:solidFill>
              <a:ln w="4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xmlns="" id="{6E60E823-3AA6-584D-48A2-4C031858DCB4}"/>
                  </a:ext>
                </a:extLst>
              </p:cNvPr>
              <p:cNvSpPr/>
              <p:nvPr/>
            </p:nvSpPr>
            <p:spPr>
              <a:xfrm>
                <a:off x="11748849" y="6275749"/>
                <a:ext cx="143095" cy="196548"/>
              </a:xfrm>
              <a:custGeom>
                <a:avLst/>
                <a:gdLst>
                  <a:gd name="connsiteX0" fmla="*/ 126659 w 143095"/>
                  <a:gd name="connsiteY0" fmla="*/ 3210 h 196548"/>
                  <a:gd name="connsiteX1" fmla="*/ 126659 w 143095"/>
                  <a:gd name="connsiteY1" fmla="*/ 150621 h 196548"/>
                  <a:gd name="connsiteX2" fmla="*/ 0 w 143095"/>
                  <a:gd name="connsiteY2" fmla="*/ 0 h 196548"/>
                  <a:gd name="connsiteX3" fmla="*/ 0 w 143095"/>
                  <a:gd name="connsiteY3" fmla="*/ 26219 h 196548"/>
                  <a:gd name="connsiteX4" fmla="*/ 0 w 143095"/>
                  <a:gd name="connsiteY4" fmla="*/ 192480 h 196548"/>
                  <a:gd name="connsiteX5" fmla="*/ 16391 w 143095"/>
                  <a:gd name="connsiteY5" fmla="*/ 192480 h 196548"/>
                  <a:gd name="connsiteX6" fmla="*/ 16391 w 143095"/>
                  <a:gd name="connsiteY6" fmla="*/ 45747 h 196548"/>
                  <a:gd name="connsiteX7" fmla="*/ 143095 w 143095"/>
                  <a:gd name="connsiteY7" fmla="*/ 196548 h 196548"/>
                  <a:gd name="connsiteX8" fmla="*/ 143095 w 143095"/>
                  <a:gd name="connsiteY8" fmla="*/ 3210 h 196548"/>
                  <a:gd name="connsiteX9" fmla="*/ 126659 w 143095"/>
                  <a:gd name="connsiteY9" fmla="*/ 3210 h 19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095" h="196548">
                    <a:moveTo>
                      <a:pt x="126659" y="3210"/>
                    </a:moveTo>
                    <a:lnTo>
                      <a:pt x="126659" y="150621"/>
                    </a:lnTo>
                    <a:lnTo>
                      <a:pt x="0" y="0"/>
                    </a:lnTo>
                    <a:lnTo>
                      <a:pt x="0" y="26219"/>
                    </a:lnTo>
                    <a:lnTo>
                      <a:pt x="0" y="192480"/>
                    </a:lnTo>
                    <a:lnTo>
                      <a:pt x="16391" y="192480"/>
                    </a:lnTo>
                    <a:lnTo>
                      <a:pt x="16391" y="45747"/>
                    </a:lnTo>
                    <a:lnTo>
                      <a:pt x="143095" y="196548"/>
                    </a:lnTo>
                    <a:lnTo>
                      <a:pt x="143095" y="3210"/>
                    </a:lnTo>
                    <a:lnTo>
                      <a:pt x="126659" y="3210"/>
                    </a:lnTo>
                    <a:close/>
                  </a:path>
                </a:pathLst>
              </a:custGeom>
              <a:solidFill>
                <a:srgbClr val="28509C"/>
              </a:solidFill>
              <a:ln w="4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9E9B3C67-DD4A-46FF-86F3-11C41AC171EE}"/>
                  </a:ext>
                </a:extLst>
              </p:cNvPr>
              <p:cNvSpPr/>
              <p:nvPr/>
            </p:nvSpPr>
            <p:spPr>
              <a:xfrm>
                <a:off x="11477921" y="6279094"/>
                <a:ext cx="137315" cy="189225"/>
              </a:xfrm>
              <a:custGeom>
                <a:avLst/>
                <a:gdLst>
                  <a:gd name="connsiteX0" fmla="*/ 118802 w 137315"/>
                  <a:gd name="connsiteY0" fmla="*/ 189225 h 189225"/>
                  <a:gd name="connsiteX1" fmla="*/ 137315 w 137315"/>
                  <a:gd name="connsiteY1" fmla="*/ 189225 h 189225"/>
                  <a:gd name="connsiteX2" fmla="*/ 91980 w 137315"/>
                  <a:gd name="connsiteY2" fmla="*/ 100625 h 189225"/>
                  <a:gd name="connsiteX3" fmla="*/ 129368 w 137315"/>
                  <a:gd name="connsiteY3" fmla="*/ 56099 h 189225"/>
                  <a:gd name="connsiteX4" fmla="*/ 129413 w 137315"/>
                  <a:gd name="connsiteY4" fmla="*/ 56099 h 189225"/>
                  <a:gd name="connsiteX5" fmla="*/ 129413 w 137315"/>
                  <a:gd name="connsiteY5" fmla="*/ 55059 h 189225"/>
                  <a:gd name="connsiteX6" fmla="*/ 129594 w 137315"/>
                  <a:gd name="connsiteY6" fmla="*/ 52030 h 189225"/>
                  <a:gd name="connsiteX7" fmla="*/ 129413 w 137315"/>
                  <a:gd name="connsiteY7" fmla="*/ 52030 h 189225"/>
                  <a:gd name="connsiteX8" fmla="*/ 129413 w 137315"/>
                  <a:gd name="connsiteY8" fmla="*/ 50267 h 189225"/>
                  <a:gd name="connsiteX9" fmla="*/ 129594 w 137315"/>
                  <a:gd name="connsiteY9" fmla="*/ 50267 h 189225"/>
                  <a:gd name="connsiteX10" fmla="*/ 129413 w 137315"/>
                  <a:gd name="connsiteY10" fmla="*/ 47193 h 189225"/>
                  <a:gd name="connsiteX11" fmla="*/ 129413 w 137315"/>
                  <a:gd name="connsiteY11" fmla="*/ 47193 h 189225"/>
                  <a:gd name="connsiteX12" fmla="*/ 79382 w 137315"/>
                  <a:gd name="connsiteY12" fmla="*/ 0 h 189225"/>
                  <a:gd name="connsiteX13" fmla="*/ 0 w 137315"/>
                  <a:gd name="connsiteY13" fmla="*/ 0 h 189225"/>
                  <a:gd name="connsiteX14" fmla="*/ 0 w 137315"/>
                  <a:gd name="connsiteY14" fmla="*/ 189180 h 189225"/>
                  <a:gd name="connsiteX15" fmla="*/ 16391 w 137315"/>
                  <a:gd name="connsiteY15" fmla="*/ 189180 h 189225"/>
                  <a:gd name="connsiteX16" fmla="*/ 16391 w 137315"/>
                  <a:gd name="connsiteY16" fmla="*/ 102207 h 189225"/>
                  <a:gd name="connsiteX17" fmla="*/ 74234 w 137315"/>
                  <a:gd name="connsiteY17" fmla="*/ 102207 h 189225"/>
                  <a:gd name="connsiteX18" fmla="*/ 118802 w 137315"/>
                  <a:gd name="connsiteY18" fmla="*/ 189225 h 189225"/>
                  <a:gd name="connsiteX19" fmla="*/ 16391 w 137315"/>
                  <a:gd name="connsiteY19" fmla="*/ 16454 h 189225"/>
                  <a:gd name="connsiteX20" fmla="*/ 79382 w 137315"/>
                  <a:gd name="connsiteY20" fmla="*/ 16454 h 189225"/>
                  <a:gd name="connsiteX21" fmla="*/ 113022 w 137315"/>
                  <a:gd name="connsiteY21" fmla="*/ 49544 h 189225"/>
                  <a:gd name="connsiteX22" fmla="*/ 113022 w 137315"/>
                  <a:gd name="connsiteY22" fmla="*/ 52663 h 189225"/>
                  <a:gd name="connsiteX23" fmla="*/ 79382 w 137315"/>
                  <a:gd name="connsiteY23" fmla="*/ 85707 h 189225"/>
                  <a:gd name="connsiteX24" fmla="*/ 79382 w 137315"/>
                  <a:gd name="connsiteY24" fmla="*/ 85707 h 189225"/>
                  <a:gd name="connsiteX25" fmla="*/ 16391 w 137315"/>
                  <a:gd name="connsiteY25" fmla="*/ 85753 h 189225"/>
                  <a:gd name="connsiteX26" fmla="*/ 16391 w 137315"/>
                  <a:gd name="connsiteY26" fmla="*/ 16454 h 189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7315" h="189225">
                    <a:moveTo>
                      <a:pt x="118802" y="189225"/>
                    </a:moveTo>
                    <a:lnTo>
                      <a:pt x="137315" y="189225"/>
                    </a:lnTo>
                    <a:cubicBezTo>
                      <a:pt x="137315" y="189225"/>
                      <a:pt x="91980" y="100625"/>
                      <a:pt x="91980" y="100625"/>
                    </a:cubicBezTo>
                    <a:cubicBezTo>
                      <a:pt x="112300" y="95336"/>
                      <a:pt x="127652" y="77661"/>
                      <a:pt x="129368" y="56099"/>
                    </a:cubicBezTo>
                    <a:lnTo>
                      <a:pt x="129413" y="56099"/>
                    </a:lnTo>
                    <a:lnTo>
                      <a:pt x="129413" y="55059"/>
                    </a:lnTo>
                    <a:cubicBezTo>
                      <a:pt x="129458" y="54064"/>
                      <a:pt x="129594" y="53025"/>
                      <a:pt x="129594" y="52030"/>
                    </a:cubicBezTo>
                    <a:lnTo>
                      <a:pt x="129413" y="52030"/>
                    </a:lnTo>
                    <a:lnTo>
                      <a:pt x="129413" y="50267"/>
                    </a:lnTo>
                    <a:lnTo>
                      <a:pt x="129594" y="50267"/>
                    </a:lnTo>
                    <a:cubicBezTo>
                      <a:pt x="129594" y="49228"/>
                      <a:pt x="129504" y="48233"/>
                      <a:pt x="129413" y="47193"/>
                    </a:cubicBezTo>
                    <a:lnTo>
                      <a:pt x="129413" y="47193"/>
                    </a:lnTo>
                    <a:cubicBezTo>
                      <a:pt x="127788" y="20839"/>
                      <a:pt x="106068" y="0"/>
                      <a:pt x="79382" y="0"/>
                    </a:cubicBezTo>
                    <a:lnTo>
                      <a:pt x="0" y="0"/>
                    </a:lnTo>
                    <a:lnTo>
                      <a:pt x="0" y="189180"/>
                    </a:lnTo>
                    <a:lnTo>
                      <a:pt x="16391" y="189180"/>
                    </a:lnTo>
                    <a:lnTo>
                      <a:pt x="16391" y="102207"/>
                    </a:lnTo>
                    <a:lnTo>
                      <a:pt x="74234" y="102207"/>
                    </a:lnTo>
                    <a:lnTo>
                      <a:pt x="118802" y="189225"/>
                    </a:lnTo>
                    <a:close/>
                    <a:moveTo>
                      <a:pt x="16391" y="16454"/>
                    </a:moveTo>
                    <a:lnTo>
                      <a:pt x="79382" y="16454"/>
                    </a:lnTo>
                    <a:cubicBezTo>
                      <a:pt x="97760" y="16454"/>
                      <a:pt x="112661" y="31236"/>
                      <a:pt x="113022" y="49544"/>
                    </a:cubicBezTo>
                    <a:lnTo>
                      <a:pt x="113022" y="52663"/>
                    </a:lnTo>
                    <a:cubicBezTo>
                      <a:pt x="112661" y="70971"/>
                      <a:pt x="97760" y="85707"/>
                      <a:pt x="79382" y="85707"/>
                    </a:cubicBezTo>
                    <a:lnTo>
                      <a:pt x="79382" y="85707"/>
                    </a:lnTo>
                    <a:cubicBezTo>
                      <a:pt x="79382" y="85707"/>
                      <a:pt x="16391" y="85753"/>
                      <a:pt x="16391" y="85753"/>
                    </a:cubicBezTo>
                    <a:lnTo>
                      <a:pt x="16391" y="16454"/>
                    </a:lnTo>
                    <a:close/>
                  </a:path>
                </a:pathLst>
              </a:custGeom>
              <a:solidFill>
                <a:srgbClr val="28509C"/>
              </a:solidFill>
              <a:ln w="4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8A375038-095E-BBDE-FED6-2077DF2E9A8F}"/>
                  </a:ext>
                </a:extLst>
              </p:cNvPr>
              <p:cNvSpPr/>
              <p:nvPr/>
            </p:nvSpPr>
            <p:spPr>
              <a:xfrm>
                <a:off x="10575235" y="6279004"/>
                <a:ext cx="133522" cy="189270"/>
              </a:xfrm>
              <a:custGeom>
                <a:avLst/>
                <a:gdLst>
                  <a:gd name="connsiteX0" fmla="*/ 133342 w 133522"/>
                  <a:gd name="connsiteY0" fmla="*/ 133443 h 189270"/>
                  <a:gd name="connsiteX1" fmla="*/ 126298 w 133522"/>
                  <a:gd name="connsiteY1" fmla="*/ 108762 h 189270"/>
                  <a:gd name="connsiteX2" fmla="*/ 109274 w 133522"/>
                  <a:gd name="connsiteY2" fmla="*/ 92398 h 189270"/>
                  <a:gd name="connsiteX3" fmla="*/ 129323 w 133522"/>
                  <a:gd name="connsiteY3" fmla="*/ 56144 h 189270"/>
                  <a:gd name="connsiteX4" fmla="*/ 129368 w 133522"/>
                  <a:gd name="connsiteY4" fmla="*/ 56144 h 189270"/>
                  <a:gd name="connsiteX5" fmla="*/ 129368 w 133522"/>
                  <a:gd name="connsiteY5" fmla="*/ 55104 h 189270"/>
                  <a:gd name="connsiteX6" fmla="*/ 129504 w 133522"/>
                  <a:gd name="connsiteY6" fmla="*/ 52075 h 189270"/>
                  <a:gd name="connsiteX7" fmla="*/ 129368 w 133522"/>
                  <a:gd name="connsiteY7" fmla="*/ 52075 h 189270"/>
                  <a:gd name="connsiteX8" fmla="*/ 129368 w 133522"/>
                  <a:gd name="connsiteY8" fmla="*/ 50312 h 189270"/>
                  <a:gd name="connsiteX9" fmla="*/ 129504 w 133522"/>
                  <a:gd name="connsiteY9" fmla="*/ 50312 h 189270"/>
                  <a:gd name="connsiteX10" fmla="*/ 129368 w 133522"/>
                  <a:gd name="connsiteY10" fmla="*/ 47239 h 189270"/>
                  <a:gd name="connsiteX11" fmla="*/ 129368 w 133522"/>
                  <a:gd name="connsiteY11" fmla="*/ 47239 h 189270"/>
                  <a:gd name="connsiteX12" fmla="*/ 129368 w 133522"/>
                  <a:gd name="connsiteY12" fmla="*/ 47193 h 189270"/>
                  <a:gd name="connsiteX13" fmla="*/ 79292 w 133522"/>
                  <a:gd name="connsiteY13" fmla="*/ 45 h 189270"/>
                  <a:gd name="connsiteX14" fmla="*/ 79292 w 133522"/>
                  <a:gd name="connsiteY14" fmla="*/ 136 h 189270"/>
                  <a:gd name="connsiteX15" fmla="*/ 0 w 133522"/>
                  <a:gd name="connsiteY15" fmla="*/ 0 h 189270"/>
                  <a:gd name="connsiteX16" fmla="*/ 0 w 133522"/>
                  <a:gd name="connsiteY16" fmla="*/ 189270 h 189270"/>
                  <a:gd name="connsiteX17" fmla="*/ 82407 w 133522"/>
                  <a:gd name="connsiteY17" fmla="*/ 189270 h 189270"/>
                  <a:gd name="connsiteX18" fmla="*/ 133432 w 133522"/>
                  <a:gd name="connsiteY18" fmla="*/ 138913 h 189270"/>
                  <a:gd name="connsiteX19" fmla="*/ 133522 w 133522"/>
                  <a:gd name="connsiteY19" fmla="*/ 138913 h 189270"/>
                  <a:gd name="connsiteX20" fmla="*/ 133522 w 133522"/>
                  <a:gd name="connsiteY20" fmla="*/ 133443 h 189270"/>
                  <a:gd name="connsiteX21" fmla="*/ 133432 w 133522"/>
                  <a:gd name="connsiteY21" fmla="*/ 133443 h 189270"/>
                  <a:gd name="connsiteX22" fmla="*/ 79337 w 133522"/>
                  <a:gd name="connsiteY22" fmla="*/ 16545 h 189270"/>
                  <a:gd name="connsiteX23" fmla="*/ 79337 w 133522"/>
                  <a:gd name="connsiteY23" fmla="*/ 16545 h 189270"/>
                  <a:gd name="connsiteX24" fmla="*/ 113022 w 133522"/>
                  <a:gd name="connsiteY24" fmla="*/ 49725 h 189270"/>
                  <a:gd name="connsiteX25" fmla="*/ 113022 w 133522"/>
                  <a:gd name="connsiteY25" fmla="*/ 52663 h 189270"/>
                  <a:gd name="connsiteX26" fmla="*/ 79337 w 133522"/>
                  <a:gd name="connsiteY26" fmla="*/ 85933 h 189270"/>
                  <a:gd name="connsiteX27" fmla="*/ 16391 w 133522"/>
                  <a:gd name="connsiteY27" fmla="*/ 85933 h 189270"/>
                  <a:gd name="connsiteX28" fmla="*/ 16391 w 133522"/>
                  <a:gd name="connsiteY28" fmla="*/ 16545 h 189270"/>
                  <a:gd name="connsiteX29" fmla="*/ 79337 w 133522"/>
                  <a:gd name="connsiteY29" fmla="*/ 16545 h 189270"/>
                  <a:gd name="connsiteX30" fmla="*/ 117041 w 133522"/>
                  <a:gd name="connsiteY30" fmla="*/ 138054 h 189270"/>
                  <a:gd name="connsiteX31" fmla="*/ 116905 w 133522"/>
                  <a:gd name="connsiteY31" fmla="*/ 138054 h 189270"/>
                  <a:gd name="connsiteX32" fmla="*/ 82091 w 133522"/>
                  <a:gd name="connsiteY32" fmla="*/ 172907 h 189270"/>
                  <a:gd name="connsiteX33" fmla="*/ 82091 w 133522"/>
                  <a:gd name="connsiteY33" fmla="*/ 172907 h 189270"/>
                  <a:gd name="connsiteX34" fmla="*/ 16391 w 133522"/>
                  <a:gd name="connsiteY34" fmla="*/ 172907 h 189270"/>
                  <a:gd name="connsiteX35" fmla="*/ 16391 w 133522"/>
                  <a:gd name="connsiteY35" fmla="*/ 102433 h 189270"/>
                  <a:gd name="connsiteX36" fmla="*/ 84394 w 133522"/>
                  <a:gd name="connsiteY36" fmla="*/ 102704 h 189270"/>
                  <a:gd name="connsiteX37" fmla="*/ 84394 w 133522"/>
                  <a:gd name="connsiteY37" fmla="*/ 102704 h 189270"/>
                  <a:gd name="connsiteX38" fmla="*/ 112525 w 133522"/>
                  <a:gd name="connsiteY38" fmla="*/ 117848 h 189270"/>
                  <a:gd name="connsiteX39" fmla="*/ 116951 w 133522"/>
                  <a:gd name="connsiteY39" fmla="*/ 134709 h 189270"/>
                  <a:gd name="connsiteX40" fmla="*/ 117086 w 133522"/>
                  <a:gd name="connsiteY40" fmla="*/ 134709 h 189270"/>
                  <a:gd name="connsiteX41" fmla="*/ 117086 w 133522"/>
                  <a:gd name="connsiteY41" fmla="*/ 138054 h 189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33522" h="189270">
                    <a:moveTo>
                      <a:pt x="133342" y="133443"/>
                    </a:moveTo>
                    <a:cubicBezTo>
                      <a:pt x="133116" y="124267"/>
                      <a:pt x="130813" y="116085"/>
                      <a:pt x="126298" y="108762"/>
                    </a:cubicBezTo>
                    <a:cubicBezTo>
                      <a:pt x="121963" y="101845"/>
                      <a:pt x="116138" y="96285"/>
                      <a:pt x="109274" y="92398"/>
                    </a:cubicBezTo>
                    <a:cubicBezTo>
                      <a:pt x="120518" y="83990"/>
                      <a:pt x="128149" y="70971"/>
                      <a:pt x="129323" y="56144"/>
                    </a:cubicBezTo>
                    <a:lnTo>
                      <a:pt x="129368" y="56144"/>
                    </a:lnTo>
                    <a:lnTo>
                      <a:pt x="129368" y="55104"/>
                    </a:lnTo>
                    <a:cubicBezTo>
                      <a:pt x="129413" y="54110"/>
                      <a:pt x="129504" y="53070"/>
                      <a:pt x="129504" y="52075"/>
                    </a:cubicBezTo>
                    <a:lnTo>
                      <a:pt x="129368" y="52075"/>
                    </a:lnTo>
                    <a:lnTo>
                      <a:pt x="129368" y="50312"/>
                    </a:lnTo>
                    <a:lnTo>
                      <a:pt x="129504" y="50312"/>
                    </a:lnTo>
                    <a:cubicBezTo>
                      <a:pt x="129504" y="49273"/>
                      <a:pt x="129413" y="48278"/>
                      <a:pt x="129368" y="47239"/>
                    </a:cubicBezTo>
                    <a:lnTo>
                      <a:pt x="129368" y="47239"/>
                    </a:lnTo>
                    <a:cubicBezTo>
                      <a:pt x="129368" y="47239"/>
                      <a:pt x="129368" y="47193"/>
                      <a:pt x="129368" y="47193"/>
                    </a:cubicBezTo>
                    <a:cubicBezTo>
                      <a:pt x="127743" y="20884"/>
                      <a:pt x="105978" y="45"/>
                      <a:pt x="79292" y="45"/>
                    </a:cubicBezTo>
                    <a:lnTo>
                      <a:pt x="79292" y="136"/>
                    </a:lnTo>
                    <a:lnTo>
                      <a:pt x="0" y="0"/>
                    </a:lnTo>
                    <a:lnTo>
                      <a:pt x="0" y="189270"/>
                    </a:lnTo>
                    <a:lnTo>
                      <a:pt x="82407" y="189270"/>
                    </a:lnTo>
                    <a:cubicBezTo>
                      <a:pt x="110268" y="189090"/>
                      <a:pt x="132845" y="166714"/>
                      <a:pt x="133432" y="138913"/>
                    </a:cubicBezTo>
                    <a:lnTo>
                      <a:pt x="133522" y="138913"/>
                    </a:lnTo>
                    <a:lnTo>
                      <a:pt x="133522" y="133443"/>
                    </a:lnTo>
                    <a:lnTo>
                      <a:pt x="133432" y="133443"/>
                    </a:lnTo>
                    <a:close/>
                    <a:moveTo>
                      <a:pt x="79337" y="16545"/>
                    </a:moveTo>
                    <a:lnTo>
                      <a:pt x="79337" y="16545"/>
                    </a:lnTo>
                    <a:cubicBezTo>
                      <a:pt x="97760" y="16545"/>
                      <a:pt x="112706" y="31372"/>
                      <a:pt x="113022" y="49725"/>
                    </a:cubicBezTo>
                    <a:lnTo>
                      <a:pt x="113022" y="52663"/>
                    </a:lnTo>
                    <a:cubicBezTo>
                      <a:pt x="112706" y="71016"/>
                      <a:pt x="97760" y="85933"/>
                      <a:pt x="79337" y="85933"/>
                    </a:cubicBezTo>
                    <a:lnTo>
                      <a:pt x="16391" y="85933"/>
                    </a:lnTo>
                    <a:lnTo>
                      <a:pt x="16391" y="16545"/>
                    </a:lnTo>
                    <a:lnTo>
                      <a:pt x="79337" y="16545"/>
                    </a:lnTo>
                    <a:close/>
                    <a:moveTo>
                      <a:pt x="117041" y="138054"/>
                    </a:moveTo>
                    <a:lnTo>
                      <a:pt x="116905" y="138054"/>
                    </a:lnTo>
                    <a:cubicBezTo>
                      <a:pt x="116905" y="157311"/>
                      <a:pt x="101327" y="172907"/>
                      <a:pt x="82091" y="172907"/>
                    </a:cubicBezTo>
                    <a:lnTo>
                      <a:pt x="82091" y="172907"/>
                    </a:lnTo>
                    <a:cubicBezTo>
                      <a:pt x="82091" y="172907"/>
                      <a:pt x="16391" y="172907"/>
                      <a:pt x="16391" y="172907"/>
                    </a:cubicBezTo>
                    <a:lnTo>
                      <a:pt x="16391" y="102433"/>
                    </a:lnTo>
                    <a:lnTo>
                      <a:pt x="84394" y="102704"/>
                    </a:lnTo>
                    <a:lnTo>
                      <a:pt x="84394" y="102704"/>
                    </a:lnTo>
                    <a:cubicBezTo>
                      <a:pt x="96225" y="102704"/>
                      <a:pt x="106520" y="108536"/>
                      <a:pt x="112525" y="117848"/>
                    </a:cubicBezTo>
                    <a:cubicBezTo>
                      <a:pt x="115054" y="123137"/>
                      <a:pt x="116951" y="128471"/>
                      <a:pt x="116951" y="134709"/>
                    </a:cubicBezTo>
                    <a:lnTo>
                      <a:pt x="117086" y="134709"/>
                    </a:lnTo>
                    <a:lnTo>
                      <a:pt x="117086" y="138054"/>
                    </a:lnTo>
                    <a:close/>
                  </a:path>
                </a:pathLst>
              </a:custGeom>
              <a:solidFill>
                <a:srgbClr val="28509C"/>
              </a:solidFill>
              <a:ln w="4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9CEA05AF-1DF9-6FD3-7A0C-0AB7A01F84EA}"/>
                  </a:ext>
                </a:extLst>
              </p:cNvPr>
              <p:cNvSpPr/>
              <p:nvPr/>
            </p:nvSpPr>
            <p:spPr>
              <a:xfrm>
                <a:off x="10828507" y="6275749"/>
                <a:ext cx="195519" cy="195644"/>
              </a:xfrm>
              <a:custGeom>
                <a:avLst/>
                <a:gdLst>
                  <a:gd name="connsiteX0" fmla="*/ 858 w 195519"/>
                  <a:gd name="connsiteY0" fmla="*/ 110118 h 195644"/>
                  <a:gd name="connsiteX1" fmla="*/ 97805 w 195519"/>
                  <a:gd name="connsiteY1" fmla="*/ 195644 h 195644"/>
                  <a:gd name="connsiteX2" fmla="*/ 194752 w 195519"/>
                  <a:gd name="connsiteY2" fmla="*/ 110073 h 195644"/>
                  <a:gd name="connsiteX3" fmla="*/ 195520 w 195519"/>
                  <a:gd name="connsiteY3" fmla="*/ 98139 h 195644"/>
                  <a:gd name="connsiteX4" fmla="*/ 194978 w 195519"/>
                  <a:gd name="connsiteY4" fmla="*/ 87470 h 195644"/>
                  <a:gd name="connsiteX5" fmla="*/ 97805 w 195519"/>
                  <a:gd name="connsiteY5" fmla="*/ 0 h 195644"/>
                  <a:gd name="connsiteX6" fmla="*/ 632 w 195519"/>
                  <a:gd name="connsiteY6" fmla="*/ 87470 h 195644"/>
                  <a:gd name="connsiteX7" fmla="*/ 542 w 195519"/>
                  <a:gd name="connsiteY7" fmla="*/ 87470 h 195644"/>
                  <a:gd name="connsiteX8" fmla="*/ 0 w 195519"/>
                  <a:gd name="connsiteY8" fmla="*/ 98139 h 195644"/>
                  <a:gd name="connsiteX9" fmla="*/ 768 w 195519"/>
                  <a:gd name="connsiteY9" fmla="*/ 110073 h 195644"/>
                  <a:gd name="connsiteX10" fmla="*/ 97805 w 195519"/>
                  <a:gd name="connsiteY10" fmla="*/ 179009 h 195644"/>
                  <a:gd name="connsiteX11" fmla="*/ 17610 w 195519"/>
                  <a:gd name="connsiteY11" fmla="*/ 110118 h 195644"/>
                  <a:gd name="connsiteX12" fmla="*/ 17520 w 195519"/>
                  <a:gd name="connsiteY12" fmla="*/ 110118 h 195644"/>
                  <a:gd name="connsiteX13" fmla="*/ 16617 w 195519"/>
                  <a:gd name="connsiteY13" fmla="*/ 98139 h 195644"/>
                  <a:gd name="connsiteX14" fmla="*/ 17249 w 195519"/>
                  <a:gd name="connsiteY14" fmla="*/ 87787 h 195644"/>
                  <a:gd name="connsiteX15" fmla="*/ 17294 w 195519"/>
                  <a:gd name="connsiteY15" fmla="*/ 87787 h 195644"/>
                  <a:gd name="connsiteX16" fmla="*/ 97760 w 195519"/>
                  <a:gd name="connsiteY16" fmla="*/ 16635 h 195644"/>
                  <a:gd name="connsiteX17" fmla="*/ 178180 w 195519"/>
                  <a:gd name="connsiteY17" fmla="*/ 87651 h 195644"/>
                  <a:gd name="connsiteX18" fmla="*/ 178858 w 195519"/>
                  <a:gd name="connsiteY18" fmla="*/ 98184 h 195644"/>
                  <a:gd name="connsiteX19" fmla="*/ 177954 w 195519"/>
                  <a:gd name="connsiteY19" fmla="*/ 110299 h 195644"/>
                  <a:gd name="connsiteX20" fmla="*/ 97760 w 195519"/>
                  <a:gd name="connsiteY20" fmla="*/ 179054 h 195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95519" h="195644">
                    <a:moveTo>
                      <a:pt x="858" y="110118"/>
                    </a:moveTo>
                    <a:cubicBezTo>
                      <a:pt x="6909" y="158351"/>
                      <a:pt x="47999" y="195644"/>
                      <a:pt x="97805" y="195644"/>
                    </a:cubicBezTo>
                    <a:cubicBezTo>
                      <a:pt x="147611" y="195644"/>
                      <a:pt x="188701" y="158306"/>
                      <a:pt x="194752" y="110073"/>
                    </a:cubicBezTo>
                    <a:cubicBezTo>
                      <a:pt x="195204" y="106185"/>
                      <a:pt x="195520" y="102162"/>
                      <a:pt x="195520" y="98139"/>
                    </a:cubicBezTo>
                    <a:cubicBezTo>
                      <a:pt x="195520" y="94432"/>
                      <a:pt x="195384" y="91087"/>
                      <a:pt x="194978" y="87470"/>
                    </a:cubicBezTo>
                    <a:cubicBezTo>
                      <a:pt x="189920" y="38152"/>
                      <a:pt x="148378" y="0"/>
                      <a:pt x="97805" y="0"/>
                    </a:cubicBezTo>
                    <a:cubicBezTo>
                      <a:pt x="47232" y="0"/>
                      <a:pt x="5780" y="38333"/>
                      <a:pt x="632" y="87470"/>
                    </a:cubicBezTo>
                    <a:lnTo>
                      <a:pt x="542" y="87470"/>
                    </a:lnTo>
                    <a:cubicBezTo>
                      <a:pt x="135" y="91087"/>
                      <a:pt x="0" y="94432"/>
                      <a:pt x="0" y="98139"/>
                    </a:cubicBezTo>
                    <a:cubicBezTo>
                      <a:pt x="0" y="102162"/>
                      <a:pt x="271" y="106185"/>
                      <a:pt x="768" y="110073"/>
                    </a:cubicBezTo>
                    <a:moveTo>
                      <a:pt x="97805" y="179009"/>
                    </a:moveTo>
                    <a:cubicBezTo>
                      <a:pt x="57166" y="179009"/>
                      <a:pt x="23526" y="149129"/>
                      <a:pt x="17610" y="110118"/>
                    </a:cubicBezTo>
                    <a:lnTo>
                      <a:pt x="17520" y="110118"/>
                    </a:lnTo>
                    <a:cubicBezTo>
                      <a:pt x="16933" y="106185"/>
                      <a:pt x="16617" y="102252"/>
                      <a:pt x="16617" y="98139"/>
                    </a:cubicBezTo>
                    <a:cubicBezTo>
                      <a:pt x="16617" y="94567"/>
                      <a:pt x="16798" y="91222"/>
                      <a:pt x="17249" y="87787"/>
                    </a:cubicBezTo>
                    <a:lnTo>
                      <a:pt x="17294" y="87787"/>
                    </a:lnTo>
                    <a:cubicBezTo>
                      <a:pt x="22216" y="47691"/>
                      <a:pt x="56353" y="16635"/>
                      <a:pt x="97760" y="16635"/>
                    </a:cubicBezTo>
                    <a:cubicBezTo>
                      <a:pt x="139167" y="16635"/>
                      <a:pt x="173258" y="47510"/>
                      <a:pt x="178180" y="87651"/>
                    </a:cubicBezTo>
                    <a:cubicBezTo>
                      <a:pt x="178632" y="91177"/>
                      <a:pt x="178858" y="94567"/>
                      <a:pt x="178858" y="98184"/>
                    </a:cubicBezTo>
                    <a:cubicBezTo>
                      <a:pt x="178858" y="102343"/>
                      <a:pt x="178541" y="106321"/>
                      <a:pt x="177954" y="110299"/>
                    </a:cubicBezTo>
                    <a:cubicBezTo>
                      <a:pt x="172039" y="149310"/>
                      <a:pt x="138399" y="179054"/>
                      <a:pt x="97760" y="179054"/>
                    </a:cubicBezTo>
                    <a:close/>
                  </a:path>
                </a:pathLst>
              </a:custGeom>
              <a:solidFill>
                <a:srgbClr val="28509C"/>
              </a:solidFill>
              <a:ln w="4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4F7F1DE0-4881-CE39-9454-0461B3D2D9A9}"/>
                  </a:ext>
                </a:extLst>
              </p:cNvPr>
              <p:cNvSpPr/>
              <p:nvPr/>
            </p:nvSpPr>
            <p:spPr>
              <a:xfrm>
                <a:off x="11918450" y="6275342"/>
                <a:ext cx="26550" cy="26580"/>
              </a:xfrm>
              <a:custGeom>
                <a:avLst/>
                <a:gdLst>
                  <a:gd name="connsiteX0" fmla="*/ 0 w 26550"/>
                  <a:gd name="connsiteY0" fmla="*/ 13245 h 26580"/>
                  <a:gd name="connsiteX1" fmla="*/ 13321 w 26550"/>
                  <a:gd name="connsiteY1" fmla="*/ 0 h 26580"/>
                  <a:gd name="connsiteX2" fmla="*/ 26551 w 26550"/>
                  <a:gd name="connsiteY2" fmla="*/ 13245 h 26580"/>
                  <a:gd name="connsiteX3" fmla="*/ 13321 w 26550"/>
                  <a:gd name="connsiteY3" fmla="*/ 26580 h 26580"/>
                  <a:gd name="connsiteX4" fmla="*/ 0 w 26550"/>
                  <a:gd name="connsiteY4" fmla="*/ 13245 h 26580"/>
                  <a:gd name="connsiteX5" fmla="*/ 24429 w 26550"/>
                  <a:gd name="connsiteY5" fmla="*/ 13245 h 26580"/>
                  <a:gd name="connsiteX6" fmla="*/ 13321 w 26550"/>
                  <a:gd name="connsiteY6" fmla="*/ 1763 h 26580"/>
                  <a:gd name="connsiteX7" fmla="*/ 2122 w 26550"/>
                  <a:gd name="connsiteY7" fmla="*/ 13245 h 26580"/>
                  <a:gd name="connsiteX8" fmla="*/ 13321 w 26550"/>
                  <a:gd name="connsiteY8" fmla="*/ 24817 h 26580"/>
                  <a:gd name="connsiteX9" fmla="*/ 24429 w 26550"/>
                  <a:gd name="connsiteY9" fmla="*/ 13245 h 26580"/>
                  <a:gd name="connsiteX10" fmla="*/ 19913 w 26550"/>
                  <a:gd name="connsiteY10" fmla="*/ 20658 h 26580"/>
                  <a:gd name="connsiteX11" fmla="*/ 17746 w 26550"/>
                  <a:gd name="connsiteY11" fmla="*/ 20658 h 26580"/>
                  <a:gd name="connsiteX12" fmla="*/ 13501 w 26550"/>
                  <a:gd name="connsiteY12" fmla="*/ 13833 h 26580"/>
                  <a:gd name="connsiteX13" fmla="*/ 10160 w 26550"/>
                  <a:gd name="connsiteY13" fmla="*/ 13833 h 26580"/>
                  <a:gd name="connsiteX14" fmla="*/ 10160 w 26550"/>
                  <a:gd name="connsiteY14" fmla="*/ 20658 h 26580"/>
                  <a:gd name="connsiteX15" fmla="*/ 8354 w 26550"/>
                  <a:gd name="connsiteY15" fmla="*/ 20658 h 26580"/>
                  <a:gd name="connsiteX16" fmla="*/ 8354 w 26550"/>
                  <a:gd name="connsiteY16" fmla="*/ 5831 h 26580"/>
                  <a:gd name="connsiteX17" fmla="*/ 14856 w 26550"/>
                  <a:gd name="connsiteY17" fmla="*/ 5831 h 26580"/>
                  <a:gd name="connsiteX18" fmla="*/ 20094 w 26550"/>
                  <a:gd name="connsiteY18" fmla="*/ 9764 h 26580"/>
                  <a:gd name="connsiteX19" fmla="*/ 15443 w 26550"/>
                  <a:gd name="connsiteY19" fmla="*/ 13833 h 26580"/>
                  <a:gd name="connsiteX20" fmla="*/ 19913 w 26550"/>
                  <a:gd name="connsiteY20" fmla="*/ 20658 h 26580"/>
                  <a:gd name="connsiteX21" fmla="*/ 12959 w 26550"/>
                  <a:gd name="connsiteY21" fmla="*/ 12386 h 26580"/>
                  <a:gd name="connsiteX22" fmla="*/ 18152 w 26550"/>
                  <a:gd name="connsiteY22" fmla="*/ 9719 h 26580"/>
                  <a:gd name="connsiteX23" fmla="*/ 14450 w 26550"/>
                  <a:gd name="connsiteY23" fmla="*/ 7142 h 26580"/>
                  <a:gd name="connsiteX24" fmla="*/ 10205 w 26550"/>
                  <a:gd name="connsiteY24" fmla="*/ 7142 h 26580"/>
                  <a:gd name="connsiteX25" fmla="*/ 10205 w 26550"/>
                  <a:gd name="connsiteY25" fmla="*/ 12386 h 26580"/>
                  <a:gd name="connsiteX26" fmla="*/ 12959 w 26550"/>
                  <a:gd name="connsiteY26" fmla="*/ 12386 h 26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6550" h="26580">
                    <a:moveTo>
                      <a:pt x="0" y="13245"/>
                    </a:moveTo>
                    <a:cubicBezTo>
                      <a:pt x="0" y="5967"/>
                      <a:pt x="5960" y="0"/>
                      <a:pt x="13321" y="0"/>
                    </a:cubicBezTo>
                    <a:cubicBezTo>
                      <a:pt x="20681" y="0"/>
                      <a:pt x="26551" y="5967"/>
                      <a:pt x="26551" y="13245"/>
                    </a:cubicBezTo>
                    <a:cubicBezTo>
                      <a:pt x="26551" y="20523"/>
                      <a:pt x="20636" y="26580"/>
                      <a:pt x="13321" y="26580"/>
                    </a:cubicBezTo>
                    <a:cubicBezTo>
                      <a:pt x="6006" y="26580"/>
                      <a:pt x="0" y="20613"/>
                      <a:pt x="0" y="13245"/>
                    </a:cubicBezTo>
                    <a:close/>
                    <a:moveTo>
                      <a:pt x="24429" y="13245"/>
                    </a:moveTo>
                    <a:cubicBezTo>
                      <a:pt x="24429" y="6781"/>
                      <a:pt x="19733" y="1763"/>
                      <a:pt x="13321" y="1763"/>
                    </a:cubicBezTo>
                    <a:cubicBezTo>
                      <a:pt x="6909" y="1763"/>
                      <a:pt x="2122" y="6826"/>
                      <a:pt x="2122" y="13245"/>
                    </a:cubicBezTo>
                    <a:cubicBezTo>
                      <a:pt x="2122" y="19664"/>
                      <a:pt x="6863" y="24817"/>
                      <a:pt x="13321" y="24817"/>
                    </a:cubicBezTo>
                    <a:cubicBezTo>
                      <a:pt x="19778" y="24817"/>
                      <a:pt x="24429" y="19754"/>
                      <a:pt x="24429" y="13245"/>
                    </a:cubicBezTo>
                    <a:close/>
                    <a:moveTo>
                      <a:pt x="19913" y="20658"/>
                    </a:moveTo>
                    <a:lnTo>
                      <a:pt x="17746" y="20658"/>
                    </a:lnTo>
                    <a:lnTo>
                      <a:pt x="13501" y="13833"/>
                    </a:lnTo>
                    <a:lnTo>
                      <a:pt x="10160" y="13833"/>
                    </a:lnTo>
                    <a:lnTo>
                      <a:pt x="10160" y="20658"/>
                    </a:lnTo>
                    <a:lnTo>
                      <a:pt x="8354" y="20658"/>
                    </a:lnTo>
                    <a:lnTo>
                      <a:pt x="8354" y="5831"/>
                    </a:lnTo>
                    <a:lnTo>
                      <a:pt x="14856" y="5831"/>
                    </a:lnTo>
                    <a:cubicBezTo>
                      <a:pt x="18784" y="5831"/>
                      <a:pt x="20094" y="7323"/>
                      <a:pt x="20094" y="9764"/>
                    </a:cubicBezTo>
                    <a:cubicBezTo>
                      <a:pt x="20094" y="12657"/>
                      <a:pt x="18062" y="13742"/>
                      <a:pt x="15443" y="13833"/>
                    </a:cubicBezTo>
                    <a:lnTo>
                      <a:pt x="19913" y="20658"/>
                    </a:lnTo>
                    <a:close/>
                    <a:moveTo>
                      <a:pt x="12959" y="12386"/>
                    </a:moveTo>
                    <a:cubicBezTo>
                      <a:pt x="15082" y="12386"/>
                      <a:pt x="18152" y="12748"/>
                      <a:pt x="18152" y="9719"/>
                    </a:cubicBezTo>
                    <a:cubicBezTo>
                      <a:pt x="18152" y="7414"/>
                      <a:pt x="16256" y="7142"/>
                      <a:pt x="14450" y="7142"/>
                    </a:cubicBezTo>
                    <a:lnTo>
                      <a:pt x="10205" y="7142"/>
                    </a:lnTo>
                    <a:lnTo>
                      <a:pt x="10205" y="12386"/>
                    </a:lnTo>
                    <a:lnTo>
                      <a:pt x="12959" y="12386"/>
                    </a:lnTo>
                    <a:close/>
                  </a:path>
                </a:pathLst>
              </a:custGeom>
              <a:solidFill>
                <a:srgbClr val="28509C"/>
              </a:solidFill>
              <a:ln w="4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CA7811FA-09CE-E20A-25C2-8B218F80169B}"/>
                </a:ext>
              </a:extLst>
            </p:cNvPr>
            <p:cNvSpPr/>
            <p:nvPr/>
          </p:nvSpPr>
          <p:spPr>
            <a:xfrm>
              <a:off x="10747680" y="6276970"/>
              <a:ext cx="44025" cy="25721"/>
            </a:xfrm>
            <a:custGeom>
              <a:avLst/>
              <a:gdLst>
                <a:gd name="connsiteX0" fmla="*/ 9573 w 44025"/>
                <a:gd name="connsiteY0" fmla="*/ 2757 h 25721"/>
                <a:gd name="connsiteX1" fmla="*/ 5915 w 44025"/>
                <a:gd name="connsiteY1" fmla="*/ 4837 h 25721"/>
                <a:gd name="connsiteX2" fmla="*/ 2709 w 44025"/>
                <a:gd name="connsiteY2" fmla="*/ 7278 h 25721"/>
                <a:gd name="connsiteX3" fmla="*/ 1716 w 44025"/>
                <a:gd name="connsiteY3" fmla="*/ 9493 h 25721"/>
                <a:gd name="connsiteX4" fmla="*/ 406 w 44025"/>
                <a:gd name="connsiteY4" fmla="*/ 11391 h 25721"/>
                <a:gd name="connsiteX5" fmla="*/ 90 w 44025"/>
                <a:gd name="connsiteY5" fmla="*/ 12070 h 25721"/>
                <a:gd name="connsiteX6" fmla="*/ 0 w 44025"/>
                <a:gd name="connsiteY6" fmla="*/ 12748 h 25721"/>
                <a:gd name="connsiteX7" fmla="*/ 181 w 44025"/>
                <a:gd name="connsiteY7" fmla="*/ 13516 h 25721"/>
                <a:gd name="connsiteX8" fmla="*/ 1400 w 44025"/>
                <a:gd name="connsiteY8" fmla="*/ 16861 h 25721"/>
                <a:gd name="connsiteX9" fmla="*/ 3522 w 44025"/>
                <a:gd name="connsiteY9" fmla="*/ 18172 h 25721"/>
                <a:gd name="connsiteX10" fmla="*/ 5960 w 44025"/>
                <a:gd name="connsiteY10" fmla="*/ 20930 h 25721"/>
                <a:gd name="connsiteX11" fmla="*/ 7721 w 44025"/>
                <a:gd name="connsiteY11" fmla="*/ 22602 h 25721"/>
                <a:gd name="connsiteX12" fmla="*/ 10250 w 44025"/>
                <a:gd name="connsiteY12" fmla="*/ 23823 h 25721"/>
                <a:gd name="connsiteX13" fmla="*/ 12779 w 44025"/>
                <a:gd name="connsiteY13" fmla="*/ 24591 h 25721"/>
                <a:gd name="connsiteX14" fmla="*/ 16346 w 44025"/>
                <a:gd name="connsiteY14" fmla="*/ 24591 h 25721"/>
                <a:gd name="connsiteX15" fmla="*/ 18694 w 44025"/>
                <a:gd name="connsiteY15" fmla="*/ 25043 h 25721"/>
                <a:gd name="connsiteX16" fmla="*/ 21223 w 44025"/>
                <a:gd name="connsiteY16" fmla="*/ 25269 h 25721"/>
                <a:gd name="connsiteX17" fmla="*/ 24654 w 44025"/>
                <a:gd name="connsiteY17" fmla="*/ 25495 h 25721"/>
                <a:gd name="connsiteX18" fmla="*/ 27951 w 44025"/>
                <a:gd name="connsiteY18" fmla="*/ 25721 h 25721"/>
                <a:gd name="connsiteX19" fmla="*/ 32060 w 44025"/>
                <a:gd name="connsiteY19" fmla="*/ 25405 h 25721"/>
                <a:gd name="connsiteX20" fmla="*/ 35175 w 44025"/>
                <a:gd name="connsiteY20" fmla="*/ 24501 h 25721"/>
                <a:gd name="connsiteX21" fmla="*/ 38923 w 44025"/>
                <a:gd name="connsiteY21" fmla="*/ 22964 h 25721"/>
                <a:gd name="connsiteX22" fmla="*/ 40594 w 44025"/>
                <a:gd name="connsiteY22" fmla="*/ 21065 h 25721"/>
                <a:gd name="connsiteX23" fmla="*/ 42491 w 44025"/>
                <a:gd name="connsiteY23" fmla="*/ 19302 h 25721"/>
                <a:gd name="connsiteX24" fmla="*/ 44026 w 44025"/>
                <a:gd name="connsiteY24" fmla="*/ 16861 h 25721"/>
                <a:gd name="connsiteX25" fmla="*/ 43935 w 44025"/>
                <a:gd name="connsiteY25" fmla="*/ 14330 h 25721"/>
                <a:gd name="connsiteX26" fmla="*/ 43258 w 44025"/>
                <a:gd name="connsiteY26" fmla="*/ 10668 h 25721"/>
                <a:gd name="connsiteX27" fmla="*/ 39285 w 44025"/>
                <a:gd name="connsiteY27" fmla="*/ 4882 h 25721"/>
                <a:gd name="connsiteX28" fmla="*/ 35762 w 44025"/>
                <a:gd name="connsiteY28" fmla="*/ 2215 h 25721"/>
                <a:gd name="connsiteX29" fmla="*/ 34001 w 44025"/>
                <a:gd name="connsiteY29" fmla="*/ 1356 h 25721"/>
                <a:gd name="connsiteX30" fmla="*/ 32692 w 44025"/>
                <a:gd name="connsiteY30" fmla="*/ 859 h 25721"/>
                <a:gd name="connsiteX31" fmla="*/ 31428 w 44025"/>
                <a:gd name="connsiteY31" fmla="*/ 678 h 25721"/>
                <a:gd name="connsiteX32" fmla="*/ 27319 w 44025"/>
                <a:gd name="connsiteY32" fmla="*/ 994 h 25721"/>
                <a:gd name="connsiteX33" fmla="*/ 23210 w 44025"/>
                <a:gd name="connsiteY33" fmla="*/ 316 h 25721"/>
                <a:gd name="connsiteX34" fmla="*/ 21223 w 44025"/>
                <a:gd name="connsiteY34" fmla="*/ 0 h 25721"/>
                <a:gd name="connsiteX35" fmla="*/ 18694 w 44025"/>
                <a:gd name="connsiteY35" fmla="*/ 542 h 25721"/>
                <a:gd name="connsiteX36" fmla="*/ 15353 w 44025"/>
                <a:gd name="connsiteY36" fmla="*/ 994 h 25721"/>
                <a:gd name="connsiteX37" fmla="*/ 13230 w 44025"/>
                <a:gd name="connsiteY37" fmla="*/ 1763 h 25721"/>
                <a:gd name="connsiteX38" fmla="*/ 9573 w 44025"/>
                <a:gd name="connsiteY38" fmla="*/ 2757 h 25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4025" h="25721">
                  <a:moveTo>
                    <a:pt x="9573" y="2757"/>
                  </a:moveTo>
                  <a:lnTo>
                    <a:pt x="5915" y="4837"/>
                  </a:lnTo>
                  <a:lnTo>
                    <a:pt x="2709" y="7278"/>
                  </a:lnTo>
                  <a:lnTo>
                    <a:pt x="1716" y="9493"/>
                  </a:lnTo>
                  <a:lnTo>
                    <a:pt x="406" y="11391"/>
                  </a:lnTo>
                  <a:lnTo>
                    <a:pt x="90" y="12070"/>
                  </a:lnTo>
                  <a:lnTo>
                    <a:pt x="0" y="12748"/>
                  </a:lnTo>
                  <a:lnTo>
                    <a:pt x="181" y="13516"/>
                  </a:lnTo>
                  <a:lnTo>
                    <a:pt x="1400" y="16861"/>
                  </a:lnTo>
                  <a:lnTo>
                    <a:pt x="3522" y="18172"/>
                  </a:lnTo>
                  <a:lnTo>
                    <a:pt x="5960" y="20930"/>
                  </a:lnTo>
                  <a:lnTo>
                    <a:pt x="7721" y="22602"/>
                  </a:lnTo>
                  <a:lnTo>
                    <a:pt x="10250" y="23823"/>
                  </a:lnTo>
                  <a:lnTo>
                    <a:pt x="12779" y="24591"/>
                  </a:lnTo>
                  <a:lnTo>
                    <a:pt x="16346" y="24591"/>
                  </a:lnTo>
                  <a:lnTo>
                    <a:pt x="18694" y="25043"/>
                  </a:lnTo>
                  <a:lnTo>
                    <a:pt x="21223" y="25269"/>
                  </a:lnTo>
                  <a:lnTo>
                    <a:pt x="24654" y="25495"/>
                  </a:lnTo>
                  <a:lnTo>
                    <a:pt x="27951" y="25721"/>
                  </a:lnTo>
                  <a:lnTo>
                    <a:pt x="32060" y="25405"/>
                  </a:lnTo>
                  <a:lnTo>
                    <a:pt x="35175" y="24501"/>
                  </a:lnTo>
                  <a:lnTo>
                    <a:pt x="38923" y="22964"/>
                  </a:lnTo>
                  <a:lnTo>
                    <a:pt x="40594" y="21065"/>
                  </a:lnTo>
                  <a:lnTo>
                    <a:pt x="42491" y="19302"/>
                  </a:lnTo>
                  <a:lnTo>
                    <a:pt x="44026" y="16861"/>
                  </a:lnTo>
                  <a:lnTo>
                    <a:pt x="43935" y="14330"/>
                  </a:lnTo>
                  <a:lnTo>
                    <a:pt x="43258" y="10668"/>
                  </a:lnTo>
                  <a:lnTo>
                    <a:pt x="39285" y="4882"/>
                  </a:lnTo>
                  <a:lnTo>
                    <a:pt x="35762" y="2215"/>
                  </a:lnTo>
                  <a:lnTo>
                    <a:pt x="34001" y="1356"/>
                  </a:lnTo>
                  <a:lnTo>
                    <a:pt x="32692" y="859"/>
                  </a:lnTo>
                  <a:lnTo>
                    <a:pt x="31428" y="678"/>
                  </a:lnTo>
                  <a:lnTo>
                    <a:pt x="27319" y="994"/>
                  </a:lnTo>
                  <a:lnTo>
                    <a:pt x="23210" y="316"/>
                  </a:lnTo>
                  <a:lnTo>
                    <a:pt x="21223" y="0"/>
                  </a:lnTo>
                  <a:lnTo>
                    <a:pt x="18694" y="542"/>
                  </a:lnTo>
                  <a:lnTo>
                    <a:pt x="15353" y="994"/>
                  </a:lnTo>
                  <a:lnTo>
                    <a:pt x="13230" y="1763"/>
                  </a:lnTo>
                  <a:lnTo>
                    <a:pt x="9573" y="2757"/>
                  </a:lnTo>
                </a:path>
              </a:pathLst>
            </a:custGeom>
            <a:solidFill>
              <a:srgbClr val="F26531"/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1BAAAABF-D623-4B75-4AA9-EA3CFE456CB8}"/>
                </a:ext>
              </a:extLst>
            </p:cNvPr>
            <p:cNvSpPr/>
            <p:nvPr/>
          </p:nvSpPr>
          <p:spPr>
            <a:xfrm>
              <a:off x="10751247" y="6340165"/>
              <a:ext cx="37568" cy="9990"/>
            </a:xfrm>
            <a:custGeom>
              <a:avLst/>
              <a:gdLst>
                <a:gd name="connsiteX0" fmla="*/ 768 w 37568"/>
                <a:gd name="connsiteY0" fmla="*/ 226 h 9990"/>
                <a:gd name="connsiteX1" fmla="*/ 20500 w 37568"/>
                <a:gd name="connsiteY1" fmla="*/ 678 h 9990"/>
                <a:gd name="connsiteX2" fmla="*/ 23435 w 37568"/>
                <a:gd name="connsiteY2" fmla="*/ 90 h 9990"/>
                <a:gd name="connsiteX3" fmla="*/ 27228 w 37568"/>
                <a:gd name="connsiteY3" fmla="*/ 0 h 9990"/>
                <a:gd name="connsiteX4" fmla="*/ 31021 w 37568"/>
                <a:gd name="connsiteY4" fmla="*/ 407 h 9990"/>
                <a:gd name="connsiteX5" fmla="*/ 33911 w 37568"/>
                <a:gd name="connsiteY5" fmla="*/ 1221 h 9990"/>
                <a:gd name="connsiteX6" fmla="*/ 36124 w 37568"/>
                <a:gd name="connsiteY6" fmla="*/ 2712 h 9990"/>
                <a:gd name="connsiteX7" fmla="*/ 36937 w 37568"/>
                <a:gd name="connsiteY7" fmla="*/ 3752 h 9990"/>
                <a:gd name="connsiteX8" fmla="*/ 37433 w 37568"/>
                <a:gd name="connsiteY8" fmla="*/ 4837 h 9990"/>
                <a:gd name="connsiteX9" fmla="*/ 37569 w 37568"/>
                <a:gd name="connsiteY9" fmla="*/ 6012 h 9990"/>
                <a:gd name="connsiteX10" fmla="*/ 37207 w 37568"/>
                <a:gd name="connsiteY10" fmla="*/ 7233 h 9990"/>
                <a:gd name="connsiteX11" fmla="*/ 36349 w 37568"/>
                <a:gd name="connsiteY11" fmla="*/ 8408 h 9990"/>
                <a:gd name="connsiteX12" fmla="*/ 34814 w 37568"/>
                <a:gd name="connsiteY12" fmla="*/ 9538 h 9990"/>
                <a:gd name="connsiteX13" fmla="*/ 32557 w 37568"/>
                <a:gd name="connsiteY13" fmla="*/ 9990 h 9990"/>
                <a:gd name="connsiteX14" fmla="*/ 28538 w 37568"/>
                <a:gd name="connsiteY14" fmla="*/ 9990 h 9990"/>
                <a:gd name="connsiteX15" fmla="*/ 17701 w 37568"/>
                <a:gd name="connsiteY15" fmla="*/ 9176 h 9990"/>
                <a:gd name="connsiteX16" fmla="*/ 1174 w 37568"/>
                <a:gd name="connsiteY16" fmla="*/ 7278 h 9990"/>
                <a:gd name="connsiteX17" fmla="*/ 542 w 37568"/>
                <a:gd name="connsiteY17" fmla="*/ 7007 h 9990"/>
                <a:gd name="connsiteX18" fmla="*/ 181 w 37568"/>
                <a:gd name="connsiteY18" fmla="*/ 6374 h 9990"/>
                <a:gd name="connsiteX19" fmla="*/ 0 w 37568"/>
                <a:gd name="connsiteY19" fmla="*/ 4340 h 9990"/>
                <a:gd name="connsiteX20" fmla="*/ 768 w 37568"/>
                <a:gd name="connsiteY20" fmla="*/ 226 h 9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568" h="9990">
                  <a:moveTo>
                    <a:pt x="768" y="226"/>
                  </a:moveTo>
                  <a:lnTo>
                    <a:pt x="20500" y="678"/>
                  </a:lnTo>
                  <a:lnTo>
                    <a:pt x="23435" y="90"/>
                  </a:lnTo>
                  <a:lnTo>
                    <a:pt x="27228" y="0"/>
                  </a:lnTo>
                  <a:lnTo>
                    <a:pt x="31021" y="407"/>
                  </a:lnTo>
                  <a:lnTo>
                    <a:pt x="33911" y="1221"/>
                  </a:lnTo>
                  <a:lnTo>
                    <a:pt x="36124" y="2712"/>
                  </a:lnTo>
                  <a:lnTo>
                    <a:pt x="36937" y="3752"/>
                  </a:lnTo>
                  <a:lnTo>
                    <a:pt x="37433" y="4837"/>
                  </a:lnTo>
                  <a:lnTo>
                    <a:pt x="37569" y="6012"/>
                  </a:lnTo>
                  <a:lnTo>
                    <a:pt x="37207" y="7233"/>
                  </a:lnTo>
                  <a:lnTo>
                    <a:pt x="36349" y="8408"/>
                  </a:lnTo>
                  <a:lnTo>
                    <a:pt x="34814" y="9538"/>
                  </a:lnTo>
                  <a:lnTo>
                    <a:pt x="32557" y="9990"/>
                  </a:lnTo>
                  <a:lnTo>
                    <a:pt x="28538" y="9990"/>
                  </a:lnTo>
                  <a:lnTo>
                    <a:pt x="17701" y="9176"/>
                  </a:lnTo>
                  <a:lnTo>
                    <a:pt x="1174" y="7278"/>
                  </a:lnTo>
                  <a:lnTo>
                    <a:pt x="542" y="7007"/>
                  </a:lnTo>
                  <a:lnTo>
                    <a:pt x="181" y="6374"/>
                  </a:lnTo>
                  <a:lnTo>
                    <a:pt x="0" y="4340"/>
                  </a:lnTo>
                  <a:lnTo>
                    <a:pt x="768" y="226"/>
                  </a:lnTo>
                </a:path>
              </a:pathLst>
            </a:custGeom>
            <a:solidFill>
              <a:srgbClr val="ED1849"/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D44269F6-CC2C-C9ED-BC52-4619402AE7BF}"/>
                </a:ext>
              </a:extLst>
            </p:cNvPr>
            <p:cNvSpPr/>
            <p:nvPr/>
          </p:nvSpPr>
          <p:spPr>
            <a:xfrm>
              <a:off x="10753144" y="6358609"/>
              <a:ext cx="36214" cy="9809"/>
            </a:xfrm>
            <a:custGeom>
              <a:avLst/>
              <a:gdLst>
                <a:gd name="connsiteX0" fmla="*/ 4425 w 36214"/>
                <a:gd name="connsiteY0" fmla="*/ 0 h 9809"/>
                <a:gd name="connsiteX1" fmla="*/ 6141 w 36214"/>
                <a:gd name="connsiteY1" fmla="*/ 1040 h 9809"/>
                <a:gd name="connsiteX2" fmla="*/ 7225 w 36214"/>
                <a:gd name="connsiteY2" fmla="*/ 1673 h 9809"/>
                <a:gd name="connsiteX3" fmla="*/ 8444 w 36214"/>
                <a:gd name="connsiteY3" fmla="*/ 1989 h 9809"/>
                <a:gd name="connsiteX4" fmla="*/ 9302 w 36214"/>
                <a:gd name="connsiteY4" fmla="*/ 1808 h 9809"/>
                <a:gd name="connsiteX5" fmla="*/ 10295 w 36214"/>
                <a:gd name="connsiteY5" fmla="*/ 1356 h 9809"/>
                <a:gd name="connsiteX6" fmla="*/ 11289 w 36214"/>
                <a:gd name="connsiteY6" fmla="*/ 859 h 9809"/>
                <a:gd name="connsiteX7" fmla="*/ 12282 w 36214"/>
                <a:gd name="connsiteY7" fmla="*/ 633 h 9809"/>
                <a:gd name="connsiteX8" fmla="*/ 13998 w 36214"/>
                <a:gd name="connsiteY8" fmla="*/ 1266 h 9809"/>
                <a:gd name="connsiteX9" fmla="*/ 15849 w 36214"/>
                <a:gd name="connsiteY9" fmla="*/ 1899 h 9809"/>
                <a:gd name="connsiteX10" fmla="*/ 17385 w 36214"/>
                <a:gd name="connsiteY10" fmla="*/ 1401 h 9809"/>
                <a:gd name="connsiteX11" fmla="*/ 18965 w 36214"/>
                <a:gd name="connsiteY11" fmla="*/ 949 h 9809"/>
                <a:gd name="connsiteX12" fmla="*/ 20816 w 36214"/>
                <a:gd name="connsiteY12" fmla="*/ 1627 h 9809"/>
                <a:gd name="connsiteX13" fmla="*/ 21719 w 36214"/>
                <a:gd name="connsiteY13" fmla="*/ 1989 h 9809"/>
                <a:gd name="connsiteX14" fmla="*/ 22622 w 36214"/>
                <a:gd name="connsiteY14" fmla="*/ 1989 h 9809"/>
                <a:gd name="connsiteX15" fmla="*/ 28357 w 36214"/>
                <a:gd name="connsiteY15" fmla="*/ 1221 h 9809"/>
                <a:gd name="connsiteX16" fmla="*/ 32737 w 36214"/>
                <a:gd name="connsiteY16" fmla="*/ 1944 h 9809"/>
                <a:gd name="connsiteX17" fmla="*/ 33008 w 36214"/>
                <a:gd name="connsiteY17" fmla="*/ 2125 h 9809"/>
                <a:gd name="connsiteX18" fmla="*/ 33144 w 36214"/>
                <a:gd name="connsiteY18" fmla="*/ 2351 h 9809"/>
                <a:gd name="connsiteX19" fmla="*/ 33008 w 36214"/>
                <a:gd name="connsiteY19" fmla="*/ 2893 h 9809"/>
                <a:gd name="connsiteX20" fmla="*/ 32827 w 36214"/>
                <a:gd name="connsiteY20" fmla="*/ 3481 h 9809"/>
                <a:gd name="connsiteX21" fmla="*/ 33008 w 36214"/>
                <a:gd name="connsiteY21" fmla="*/ 4023 h 9809"/>
                <a:gd name="connsiteX22" fmla="*/ 34092 w 36214"/>
                <a:gd name="connsiteY22" fmla="*/ 4656 h 9809"/>
                <a:gd name="connsiteX23" fmla="*/ 35311 w 36214"/>
                <a:gd name="connsiteY23" fmla="*/ 5153 h 9809"/>
                <a:gd name="connsiteX24" fmla="*/ 35808 w 36214"/>
                <a:gd name="connsiteY24" fmla="*/ 5515 h 9809"/>
                <a:gd name="connsiteX25" fmla="*/ 36124 w 36214"/>
                <a:gd name="connsiteY25" fmla="*/ 6057 h 9809"/>
                <a:gd name="connsiteX26" fmla="*/ 36214 w 36214"/>
                <a:gd name="connsiteY26" fmla="*/ 6871 h 9809"/>
                <a:gd name="connsiteX27" fmla="*/ 35988 w 36214"/>
                <a:gd name="connsiteY27" fmla="*/ 8001 h 9809"/>
                <a:gd name="connsiteX28" fmla="*/ 35627 w 36214"/>
                <a:gd name="connsiteY28" fmla="*/ 8544 h 9809"/>
                <a:gd name="connsiteX29" fmla="*/ 34814 w 36214"/>
                <a:gd name="connsiteY29" fmla="*/ 8996 h 9809"/>
                <a:gd name="connsiteX30" fmla="*/ 32331 w 36214"/>
                <a:gd name="connsiteY30" fmla="*/ 9538 h 9809"/>
                <a:gd name="connsiteX31" fmla="*/ 24474 w 36214"/>
                <a:gd name="connsiteY31" fmla="*/ 9809 h 9809"/>
                <a:gd name="connsiteX32" fmla="*/ 13230 w 36214"/>
                <a:gd name="connsiteY32" fmla="*/ 8363 h 9809"/>
                <a:gd name="connsiteX33" fmla="*/ 3477 w 36214"/>
                <a:gd name="connsiteY33" fmla="*/ 6555 h 9809"/>
                <a:gd name="connsiteX34" fmla="*/ 2032 w 36214"/>
                <a:gd name="connsiteY34" fmla="*/ 5967 h 9809"/>
                <a:gd name="connsiteX35" fmla="*/ 948 w 36214"/>
                <a:gd name="connsiteY35" fmla="*/ 4656 h 9809"/>
                <a:gd name="connsiteX36" fmla="*/ 226 w 36214"/>
                <a:gd name="connsiteY36" fmla="*/ 3119 h 9809"/>
                <a:gd name="connsiteX37" fmla="*/ 0 w 36214"/>
                <a:gd name="connsiteY37" fmla="*/ 1763 h 9809"/>
                <a:gd name="connsiteX38" fmla="*/ 4425 w 36214"/>
                <a:gd name="connsiteY38" fmla="*/ 0 h 9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6214" h="9809">
                  <a:moveTo>
                    <a:pt x="4425" y="0"/>
                  </a:moveTo>
                  <a:lnTo>
                    <a:pt x="6141" y="1040"/>
                  </a:lnTo>
                  <a:lnTo>
                    <a:pt x="7225" y="1673"/>
                  </a:lnTo>
                  <a:lnTo>
                    <a:pt x="8444" y="1989"/>
                  </a:lnTo>
                  <a:lnTo>
                    <a:pt x="9302" y="1808"/>
                  </a:lnTo>
                  <a:lnTo>
                    <a:pt x="10295" y="1356"/>
                  </a:lnTo>
                  <a:lnTo>
                    <a:pt x="11289" y="859"/>
                  </a:lnTo>
                  <a:lnTo>
                    <a:pt x="12282" y="633"/>
                  </a:lnTo>
                  <a:lnTo>
                    <a:pt x="13998" y="1266"/>
                  </a:lnTo>
                  <a:lnTo>
                    <a:pt x="15849" y="1899"/>
                  </a:lnTo>
                  <a:lnTo>
                    <a:pt x="17385" y="1401"/>
                  </a:lnTo>
                  <a:lnTo>
                    <a:pt x="18965" y="949"/>
                  </a:lnTo>
                  <a:lnTo>
                    <a:pt x="20816" y="1627"/>
                  </a:lnTo>
                  <a:lnTo>
                    <a:pt x="21719" y="1989"/>
                  </a:lnTo>
                  <a:lnTo>
                    <a:pt x="22622" y="1989"/>
                  </a:lnTo>
                  <a:lnTo>
                    <a:pt x="28357" y="1221"/>
                  </a:lnTo>
                  <a:lnTo>
                    <a:pt x="32737" y="1944"/>
                  </a:lnTo>
                  <a:lnTo>
                    <a:pt x="33008" y="2125"/>
                  </a:lnTo>
                  <a:lnTo>
                    <a:pt x="33144" y="2351"/>
                  </a:lnTo>
                  <a:lnTo>
                    <a:pt x="33008" y="2893"/>
                  </a:lnTo>
                  <a:lnTo>
                    <a:pt x="32827" y="3481"/>
                  </a:lnTo>
                  <a:lnTo>
                    <a:pt x="33008" y="4023"/>
                  </a:lnTo>
                  <a:lnTo>
                    <a:pt x="34092" y="4656"/>
                  </a:lnTo>
                  <a:lnTo>
                    <a:pt x="35311" y="5153"/>
                  </a:lnTo>
                  <a:lnTo>
                    <a:pt x="35808" y="5515"/>
                  </a:lnTo>
                  <a:lnTo>
                    <a:pt x="36124" y="6057"/>
                  </a:lnTo>
                  <a:lnTo>
                    <a:pt x="36214" y="6871"/>
                  </a:lnTo>
                  <a:lnTo>
                    <a:pt x="35988" y="8001"/>
                  </a:lnTo>
                  <a:lnTo>
                    <a:pt x="35627" y="8544"/>
                  </a:lnTo>
                  <a:lnTo>
                    <a:pt x="34814" y="8996"/>
                  </a:lnTo>
                  <a:lnTo>
                    <a:pt x="32331" y="9538"/>
                  </a:lnTo>
                  <a:lnTo>
                    <a:pt x="24474" y="9809"/>
                  </a:lnTo>
                  <a:lnTo>
                    <a:pt x="13230" y="8363"/>
                  </a:lnTo>
                  <a:lnTo>
                    <a:pt x="3477" y="6555"/>
                  </a:lnTo>
                  <a:lnTo>
                    <a:pt x="2032" y="5967"/>
                  </a:lnTo>
                  <a:lnTo>
                    <a:pt x="948" y="4656"/>
                  </a:lnTo>
                  <a:lnTo>
                    <a:pt x="226" y="3119"/>
                  </a:lnTo>
                  <a:lnTo>
                    <a:pt x="0" y="1763"/>
                  </a:lnTo>
                  <a:lnTo>
                    <a:pt x="4425" y="0"/>
                  </a:lnTo>
                </a:path>
              </a:pathLst>
            </a:custGeom>
            <a:solidFill>
              <a:srgbClr val="ED037C"/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3BA63403-8C1D-B6C3-5B04-440C7298C8C5}"/>
                </a:ext>
              </a:extLst>
            </p:cNvPr>
            <p:cNvSpPr/>
            <p:nvPr/>
          </p:nvSpPr>
          <p:spPr>
            <a:xfrm>
              <a:off x="10751383" y="6369232"/>
              <a:ext cx="37478" cy="10668"/>
            </a:xfrm>
            <a:custGeom>
              <a:avLst/>
              <a:gdLst>
                <a:gd name="connsiteX0" fmla="*/ 3522 w 37478"/>
                <a:gd name="connsiteY0" fmla="*/ 0 h 10668"/>
                <a:gd name="connsiteX1" fmla="*/ 6547 w 37478"/>
                <a:gd name="connsiteY1" fmla="*/ 1175 h 10668"/>
                <a:gd name="connsiteX2" fmla="*/ 8038 w 37478"/>
                <a:gd name="connsiteY2" fmla="*/ 1718 h 10668"/>
                <a:gd name="connsiteX3" fmla="*/ 9528 w 37478"/>
                <a:gd name="connsiteY3" fmla="*/ 1673 h 10668"/>
                <a:gd name="connsiteX4" fmla="*/ 22939 w 37478"/>
                <a:gd name="connsiteY4" fmla="*/ 1040 h 10668"/>
                <a:gd name="connsiteX5" fmla="*/ 28312 w 37478"/>
                <a:gd name="connsiteY5" fmla="*/ 1537 h 10668"/>
                <a:gd name="connsiteX6" fmla="*/ 32511 w 37478"/>
                <a:gd name="connsiteY6" fmla="*/ 2577 h 10668"/>
                <a:gd name="connsiteX7" fmla="*/ 34408 w 37478"/>
                <a:gd name="connsiteY7" fmla="*/ 3074 h 10668"/>
                <a:gd name="connsiteX8" fmla="*/ 35492 w 37478"/>
                <a:gd name="connsiteY8" fmla="*/ 3526 h 10668"/>
                <a:gd name="connsiteX9" fmla="*/ 36350 w 37478"/>
                <a:gd name="connsiteY9" fmla="*/ 4159 h 10668"/>
                <a:gd name="connsiteX10" fmla="*/ 37298 w 37478"/>
                <a:gd name="connsiteY10" fmla="*/ 5831 h 10668"/>
                <a:gd name="connsiteX11" fmla="*/ 37478 w 37478"/>
                <a:gd name="connsiteY11" fmla="*/ 7459 h 10668"/>
                <a:gd name="connsiteX12" fmla="*/ 37072 w 37478"/>
                <a:gd name="connsiteY12" fmla="*/ 8860 h 10668"/>
                <a:gd name="connsiteX13" fmla="*/ 36350 w 37478"/>
                <a:gd name="connsiteY13" fmla="*/ 9764 h 10668"/>
                <a:gd name="connsiteX14" fmla="*/ 36350 w 37478"/>
                <a:gd name="connsiteY14" fmla="*/ 10668 h 10668"/>
                <a:gd name="connsiteX15" fmla="*/ 23210 w 37478"/>
                <a:gd name="connsiteY15" fmla="*/ 10623 h 10668"/>
                <a:gd name="connsiteX16" fmla="*/ 18830 w 37478"/>
                <a:gd name="connsiteY16" fmla="*/ 10668 h 10668"/>
                <a:gd name="connsiteX17" fmla="*/ 14495 w 37478"/>
                <a:gd name="connsiteY17" fmla="*/ 10307 h 10668"/>
                <a:gd name="connsiteX18" fmla="*/ 10160 w 37478"/>
                <a:gd name="connsiteY18" fmla="*/ 9538 h 10668"/>
                <a:gd name="connsiteX19" fmla="*/ 6277 w 37478"/>
                <a:gd name="connsiteY19" fmla="*/ 8905 h 10668"/>
                <a:gd name="connsiteX20" fmla="*/ 3477 w 37478"/>
                <a:gd name="connsiteY20" fmla="*/ 8453 h 10668"/>
                <a:gd name="connsiteX21" fmla="*/ 2348 w 37478"/>
                <a:gd name="connsiteY21" fmla="*/ 8182 h 10668"/>
                <a:gd name="connsiteX22" fmla="*/ 1580 w 37478"/>
                <a:gd name="connsiteY22" fmla="*/ 7459 h 10668"/>
                <a:gd name="connsiteX23" fmla="*/ 497 w 37478"/>
                <a:gd name="connsiteY23" fmla="*/ 5153 h 10668"/>
                <a:gd name="connsiteX24" fmla="*/ 0 w 37478"/>
                <a:gd name="connsiteY24" fmla="*/ 2667 h 10668"/>
                <a:gd name="connsiteX25" fmla="*/ 3522 w 37478"/>
                <a:gd name="connsiteY25" fmla="*/ 0 h 1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7478" h="10668">
                  <a:moveTo>
                    <a:pt x="3522" y="0"/>
                  </a:moveTo>
                  <a:lnTo>
                    <a:pt x="6547" y="1175"/>
                  </a:lnTo>
                  <a:lnTo>
                    <a:pt x="8038" y="1718"/>
                  </a:lnTo>
                  <a:lnTo>
                    <a:pt x="9528" y="1673"/>
                  </a:lnTo>
                  <a:lnTo>
                    <a:pt x="22939" y="1040"/>
                  </a:lnTo>
                  <a:lnTo>
                    <a:pt x="28312" y="1537"/>
                  </a:lnTo>
                  <a:lnTo>
                    <a:pt x="32511" y="2577"/>
                  </a:lnTo>
                  <a:lnTo>
                    <a:pt x="34408" y="3074"/>
                  </a:lnTo>
                  <a:lnTo>
                    <a:pt x="35492" y="3526"/>
                  </a:lnTo>
                  <a:lnTo>
                    <a:pt x="36350" y="4159"/>
                  </a:lnTo>
                  <a:lnTo>
                    <a:pt x="37298" y="5831"/>
                  </a:lnTo>
                  <a:lnTo>
                    <a:pt x="37478" y="7459"/>
                  </a:lnTo>
                  <a:lnTo>
                    <a:pt x="37072" y="8860"/>
                  </a:lnTo>
                  <a:lnTo>
                    <a:pt x="36350" y="9764"/>
                  </a:lnTo>
                  <a:lnTo>
                    <a:pt x="36350" y="10668"/>
                  </a:lnTo>
                  <a:lnTo>
                    <a:pt x="23210" y="10623"/>
                  </a:lnTo>
                  <a:lnTo>
                    <a:pt x="18830" y="10668"/>
                  </a:lnTo>
                  <a:lnTo>
                    <a:pt x="14495" y="10307"/>
                  </a:lnTo>
                  <a:lnTo>
                    <a:pt x="10160" y="9538"/>
                  </a:lnTo>
                  <a:lnTo>
                    <a:pt x="6277" y="8905"/>
                  </a:lnTo>
                  <a:lnTo>
                    <a:pt x="3477" y="8453"/>
                  </a:lnTo>
                  <a:lnTo>
                    <a:pt x="2348" y="8182"/>
                  </a:lnTo>
                  <a:lnTo>
                    <a:pt x="1580" y="7459"/>
                  </a:lnTo>
                  <a:lnTo>
                    <a:pt x="497" y="5153"/>
                  </a:lnTo>
                  <a:lnTo>
                    <a:pt x="0" y="2667"/>
                  </a:lnTo>
                  <a:lnTo>
                    <a:pt x="3522" y="0"/>
                  </a:lnTo>
                </a:path>
              </a:pathLst>
            </a:custGeom>
            <a:solidFill>
              <a:srgbClr val="ED037C"/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A8058AFF-BB7A-B2B4-40D0-CE4E712A07D4}"/>
                </a:ext>
              </a:extLst>
            </p:cNvPr>
            <p:cNvSpPr/>
            <p:nvPr/>
          </p:nvSpPr>
          <p:spPr>
            <a:xfrm>
              <a:off x="10751428" y="6384918"/>
              <a:ext cx="38110" cy="17494"/>
            </a:xfrm>
            <a:custGeom>
              <a:avLst/>
              <a:gdLst>
                <a:gd name="connsiteX0" fmla="*/ 4470 w 38110"/>
                <a:gd name="connsiteY0" fmla="*/ 0 h 17494"/>
                <a:gd name="connsiteX1" fmla="*/ 10431 w 38110"/>
                <a:gd name="connsiteY1" fmla="*/ 768 h 17494"/>
                <a:gd name="connsiteX2" fmla="*/ 12418 w 38110"/>
                <a:gd name="connsiteY2" fmla="*/ 994 h 17494"/>
                <a:gd name="connsiteX3" fmla="*/ 14133 w 38110"/>
                <a:gd name="connsiteY3" fmla="*/ 678 h 17494"/>
                <a:gd name="connsiteX4" fmla="*/ 16436 w 38110"/>
                <a:gd name="connsiteY4" fmla="*/ 452 h 17494"/>
                <a:gd name="connsiteX5" fmla="*/ 20049 w 38110"/>
                <a:gd name="connsiteY5" fmla="*/ 723 h 17494"/>
                <a:gd name="connsiteX6" fmla="*/ 25241 w 38110"/>
                <a:gd name="connsiteY6" fmla="*/ 814 h 17494"/>
                <a:gd name="connsiteX7" fmla="*/ 30479 w 38110"/>
                <a:gd name="connsiteY7" fmla="*/ 542 h 17494"/>
                <a:gd name="connsiteX8" fmla="*/ 32286 w 38110"/>
                <a:gd name="connsiteY8" fmla="*/ 497 h 17494"/>
                <a:gd name="connsiteX9" fmla="*/ 33821 w 38110"/>
                <a:gd name="connsiteY9" fmla="*/ 1130 h 17494"/>
                <a:gd name="connsiteX10" fmla="*/ 36530 w 38110"/>
                <a:gd name="connsiteY10" fmla="*/ 3390 h 17494"/>
                <a:gd name="connsiteX11" fmla="*/ 37433 w 38110"/>
                <a:gd name="connsiteY11" fmla="*/ 4520 h 17494"/>
                <a:gd name="connsiteX12" fmla="*/ 37975 w 38110"/>
                <a:gd name="connsiteY12" fmla="*/ 5831 h 17494"/>
                <a:gd name="connsiteX13" fmla="*/ 38111 w 38110"/>
                <a:gd name="connsiteY13" fmla="*/ 7278 h 17494"/>
                <a:gd name="connsiteX14" fmla="*/ 37749 w 38110"/>
                <a:gd name="connsiteY14" fmla="*/ 8724 h 17494"/>
                <a:gd name="connsiteX15" fmla="*/ 36169 w 38110"/>
                <a:gd name="connsiteY15" fmla="*/ 13154 h 17494"/>
                <a:gd name="connsiteX16" fmla="*/ 35266 w 38110"/>
                <a:gd name="connsiteY16" fmla="*/ 15098 h 17494"/>
                <a:gd name="connsiteX17" fmla="*/ 33956 w 38110"/>
                <a:gd name="connsiteY17" fmla="*/ 16680 h 17494"/>
                <a:gd name="connsiteX18" fmla="*/ 33189 w 38110"/>
                <a:gd name="connsiteY18" fmla="*/ 17042 h 17494"/>
                <a:gd name="connsiteX19" fmla="*/ 32286 w 38110"/>
                <a:gd name="connsiteY19" fmla="*/ 17087 h 17494"/>
                <a:gd name="connsiteX20" fmla="*/ 30073 w 38110"/>
                <a:gd name="connsiteY20" fmla="*/ 16680 h 17494"/>
                <a:gd name="connsiteX21" fmla="*/ 27770 w 38110"/>
                <a:gd name="connsiteY21" fmla="*/ 16048 h 17494"/>
                <a:gd name="connsiteX22" fmla="*/ 25783 w 38110"/>
                <a:gd name="connsiteY22" fmla="*/ 15776 h 17494"/>
                <a:gd name="connsiteX23" fmla="*/ 24338 w 38110"/>
                <a:gd name="connsiteY23" fmla="*/ 16138 h 17494"/>
                <a:gd name="connsiteX24" fmla="*/ 23074 w 38110"/>
                <a:gd name="connsiteY24" fmla="*/ 16771 h 17494"/>
                <a:gd name="connsiteX25" fmla="*/ 21765 w 38110"/>
                <a:gd name="connsiteY25" fmla="*/ 17313 h 17494"/>
                <a:gd name="connsiteX26" fmla="*/ 20274 w 38110"/>
                <a:gd name="connsiteY26" fmla="*/ 17494 h 17494"/>
                <a:gd name="connsiteX27" fmla="*/ 16030 w 38110"/>
                <a:gd name="connsiteY27" fmla="*/ 16364 h 17494"/>
                <a:gd name="connsiteX28" fmla="*/ 13637 w 38110"/>
                <a:gd name="connsiteY28" fmla="*/ 16048 h 17494"/>
                <a:gd name="connsiteX29" fmla="*/ 10882 w 38110"/>
                <a:gd name="connsiteY29" fmla="*/ 16500 h 17494"/>
                <a:gd name="connsiteX30" fmla="*/ 10160 w 38110"/>
                <a:gd name="connsiteY30" fmla="*/ 16590 h 17494"/>
                <a:gd name="connsiteX31" fmla="*/ 9482 w 38110"/>
                <a:gd name="connsiteY31" fmla="*/ 16274 h 17494"/>
                <a:gd name="connsiteX32" fmla="*/ 8760 w 38110"/>
                <a:gd name="connsiteY32" fmla="*/ 15912 h 17494"/>
                <a:gd name="connsiteX33" fmla="*/ 7992 w 38110"/>
                <a:gd name="connsiteY33" fmla="*/ 15731 h 17494"/>
                <a:gd name="connsiteX34" fmla="*/ 6322 w 38110"/>
                <a:gd name="connsiteY34" fmla="*/ 15686 h 17494"/>
                <a:gd name="connsiteX35" fmla="*/ 5689 w 38110"/>
                <a:gd name="connsiteY35" fmla="*/ 15460 h 17494"/>
                <a:gd name="connsiteX36" fmla="*/ 5373 w 38110"/>
                <a:gd name="connsiteY36" fmla="*/ 15098 h 17494"/>
                <a:gd name="connsiteX37" fmla="*/ 3341 w 38110"/>
                <a:gd name="connsiteY37" fmla="*/ 11979 h 17494"/>
                <a:gd name="connsiteX38" fmla="*/ 1174 w 38110"/>
                <a:gd name="connsiteY38" fmla="*/ 9402 h 17494"/>
                <a:gd name="connsiteX39" fmla="*/ 271 w 38110"/>
                <a:gd name="connsiteY39" fmla="*/ 8227 h 17494"/>
                <a:gd name="connsiteX40" fmla="*/ 0 w 38110"/>
                <a:gd name="connsiteY40" fmla="*/ 6871 h 17494"/>
                <a:gd name="connsiteX41" fmla="*/ 497 w 38110"/>
                <a:gd name="connsiteY41" fmla="*/ 5244 h 17494"/>
                <a:gd name="connsiteX42" fmla="*/ 1671 w 38110"/>
                <a:gd name="connsiteY42" fmla="*/ 3526 h 17494"/>
                <a:gd name="connsiteX43" fmla="*/ 4470 w 38110"/>
                <a:gd name="connsiteY43" fmla="*/ 0 h 1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8110" h="17494">
                  <a:moveTo>
                    <a:pt x="4470" y="0"/>
                  </a:moveTo>
                  <a:lnTo>
                    <a:pt x="10431" y="768"/>
                  </a:lnTo>
                  <a:lnTo>
                    <a:pt x="12418" y="994"/>
                  </a:lnTo>
                  <a:lnTo>
                    <a:pt x="14133" y="678"/>
                  </a:lnTo>
                  <a:lnTo>
                    <a:pt x="16436" y="452"/>
                  </a:lnTo>
                  <a:lnTo>
                    <a:pt x="20049" y="723"/>
                  </a:lnTo>
                  <a:lnTo>
                    <a:pt x="25241" y="814"/>
                  </a:lnTo>
                  <a:lnTo>
                    <a:pt x="30479" y="542"/>
                  </a:lnTo>
                  <a:lnTo>
                    <a:pt x="32286" y="497"/>
                  </a:lnTo>
                  <a:lnTo>
                    <a:pt x="33821" y="1130"/>
                  </a:lnTo>
                  <a:lnTo>
                    <a:pt x="36530" y="3390"/>
                  </a:lnTo>
                  <a:lnTo>
                    <a:pt x="37433" y="4520"/>
                  </a:lnTo>
                  <a:lnTo>
                    <a:pt x="37975" y="5831"/>
                  </a:lnTo>
                  <a:lnTo>
                    <a:pt x="38111" y="7278"/>
                  </a:lnTo>
                  <a:lnTo>
                    <a:pt x="37749" y="8724"/>
                  </a:lnTo>
                  <a:lnTo>
                    <a:pt x="36169" y="13154"/>
                  </a:lnTo>
                  <a:lnTo>
                    <a:pt x="35266" y="15098"/>
                  </a:lnTo>
                  <a:lnTo>
                    <a:pt x="33956" y="16680"/>
                  </a:lnTo>
                  <a:lnTo>
                    <a:pt x="33189" y="17042"/>
                  </a:lnTo>
                  <a:lnTo>
                    <a:pt x="32286" y="17087"/>
                  </a:lnTo>
                  <a:lnTo>
                    <a:pt x="30073" y="16680"/>
                  </a:lnTo>
                  <a:lnTo>
                    <a:pt x="27770" y="16048"/>
                  </a:lnTo>
                  <a:lnTo>
                    <a:pt x="25783" y="15776"/>
                  </a:lnTo>
                  <a:lnTo>
                    <a:pt x="24338" y="16138"/>
                  </a:lnTo>
                  <a:lnTo>
                    <a:pt x="23074" y="16771"/>
                  </a:lnTo>
                  <a:lnTo>
                    <a:pt x="21765" y="17313"/>
                  </a:lnTo>
                  <a:lnTo>
                    <a:pt x="20274" y="17494"/>
                  </a:lnTo>
                  <a:lnTo>
                    <a:pt x="16030" y="16364"/>
                  </a:lnTo>
                  <a:lnTo>
                    <a:pt x="13637" y="16048"/>
                  </a:lnTo>
                  <a:lnTo>
                    <a:pt x="10882" y="16500"/>
                  </a:lnTo>
                  <a:lnTo>
                    <a:pt x="10160" y="16590"/>
                  </a:lnTo>
                  <a:lnTo>
                    <a:pt x="9482" y="16274"/>
                  </a:lnTo>
                  <a:lnTo>
                    <a:pt x="8760" y="15912"/>
                  </a:lnTo>
                  <a:lnTo>
                    <a:pt x="7992" y="15731"/>
                  </a:lnTo>
                  <a:lnTo>
                    <a:pt x="6322" y="15686"/>
                  </a:lnTo>
                  <a:lnTo>
                    <a:pt x="5689" y="15460"/>
                  </a:lnTo>
                  <a:lnTo>
                    <a:pt x="5373" y="15098"/>
                  </a:lnTo>
                  <a:lnTo>
                    <a:pt x="3341" y="11979"/>
                  </a:lnTo>
                  <a:lnTo>
                    <a:pt x="1174" y="9402"/>
                  </a:lnTo>
                  <a:lnTo>
                    <a:pt x="271" y="8227"/>
                  </a:lnTo>
                  <a:lnTo>
                    <a:pt x="0" y="6871"/>
                  </a:lnTo>
                  <a:lnTo>
                    <a:pt x="497" y="5244"/>
                  </a:lnTo>
                  <a:lnTo>
                    <a:pt x="1671" y="3526"/>
                  </a:lnTo>
                  <a:lnTo>
                    <a:pt x="4470" y="0"/>
                  </a:lnTo>
                </a:path>
              </a:pathLst>
            </a:custGeom>
            <a:solidFill>
              <a:srgbClr val="A9218E"/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179E05F0-77A1-0794-14BB-2CE30DC9E14A}"/>
                </a:ext>
              </a:extLst>
            </p:cNvPr>
            <p:cNvSpPr/>
            <p:nvPr/>
          </p:nvSpPr>
          <p:spPr>
            <a:xfrm>
              <a:off x="10748764" y="6415250"/>
              <a:ext cx="43619" cy="24771"/>
            </a:xfrm>
            <a:custGeom>
              <a:avLst/>
              <a:gdLst>
                <a:gd name="connsiteX0" fmla="*/ 13908 w 43619"/>
                <a:gd name="connsiteY0" fmla="*/ 136 h 24771"/>
                <a:gd name="connsiteX1" fmla="*/ 16120 w 43619"/>
                <a:gd name="connsiteY1" fmla="*/ 0 h 24771"/>
                <a:gd name="connsiteX2" fmla="*/ 18333 w 43619"/>
                <a:gd name="connsiteY2" fmla="*/ 226 h 24771"/>
                <a:gd name="connsiteX3" fmla="*/ 31066 w 43619"/>
                <a:gd name="connsiteY3" fmla="*/ 1492 h 24771"/>
                <a:gd name="connsiteX4" fmla="*/ 34634 w 43619"/>
                <a:gd name="connsiteY4" fmla="*/ 2034 h 24771"/>
                <a:gd name="connsiteX5" fmla="*/ 38020 w 43619"/>
                <a:gd name="connsiteY5" fmla="*/ 2983 h 24771"/>
                <a:gd name="connsiteX6" fmla="*/ 39555 w 43619"/>
                <a:gd name="connsiteY6" fmla="*/ 3933 h 24771"/>
                <a:gd name="connsiteX7" fmla="*/ 40910 w 43619"/>
                <a:gd name="connsiteY7" fmla="*/ 5289 h 24771"/>
                <a:gd name="connsiteX8" fmla="*/ 42039 w 43619"/>
                <a:gd name="connsiteY8" fmla="*/ 7323 h 24771"/>
                <a:gd name="connsiteX9" fmla="*/ 42942 w 43619"/>
                <a:gd name="connsiteY9" fmla="*/ 10035 h 24771"/>
                <a:gd name="connsiteX10" fmla="*/ 43619 w 43619"/>
                <a:gd name="connsiteY10" fmla="*/ 14646 h 24771"/>
                <a:gd name="connsiteX11" fmla="*/ 43394 w 43619"/>
                <a:gd name="connsiteY11" fmla="*/ 16952 h 24771"/>
                <a:gd name="connsiteX12" fmla="*/ 42536 w 43619"/>
                <a:gd name="connsiteY12" fmla="*/ 19076 h 24771"/>
                <a:gd name="connsiteX13" fmla="*/ 41362 w 43619"/>
                <a:gd name="connsiteY13" fmla="*/ 20432 h 24771"/>
                <a:gd name="connsiteX14" fmla="*/ 39826 w 43619"/>
                <a:gd name="connsiteY14" fmla="*/ 21608 h 24771"/>
                <a:gd name="connsiteX15" fmla="*/ 35717 w 43619"/>
                <a:gd name="connsiteY15" fmla="*/ 23371 h 24771"/>
                <a:gd name="connsiteX16" fmla="*/ 24925 w 43619"/>
                <a:gd name="connsiteY16" fmla="*/ 24772 h 24771"/>
                <a:gd name="connsiteX17" fmla="*/ 21494 w 43619"/>
                <a:gd name="connsiteY17" fmla="*/ 24320 h 24771"/>
                <a:gd name="connsiteX18" fmla="*/ 18197 w 43619"/>
                <a:gd name="connsiteY18" fmla="*/ 23371 h 24771"/>
                <a:gd name="connsiteX19" fmla="*/ 14901 w 43619"/>
                <a:gd name="connsiteY19" fmla="*/ 22467 h 24771"/>
                <a:gd name="connsiteX20" fmla="*/ 11695 w 43619"/>
                <a:gd name="connsiteY20" fmla="*/ 22105 h 24771"/>
                <a:gd name="connsiteX21" fmla="*/ 7180 w 43619"/>
                <a:gd name="connsiteY21" fmla="*/ 21562 h 24771"/>
                <a:gd name="connsiteX22" fmla="*/ 3793 w 43619"/>
                <a:gd name="connsiteY22" fmla="*/ 19890 h 24771"/>
                <a:gd name="connsiteX23" fmla="*/ 1535 w 43619"/>
                <a:gd name="connsiteY23" fmla="*/ 17494 h 24771"/>
                <a:gd name="connsiteX24" fmla="*/ 316 w 43619"/>
                <a:gd name="connsiteY24" fmla="*/ 14782 h 24771"/>
                <a:gd name="connsiteX25" fmla="*/ 0 w 43619"/>
                <a:gd name="connsiteY25" fmla="*/ 11798 h 24771"/>
                <a:gd name="connsiteX26" fmla="*/ 722 w 43619"/>
                <a:gd name="connsiteY26" fmla="*/ 9222 h 24771"/>
                <a:gd name="connsiteX27" fmla="*/ 2213 w 43619"/>
                <a:gd name="connsiteY27" fmla="*/ 7052 h 24771"/>
                <a:gd name="connsiteX28" fmla="*/ 4154 w 43619"/>
                <a:gd name="connsiteY28" fmla="*/ 5334 h 24771"/>
                <a:gd name="connsiteX29" fmla="*/ 8399 w 43619"/>
                <a:gd name="connsiteY29" fmla="*/ 2983 h 24771"/>
                <a:gd name="connsiteX30" fmla="*/ 11289 w 43619"/>
                <a:gd name="connsiteY30" fmla="*/ 1944 h 24771"/>
                <a:gd name="connsiteX31" fmla="*/ 12011 w 43619"/>
                <a:gd name="connsiteY31" fmla="*/ 1582 h 24771"/>
                <a:gd name="connsiteX32" fmla="*/ 12508 w 43619"/>
                <a:gd name="connsiteY32" fmla="*/ 1085 h 24771"/>
                <a:gd name="connsiteX33" fmla="*/ 13050 w 43619"/>
                <a:gd name="connsiteY33" fmla="*/ 542 h 24771"/>
                <a:gd name="connsiteX34" fmla="*/ 13908 w 43619"/>
                <a:gd name="connsiteY34" fmla="*/ 136 h 2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3619" h="24771">
                  <a:moveTo>
                    <a:pt x="13908" y="136"/>
                  </a:moveTo>
                  <a:lnTo>
                    <a:pt x="16120" y="0"/>
                  </a:lnTo>
                  <a:lnTo>
                    <a:pt x="18333" y="226"/>
                  </a:lnTo>
                  <a:lnTo>
                    <a:pt x="31066" y="1492"/>
                  </a:lnTo>
                  <a:lnTo>
                    <a:pt x="34634" y="2034"/>
                  </a:lnTo>
                  <a:lnTo>
                    <a:pt x="38020" y="2983"/>
                  </a:lnTo>
                  <a:lnTo>
                    <a:pt x="39555" y="3933"/>
                  </a:lnTo>
                  <a:lnTo>
                    <a:pt x="40910" y="5289"/>
                  </a:lnTo>
                  <a:lnTo>
                    <a:pt x="42039" y="7323"/>
                  </a:lnTo>
                  <a:lnTo>
                    <a:pt x="42942" y="10035"/>
                  </a:lnTo>
                  <a:lnTo>
                    <a:pt x="43619" y="14646"/>
                  </a:lnTo>
                  <a:lnTo>
                    <a:pt x="43394" y="16952"/>
                  </a:lnTo>
                  <a:lnTo>
                    <a:pt x="42536" y="19076"/>
                  </a:lnTo>
                  <a:lnTo>
                    <a:pt x="41362" y="20432"/>
                  </a:lnTo>
                  <a:lnTo>
                    <a:pt x="39826" y="21608"/>
                  </a:lnTo>
                  <a:lnTo>
                    <a:pt x="35717" y="23371"/>
                  </a:lnTo>
                  <a:lnTo>
                    <a:pt x="24925" y="24772"/>
                  </a:lnTo>
                  <a:lnTo>
                    <a:pt x="21494" y="24320"/>
                  </a:lnTo>
                  <a:lnTo>
                    <a:pt x="18197" y="23371"/>
                  </a:lnTo>
                  <a:lnTo>
                    <a:pt x="14901" y="22467"/>
                  </a:lnTo>
                  <a:lnTo>
                    <a:pt x="11695" y="22105"/>
                  </a:lnTo>
                  <a:lnTo>
                    <a:pt x="7180" y="21562"/>
                  </a:lnTo>
                  <a:lnTo>
                    <a:pt x="3793" y="19890"/>
                  </a:lnTo>
                  <a:lnTo>
                    <a:pt x="1535" y="17494"/>
                  </a:lnTo>
                  <a:lnTo>
                    <a:pt x="316" y="14782"/>
                  </a:lnTo>
                  <a:lnTo>
                    <a:pt x="0" y="11798"/>
                  </a:lnTo>
                  <a:lnTo>
                    <a:pt x="722" y="9222"/>
                  </a:lnTo>
                  <a:lnTo>
                    <a:pt x="2213" y="7052"/>
                  </a:lnTo>
                  <a:lnTo>
                    <a:pt x="4154" y="5334"/>
                  </a:lnTo>
                  <a:lnTo>
                    <a:pt x="8399" y="2983"/>
                  </a:lnTo>
                  <a:lnTo>
                    <a:pt x="11289" y="1944"/>
                  </a:lnTo>
                  <a:lnTo>
                    <a:pt x="12011" y="1582"/>
                  </a:lnTo>
                  <a:lnTo>
                    <a:pt x="12508" y="1085"/>
                  </a:lnTo>
                  <a:lnTo>
                    <a:pt x="13050" y="542"/>
                  </a:lnTo>
                  <a:lnTo>
                    <a:pt x="13908" y="136"/>
                  </a:lnTo>
                </a:path>
              </a:pathLst>
            </a:custGeom>
            <a:solidFill>
              <a:srgbClr val="353D98"/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72D5B2D6-7D9E-5CF6-585F-540325867BD7}"/>
                </a:ext>
              </a:extLst>
            </p:cNvPr>
            <p:cNvSpPr/>
            <p:nvPr/>
          </p:nvSpPr>
          <p:spPr>
            <a:xfrm>
              <a:off x="10751834" y="6451097"/>
              <a:ext cx="36484" cy="23913"/>
            </a:xfrm>
            <a:custGeom>
              <a:avLst/>
              <a:gdLst>
                <a:gd name="connsiteX0" fmla="*/ 20591 w 36484"/>
                <a:gd name="connsiteY0" fmla="*/ 0 h 23913"/>
                <a:gd name="connsiteX1" fmla="*/ 24745 w 36484"/>
                <a:gd name="connsiteY1" fmla="*/ 362 h 23913"/>
                <a:gd name="connsiteX2" fmla="*/ 29080 w 36484"/>
                <a:gd name="connsiteY2" fmla="*/ 1944 h 23913"/>
                <a:gd name="connsiteX3" fmla="*/ 30344 w 36484"/>
                <a:gd name="connsiteY3" fmla="*/ 3164 h 23913"/>
                <a:gd name="connsiteX4" fmla="*/ 31382 w 36484"/>
                <a:gd name="connsiteY4" fmla="*/ 4114 h 23913"/>
                <a:gd name="connsiteX5" fmla="*/ 33550 w 36484"/>
                <a:gd name="connsiteY5" fmla="*/ 4566 h 23913"/>
                <a:gd name="connsiteX6" fmla="*/ 34588 w 36484"/>
                <a:gd name="connsiteY6" fmla="*/ 4882 h 23913"/>
                <a:gd name="connsiteX7" fmla="*/ 35266 w 36484"/>
                <a:gd name="connsiteY7" fmla="*/ 5470 h 23913"/>
                <a:gd name="connsiteX8" fmla="*/ 36395 w 36484"/>
                <a:gd name="connsiteY8" fmla="*/ 10442 h 23913"/>
                <a:gd name="connsiteX9" fmla="*/ 36485 w 36484"/>
                <a:gd name="connsiteY9" fmla="*/ 13606 h 23913"/>
                <a:gd name="connsiteX10" fmla="*/ 35988 w 36484"/>
                <a:gd name="connsiteY10" fmla="*/ 16228 h 23913"/>
                <a:gd name="connsiteX11" fmla="*/ 35040 w 36484"/>
                <a:gd name="connsiteY11" fmla="*/ 17856 h 23913"/>
                <a:gd name="connsiteX12" fmla="*/ 33685 w 36484"/>
                <a:gd name="connsiteY12" fmla="*/ 19302 h 23913"/>
                <a:gd name="connsiteX13" fmla="*/ 30118 w 36484"/>
                <a:gd name="connsiteY13" fmla="*/ 21562 h 23913"/>
                <a:gd name="connsiteX14" fmla="*/ 25648 w 36484"/>
                <a:gd name="connsiteY14" fmla="*/ 23054 h 23913"/>
                <a:gd name="connsiteX15" fmla="*/ 20636 w 36484"/>
                <a:gd name="connsiteY15" fmla="*/ 23823 h 23913"/>
                <a:gd name="connsiteX16" fmla="*/ 15488 w 36484"/>
                <a:gd name="connsiteY16" fmla="*/ 23913 h 23913"/>
                <a:gd name="connsiteX17" fmla="*/ 10566 w 36484"/>
                <a:gd name="connsiteY17" fmla="*/ 23325 h 23913"/>
                <a:gd name="connsiteX18" fmla="*/ 6231 w 36484"/>
                <a:gd name="connsiteY18" fmla="*/ 22195 h 23913"/>
                <a:gd name="connsiteX19" fmla="*/ 2935 w 36484"/>
                <a:gd name="connsiteY19" fmla="*/ 20523 h 23913"/>
                <a:gd name="connsiteX20" fmla="*/ 1896 w 36484"/>
                <a:gd name="connsiteY20" fmla="*/ 19528 h 23913"/>
                <a:gd name="connsiteX21" fmla="*/ 1174 w 36484"/>
                <a:gd name="connsiteY21" fmla="*/ 18353 h 23913"/>
                <a:gd name="connsiteX22" fmla="*/ 271 w 36484"/>
                <a:gd name="connsiteY22" fmla="*/ 15686 h 23913"/>
                <a:gd name="connsiteX23" fmla="*/ 0 w 36484"/>
                <a:gd name="connsiteY23" fmla="*/ 12748 h 23913"/>
                <a:gd name="connsiteX24" fmla="*/ 587 w 36484"/>
                <a:gd name="connsiteY24" fmla="*/ 10171 h 23913"/>
                <a:gd name="connsiteX25" fmla="*/ 1942 w 36484"/>
                <a:gd name="connsiteY25" fmla="*/ 7956 h 23913"/>
                <a:gd name="connsiteX26" fmla="*/ 3748 w 36484"/>
                <a:gd name="connsiteY26" fmla="*/ 6103 h 23913"/>
                <a:gd name="connsiteX27" fmla="*/ 8218 w 36484"/>
                <a:gd name="connsiteY27" fmla="*/ 3526 h 23913"/>
                <a:gd name="connsiteX28" fmla="*/ 12372 w 36484"/>
                <a:gd name="connsiteY28" fmla="*/ 2396 h 23913"/>
                <a:gd name="connsiteX29" fmla="*/ 16572 w 36484"/>
                <a:gd name="connsiteY29" fmla="*/ 1130 h 23913"/>
                <a:gd name="connsiteX30" fmla="*/ 20591 w 36484"/>
                <a:gd name="connsiteY30" fmla="*/ 0 h 2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6484" h="23913">
                  <a:moveTo>
                    <a:pt x="20591" y="0"/>
                  </a:moveTo>
                  <a:lnTo>
                    <a:pt x="24745" y="362"/>
                  </a:lnTo>
                  <a:lnTo>
                    <a:pt x="29080" y="1944"/>
                  </a:lnTo>
                  <a:lnTo>
                    <a:pt x="30344" y="3164"/>
                  </a:lnTo>
                  <a:lnTo>
                    <a:pt x="31382" y="4114"/>
                  </a:lnTo>
                  <a:lnTo>
                    <a:pt x="33550" y="4566"/>
                  </a:lnTo>
                  <a:lnTo>
                    <a:pt x="34588" y="4882"/>
                  </a:lnTo>
                  <a:lnTo>
                    <a:pt x="35266" y="5470"/>
                  </a:lnTo>
                  <a:lnTo>
                    <a:pt x="36395" y="10442"/>
                  </a:lnTo>
                  <a:lnTo>
                    <a:pt x="36485" y="13606"/>
                  </a:lnTo>
                  <a:lnTo>
                    <a:pt x="35988" y="16228"/>
                  </a:lnTo>
                  <a:lnTo>
                    <a:pt x="35040" y="17856"/>
                  </a:lnTo>
                  <a:lnTo>
                    <a:pt x="33685" y="19302"/>
                  </a:lnTo>
                  <a:lnTo>
                    <a:pt x="30118" y="21562"/>
                  </a:lnTo>
                  <a:lnTo>
                    <a:pt x="25648" y="23054"/>
                  </a:lnTo>
                  <a:lnTo>
                    <a:pt x="20636" y="23823"/>
                  </a:lnTo>
                  <a:lnTo>
                    <a:pt x="15488" y="23913"/>
                  </a:lnTo>
                  <a:lnTo>
                    <a:pt x="10566" y="23325"/>
                  </a:lnTo>
                  <a:lnTo>
                    <a:pt x="6231" y="22195"/>
                  </a:lnTo>
                  <a:lnTo>
                    <a:pt x="2935" y="20523"/>
                  </a:lnTo>
                  <a:lnTo>
                    <a:pt x="1896" y="19528"/>
                  </a:lnTo>
                  <a:lnTo>
                    <a:pt x="1174" y="18353"/>
                  </a:lnTo>
                  <a:lnTo>
                    <a:pt x="271" y="15686"/>
                  </a:lnTo>
                  <a:lnTo>
                    <a:pt x="0" y="12748"/>
                  </a:lnTo>
                  <a:lnTo>
                    <a:pt x="587" y="10171"/>
                  </a:lnTo>
                  <a:lnTo>
                    <a:pt x="1942" y="7956"/>
                  </a:lnTo>
                  <a:lnTo>
                    <a:pt x="3748" y="6103"/>
                  </a:lnTo>
                  <a:lnTo>
                    <a:pt x="8218" y="3526"/>
                  </a:lnTo>
                  <a:lnTo>
                    <a:pt x="12372" y="2396"/>
                  </a:lnTo>
                  <a:lnTo>
                    <a:pt x="16572" y="1130"/>
                  </a:lnTo>
                  <a:lnTo>
                    <a:pt x="20591" y="0"/>
                  </a:lnTo>
                </a:path>
              </a:pathLst>
            </a:custGeom>
            <a:solidFill>
              <a:srgbClr val="002E56"/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5449A724-F820-4031-AE54-C7DE0A0E39E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848031" y="459045"/>
            <a:ext cx="6651242" cy="5622916"/>
          </a:xfrm>
        </p:spPr>
        <p:txBody>
          <a:bodyPr anchor="ctr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6F7E955-D7CF-12FB-6FA1-721A19115856}"/>
              </a:ext>
            </a:extLst>
          </p:cNvPr>
          <p:cNvSpPr/>
          <p:nvPr userDrawn="1"/>
        </p:nvSpPr>
        <p:spPr>
          <a:xfrm flipH="1">
            <a:off x="0" y="6660589"/>
            <a:ext cx="12192000" cy="19741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5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47596673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A - Pat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56B26976-7073-93E4-6567-76DBA812EF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1F652C48-EDE8-5844-AFE0-7DC50B298A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4917" y="938051"/>
            <a:ext cx="6653612" cy="2617111"/>
          </a:xfrm>
        </p:spPr>
        <p:txBody>
          <a:bodyPr lIns="0" tIns="0" rIns="0" bIns="0" anchor="b">
            <a:noAutofit/>
          </a:bodyPr>
          <a:lstStyle>
            <a:lvl1pPr>
              <a:defRPr sz="5000">
                <a:solidFill>
                  <a:schemeClr val="tx2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(Arial 50pt)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DE42666-D523-AA48-AE88-2AFDEB209C7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434917" y="3795210"/>
            <a:ext cx="6653612" cy="1248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(Arial 18pt)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xmlns="" id="{3FA88446-B12D-A83C-A430-B88E76DBD8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1013" y="1218227"/>
            <a:ext cx="1611313" cy="1329595"/>
          </a:xfrm>
        </p:spPr>
        <p:txBody>
          <a:bodyPr anchor="ctr">
            <a:noAutofit/>
          </a:bodyPr>
          <a:lstStyle>
            <a:lvl1pPr marL="0" indent="0">
              <a:buNone/>
              <a:defRPr sz="96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E6861D2D-CB6C-AA33-5F7E-910F591AD6A9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6" name="Picture 7">
              <a:extLst>
                <a:ext uri="{FF2B5EF4-FFF2-40B4-BE49-F238E27FC236}">
                  <a16:creationId xmlns:a16="http://schemas.microsoft.com/office/drawing/2014/main" xmlns="" id="{65DAEB33-6117-CC7E-0B28-651E908684F7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xmlns="" id="{5EF10510-54CB-E2AD-DE59-FEE8B7CDED03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9EB0A851-E5BF-8E5D-9589-4F627ABCCB63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xmlns="" id="{C01ED543-5EAA-105E-E756-280DAE639BBD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50067824-A3CA-585B-9D4F-6536ED991B72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6B961C1D-201E-F957-29FC-8C9FDF5E4B80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35EF63EA-CBE2-B2C7-89F3-91C14818A1F9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75BE80C0-8AC4-C3B9-DB72-15A368BC6E48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58C4E043-D864-DD0A-4986-EB434A6B9A71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2FEEC942-0015-8363-8AC6-CA9CB0C16CA1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455F8C4A-9187-06EB-677E-271953F2FF47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36EC7881-88A6-E1ED-B247-B1191F1F493D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AEBC19E9-7822-B72E-DC1A-F53E0F9F5507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3785F0FB-50B5-C5C9-30E6-808F924D2D44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3C5732FD-F583-792C-0D5C-760AA8EFFBA0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xmlns="" id="{9795BD1C-2B1D-5A52-1A1B-D131A00FB4B5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8464541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A - Molec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hape&#10;&#10;Description automatically generated">
            <a:extLst>
              <a:ext uri="{FF2B5EF4-FFF2-40B4-BE49-F238E27FC236}">
                <a16:creationId xmlns:a16="http://schemas.microsoft.com/office/drawing/2014/main" xmlns="" id="{5582AE0C-FB46-83AD-8F2E-6DB212E132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1F652C48-EDE8-5844-AFE0-7DC50B298A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4917" y="938051"/>
            <a:ext cx="6653612" cy="2617111"/>
          </a:xfrm>
        </p:spPr>
        <p:txBody>
          <a:bodyPr lIns="0" tIns="0" rIns="0" bIns="0" anchor="b">
            <a:noAutofit/>
          </a:bodyPr>
          <a:lstStyle>
            <a:lvl1pPr>
              <a:defRPr sz="5000">
                <a:solidFill>
                  <a:schemeClr val="tx2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(Arial 50pt)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DE42666-D523-AA48-AE88-2AFDEB209C7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434917" y="3795210"/>
            <a:ext cx="6653612" cy="1248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(Arial 18pt)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xmlns="" id="{3FA88446-B12D-A83C-A430-B88E76DBD8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1013" y="1218227"/>
            <a:ext cx="1611313" cy="1329595"/>
          </a:xfrm>
        </p:spPr>
        <p:txBody>
          <a:bodyPr anchor="ctr">
            <a:noAutofit/>
          </a:bodyPr>
          <a:lstStyle>
            <a:lvl1pPr marL="0" indent="0">
              <a:buNone/>
              <a:defRPr sz="96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58A9C69B-9E31-CFB2-859C-5E3748397929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7" name="Picture 7">
              <a:extLst>
                <a:ext uri="{FF2B5EF4-FFF2-40B4-BE49-F238E27FC236}">
                  <a16:creationId xmlns:a16="http://schemas.microsoft.com/office/drawing/2014/main" xmlns="" id="{49ECE811-7302-9FDC-3096-5B0A95C30092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265A637D-ED7E-2789-F949-E8BCFAA0E8D6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xmlns="" id="{3C653C15-236E-78F8-276A-2AC08C5A9595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03EDB4B2-359F-6D70-3145-97B58DE95B89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D5A6700A-5412-F6F2-D33F-9E8E0E81014C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C5A570FB-09C0-1E92-7AE5-E512529D667C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755B11DD-DA7D-3063-6306-45E4861AECCD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665F70DD-8AA4-E991-7097-3D68A0F366E7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8F876C4F-8AE3-E17C-39E6-BB38590C2445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3A6C0154-B6EF-6872-EF16-EFDB175E4751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3821C260-DB00-B67B-5E7F-8C7AA6CC6EEF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F3586F20-290A-FC8B-1C25-182CB2F112DB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8896D88C-C10B-69B0-E0E5-CA9CC66140B9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A742DF78-2FD8-5BF8-76A5-845BD7696D43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xmlns="" id="{10A80AB2-E1EF-9A76-4E3B-AA719DB3262C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xmlns="" id="{7CD7FAAD-393B-DB48-1C88-8EAFBF47C387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214126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usiness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hape&#10;&#10;Description automatically generated">
            <a:extLst>
              <a:ext uri="{FF2B5EF4-FFF2-40B4-BE49-F238E27FC236}">
                <a16:creationId xmlns:a16="http://schemas.microsoft.com/office/drawing/2014/main" xmlns="" id="{9C11295A-6D93-1BB8-0BEE-926D75611E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30269DC-591D-B944-A479-80E360E756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4404" y="3834884"/>
            <a:ext cx="5133724" cy="658717"/>
          </a:xfrm>
        </p:spPr>
        <p:txBody>
          <a:bodyPr lIns="91440" tIns="45720" rIns="91440" bIns="45720">
            <a:noAutofit/>
          </a:bodyPr>
          <a:lstStyle>
            <a:lvl1pPr marL="0" indent="0" algn="r">
              <a:buNone/>
              <a:defRPr sz="2400" b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(Arial 24pt)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2F7201-0FDA-CE47-A9F3-7594A2B9A9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4404" y="2574295"/>
            <a:ext cx="5133724" cy="1237410"/>
          </a:xfrm>
        </p:spPr>
        <p:txBody>
          <a:bodyPr lIns="91440" tIns="45720" rIns="91440" bIns="45720" anchor="b">
            <a:noAutofit/>
          </a:bodyPr>
          <a:lstStyle>
            <a:lvl1pPr algn="r">
              <a:defRPr sz="4000" b="0" i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40pt)</a:t>
            </a:r>
            <a:endParaRPr lang="x-none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BC3042B1-0A53-D275-A5C1-7DD1B4899A8F}"/>
              </a:ext>
            </a:extLst>
          </p:cNvPr>
          <p:cNvGrpSpPr/>
          <p:nvPr userDrawn="1"/>
        </p:nvGrpSpPr>
        <p:grpSpPr>
          <a:xfrm>
            <a:off x="9387557" y="3323005"/>
            <a:ext cx="2184530" cy="319082"/>
            <a:chOff x="9387557" y="3323005"/>
            <a:chExt cx="2184530" cy="319082"/>
          </a:xfrm>
        </p:grpSpPr>
        <p:grpSp>
          <p:nvGrpSpPr>
            <p:cNvPr id="6" name="Picture 7">
              <a:extLst>
                <a:ext uri="{FF2B5EF4-FFF2-40B4-BE49-F238E27FC236}">
                  <a16:creationId xmlns:a16="http://schemas.microsoft.com/office/drawing/2014/main" xmlns="" id="{88C9938E-3EF1-BF1A-E048-9B965472FDAA}"/>
                </a:ext>
              </a:extLst>
            </p:cNvPr>
            <p:cNvGrpSpPr/>
            <p:nvPr/>
          </p:nvGrpSpPr>
          <p:grpSpPr>
            <a:xfrm>
              <a:off x="9387557" y="3323005"/>
              <a:ext cx="2184530" cy="314756"/>
              <a:chOff x="9387557" y="3323005"/>
              <a:chExt cx="2184530" cy="314756"/>
            </a:xfrm>
            <a:solidFill>
              <a:srgbClr val="28509C"/>
            </a:solidFill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72AFB5D7-403F-93B1-6DF8-1D1225645DB8}"/>
                  </a:ext>
                </a:extLst>
              </p:cNvPr>
              <p:cNvSpPr/>
              <p:nvPr/>
            </p:nvSpPr>
            <p:spPr>
              <a:xfrm>
                <a:off x="10500022" y="3323005"/>
                <a:ext cx="270122" cy="308340"/>
              </a:xfrm>
              <a:custGeom>
                <a:avLst/>
                <a:gdLst>
                  <a:gd name="connsiteX0" fmla="*/ 135025 w 270122"/>
                  <a:gd name="connsiteY0" fmla="*/ 0 h 308340"/>
                  <a:gd name="connsiteX1" fmla="*/ 0 w 270122"/>
                  <a:gd name="connsiteY1" fmla="*/ 308341 h 308340"/>
                  <a:gd name="connsiteX2" fmla="*/ 28949 w 270122"/>
                  <a:gd name="connsiteY2" fmla="*/ 308341 h 308340"/>
                  <a:gd name="connsiteX3" fmla="*/ 76262 w 270122"/>
                  <a:gd name="connsiteY3" fmla="*/ 200274 h 308340"/>
                  <a:gd name="connsiteX4" fmla="*/ 193933 w 270122"/>
                  <a:gd name="connsiteY4" fmla="*/ 200274 h 308340"/>
                  <a:gd name="connsiteX5" fmla="*/ 241533 w 270122"/>
                  <a:gd name="connsiteY5" fmla="*/ 308341 h 308340"/>
                  <a:gd name="connsiteX6" fmla="*/ 270123 w 270122"/>
                  <a:gd name="connsiteY6" fmla="*/ 308341 h 308340"/>
                  <a:gd name="connsiteX7" fmla="*/ 135025 w 270122"/>
                  <a:gd name="connsiteY7" fmla="*/ 0 h 308340"/>
                  <a:gd name="connsiteX8" fmla="*/ 87640 w 270122"/>
                  <a:gd name="connsiteY8" fmla="*/ 174104 h 308340"/>
                  <a:gd name="connsiteX9" fmla="*/ 134809 w 270122"/>
                  <a:gd name="connsiteY9" fmla="*/ 66181 h 308340"/>
                  <a:gd name="connsiteX10" fmla="*/ 182338 w 270122"/>
                  <a:gd name="connsiteY10" fmla="*/ 174104 h 308340"/>
                  <a:gd name="connsiteX11" fmla="*/ 87568 w 270122"/>
                  <a:gd name="connsiteY11" fmla="*/ 174104 h 30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0122" h="308340">
                    <a:moveTo>
                      <a:pt x="135025" y="0"/>
                    </a:moveTo>
                    <a:lnTo>
                      <a:pt x="0" y="308341"/>
                    </a:lnTo>
                    <a:lnTo>
                      <a:pt x="28949" y="308341"/>
                    </a:lnTo>
                    <a:lnTo>
                      <a:pt x="76262" y="200274"/>
                    </a:lnTo>
                    <a:lnTo>
                      <a:pt x="193933" y="200274"/>
                    </a:lnTo>
                    <a:lnTo>
                      <a:pt x="241533" y="308341"/>
                    </a:lnTo>
                    <a:lnTo>
                      <a:pt x="270123" y="308341"/>
                    </a:lnTo>
                    <a:lnTo>
                      <a:pt x="135025" y="0"/>
                    </a:lnTo>
                    <a:close/>
                    <a:moveTo>
                      <a:pt x="87640" y="174104"/>
                    </a:moveTo>
                    <a:lnTo>
                      <a:pt x="134809" y="66181"/>
                    </a:lnTo>
                    <a:lnTo>
                      <a:pt x="182338" y="174104"/>
                    </a:lnTo>
                    <a:lnTo>
                      <a:pt x="87568" y="174104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xmlns="" id="{009FBF69-DAFA-CD34-B5FF-24D7B3522197}"/>
                  </a:ext>
                </a:extLst>
              </p:cNvPr>
              <p:cNvSpPr/>
              <p:nvPr/>
            </p:nvSpPr>
            <p:spPr>
              <a:xfrm>
                <a:off x="11126107" y="3329421"/>
                <a:ext cx="26140" cy="301852"/>
              </a:xfrm>
              <a:custGeom>
                <a:avLst/>
                <a:gdLst>
                  <a:gd name="connsiteX0" fmla="*/ 0 w 26140"/>
                  <a:gd name="connsiteY0" fmla="*/ 0 h 301852"/>
                  <a:gd name="connsiteX1" fmla="*/ 26141 w 26140"/>
                  <a:gd name="connsiteY1" fmla="*/ 0 h 301852"/>
                  <a:gd name="connsiteX2" fmla="*/ 26141 w 26140"/>
                  <a:gd name="connsiteY2" fmla="*/ 301852 h 301852"/>
                  <a:gd name="connsiteX3" fmla="*/ 0 w 26140"/>
                  <a:gd name="connsiteY3" fmla="*/ 301852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40" h="301852">
                    <a:moveTo>
                      <a:pt x="0" y="0"/>
                    </a:moveTo>
                    <a:lnTo>
                      <a:pt x="26141" y="0"/>
                    </a:lnTo>
                    <a:lnTo>
                      <a:pt x="26141" y="301852"/>
                    </a:lnTo>
                    <a:lnTo>
                      <a:pt x="0" y="30185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76143C68-44F3-F616-7C61-F22263C8F40D}"/>
                  </a:ext>
                </a:extLst>
              </p:cNvPr>
              <p:cNvSpPr/>
              <p:nvPr/>
            </p:nvSpPr>
            <p:spPr>
              <a:xfrm>
                <a:off x="10168471" y="3323509"/>
                <a:ext cx="276820" cy="307763"/>
              </a:xfrm>
              <a:custGeom>
                <a:avLst/>
                <a:gdLst>
                  <a:gd name="connsiteX0" fmla="*/ 137762 w 276820"/>
                  <a:gd name="connsiteY0" fmla="*/ 139139 h 307763"/>
                  <a:gd name="connsiteX1" fmla="*/ 0 w 276820"/>
                  <a:gd name="connsiteY1" fmla="*/ 144 h 307763"/>
                  <a:gd name="connsiteX2" fmla="*/ 144 w 276820"/>
                  <a:gd name="connsiteY2" fmla="*/ 307764 h 307763"/>
                  <a:gd name="connsiteX3" fmla="*/ 26285 w 276820"/>
                  <a:gd name="connsiteY3" fmla="*/ 307764 h 307763"/>
                  <a:gd name="connsiteX4" fmla="*/ 26285 w 276820"/>
                  <a:gd name="connsiteY4" fmla="*/ 63946 h 307763"/>
                  <a:gd name="connsiteX5" fmla="*/ 137474 w 276820"/>
                  <a:gd name="connsiteY5" fmla="*/ 176555 h 307763"/>
                  <a:gd name="connsiteX6" fmla="*/ 250679 w 276820"/>
                  <a:gd name="connsiteY6" fmla="*/ 63370 h 307763"/>
                  <a:gd name="connsiteX7" fmla="*/ 250679 w 276820"/>
                  <a:gd name="connsiteY7" fmla="*/ 307764 h 307763"/>
                  <a:gd name="connsiteX8" fmla="*/ 276820 w 276820"/>
                  <a:gd name="connsiteY8" fmla="*/ 307764 h 307763"/>
                  <a:gd name="connsiteX9" fmla="*/ 276820 w 276820"/>
                  <a:gd name="connsiteY9" fmla="*/ 0 h 307763"/>
                  <a:gd name="connsiteX10" fmla="*/ 137762 w 276820"/>
                  <a:gd name="connsiteY10" fmla="*/ 139139 h 30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6820" h="307763">
                    <a:moveTo>
                      <a:pt x="137762" y="139139"/>
                    </a:moveTo>
                    <a:lnTo>
                      <a:pt x="0" y="144"/>
                    </a:lnTo>
                    <a:lnTo>
                      <a:pt x="144" y="307764"/>
                    </a:lnTo>
                    <a:lnTo>
                      <a:pt x="26285" y="307764"/>
                    </a:lnTo>
                    <a:lnTo>
                      <a:pt x="26285" y="63946"/>
                    </a:lnTo>
                    <a:lnTo>
                      <a:pt x="137474" y="176555"/>
                    </a:lnTo>
                    <a:lnTo>
                      <a:pt x="250679" y="63370"/>
                    </a:lnTo>
                    <a:lnTo>
                      <a:pt x="250679" y="307764"/>
                    </a:lnTo>
                    <a:lnTo>
                      <a:pt x="276820" y="307764"/>
                    </a:lnTo>
                    <a:lnTo>
                      <a:pt x="276820" y="0"/>
                    </a:lnTo>
                    <a:lnTo>
                      <a:pt x="137762" y="13913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B0DFE49A-FE28-5A87-30B5-D875C0BD1100}"/>
                  </a:ext>
                </a:extLst>
              </p:cNvPr>
              <p:cNvSpPr/>
              <p:nvPr/>
            </p:nvSpPr>
            <p:spPr>
              <a:xfrm>
                <a:off x="11259260" y="3324302"/>
                <a:ext cx="228210" cy="313459"/>
              </a:xfrm>
              <a:custGeom>
                <a:avLst/>
                <a:gdLst>
                  <a:gd name="connsiteX0" fmla="*/ 201998 w 228210"/>
                  <a:gd name="connsiteY0" fmla="*/ 5119 h 313459"/>
                  <a:gd name="connsiteX1" fmla="*/ 201998 w 228210"/>
                  <a:gd name="connsiteY1" fmla="*/ 240213 h 313459"/>
                  <a:gd name="connsiteX2" fmla="*/ 0 w 228210"/>
                  <a:gd name="connsiteY2" fmla="*/ 0 h 313459"/>
                  <a:gd name="connsiteX3" fmla="*/ 0 w 228210"/>
                  <a:gd name="connsiteY3" fmla="*/ 41814 h 313459"/>
                  <a:gd name="connsiteX4" fmla="*/ 0 w 228210"/>
                  <a:gd name="connsiteY4" fmla="*/ 306971 h 313459"/>
                  <a:gd name="connsiteX5" fmla="*/ 26141 w 228210"/>
                  <a:gd name="connsiteY5" fmla="*/ 306971 h 313459"/>
                  <a:gd name="connsiteX6" fmla="*/ 26141 w 228210"/>
                  <a:gd name="connsiteY6" fmla="*/ 72958 h 313459"/>
                  <a:gd name="connsiteX7" fmla="*/ 228211 w 228210"/>
                  <a:gd name="connsiteY7" fmla="*/ 313459 h 313459"/>
                  <a:gd name="connsiteX8" fmla="*/ 228211 w 228210"/>
                  <a:gd name="connsiteY8" fmla="*/ 5119 h 313459"/>
                  <a:gd name="connsiteX9" fmla="*/ 201998 w 228210"/>
                  <a:gd name="connsiteY9" fmla="*/ 5119 h 31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210" h="313459">
                    <a:moveTo>
                      <a:pt x="201998" y="5119"/>
                    </a:moveTo>
                    <a:lnTo>
                      <a:pt x="201998" y="240213"/>
                    </a:lnTo>
                    <a:lnTo>
                      <a:pt x="0" y="0"/>
                    </a:lnTo>
                    <a:lnTo>
                      <a:pt x="0" y="41814"/>
                    </a:lnTo>
                    <a:lnTo>
                      <a:pt x="0" y="306971"/>
                    </a:lnTo>
                    <a:lnTo>
                      <a:pt x="26141" y="306971"/>
                    </a:lnTo>
                    <a:lnTo>
                      <a:pt x="26141" y="72958"/>
                    </a:lnTo>
                    <a:lnTo>
                      <a:pt x="228211" y="313459"/>
                    </a:lnTo>
                    <a:lnTo>
                      <a:pt x="228211" y="5119"/>
                    </a:lnTo>
                    <a:lnTo>
                      <a:pt x="201998" y="511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81A10087-1EC7-39BE-9611-FFC8104E72C6}"/>
                  </a:ext>
                </a:extLst>
              </p:cNvPr>
              <p:cNvSpPr/>
              <p:nvPr/>
            </p:nvSpPr>
            <p:spPr>
              <a:xfrm>
                <a:off x="10827179" y="3329637"/>
                <a:ext cx="218993" cy="301780"/>
              </a:xfrm>
              <a:custGeom>
                <a:avLst/>
                <a:gdLst>
                  <a:gd name="connsiteX0" fmla="*/ 189468 w 218993"/>
                  <a:gd name="connsiteY0" fmla="*/ 301780 h 301780"/>
                  <a:gd name="connsiteX1" fmla="*/ 218993 w 218993"/>
                  <a:gd name="connsiteY1" fmla="*/ 301780 h 301780"/>
                  <a:gd name="connsiteX2" fmla="*/ 146692 w 218993"/>
                  <a:gd name="connsiteY2" fmla="*/ 160478 h 301780"/>
                  <a:gd name="connsiteX3" fmla="*/ 206319 w 218993"/>
                  <a:gd name="connsiteY3" fmla="*/ 89467 h 301780"/>
                  <a:gd name="connsiteX4" fmla="*/ 206391 w 218993"/>
                  <a:gd name="connsiteY4" fmla="*/ 89467 h 301780"/>
                  <a:gd name="connsiteX5" fmla="*/ 206391 w 218993"/>
                  <a:gd name="connsiteY5" fmla="*/ 87809 h 301780"/>
                  <a:gd name="connsiteX6" fmla="*/ 206679 w 218993"/>
                  <a:gd name="connsiteY6" fmla="*/ 82979 h 301780"/>
                  <a:gd name="connsiteX7" fmla="*/ 206391 w 218993"/>
                  <a:gd name="connsiteY7" fmla="*/ 82979 h 301780"/>
                  <a:gd name="connsiteX8" fmla="*/ 206391 w 218993"/>
                  <a:gd name="connsiteY8" fmla="*/ 80167 h 301780"/>
                  <a:gd name="connsiteX9" fmla="*/ 206679 w 218993"/>
                  <a:gd name="connsiteY9" fmla="*/ 80167 h 301780"/>
                  <a:gd name="connsiteX10" fmla="*/ 206391 w 218993"/>
                  <a:gd name="connsiteY10" fmla="*/ 75265 h 301780"/>
                  <a:gd name="connsiteX11" fmla="*/ 206391 w 218993"/>
                  <a:gd name="connsiteY11" fmla="*/ 75265 h 301780"/>
                  <a:gd name="connsiteX12" fmla="*/ 126600 w 218993"/>
                  <a:gd name="connsiteY12" fmla="*/ 0 h 301780"/>
                  <a:gd name="connsiteX13" fmla="*/ 0 w 218993"/>
                  <a:gd name="connsiteY13" fmla="*/ 0 h 301780"/>
                  <a:gd name="connsiteX14" fmla="*/ 0 w 218993"/>
                  <a:gd name="connsiteY14" fmla="*/ 301708 h 301780"/>
                  <a:gd name="connsiteX15" fmla="*/ 26141 w 218993"/>
                  <a:gd name="connsiteY15" fmla="*/ 301708 h 301780"/>
                  <a:gd name="connsiteX16" fmla="*/ 26141 w 218993"/>
                  <a:gd name="connsiteY16" fmla="*/ 163002 h 301780"/>
                  <a:gd name="connsiteX17" fmla="*/ 118390 w 218993"/>
                  <a:gd name="connsiteY17" fmla="*/ 163002 h 301780"/>
                  <a:gd name="connsiteX18" fmla="*/ 189468 w 218993"/>
                  <a:gd name="connsiteY18" fmla="*/ 301780 h 301780"/>
                  <a:gd name="connsiteX19" fmla="*/ 26141 w 218993"/>
                  <a:gd name="connsiteY19" fmla="*/ 26242 h 301780"/>
                  <a:gd name="connsiteX20" fmla="*/ 126600 w 218993"/>
                  <a:gd name="connsiteY20" fmla="*/ 26242 h 301780"/>
                  <a:gd name="connsiteX21" fmla="*/ 180250 w 218993"/>
                  <a:gd name="connsiteY21" fmla="*/ 79014 h 301780"/>
                  <a:gd name="connsiteX22" fmla="*/ 180250 w 218993"/>
                  <a:gd name="connsiteY22" fmla="*/ 83988 h 301780"/>
                  <a:gd name="connsiteX23" fmla="*/ 126600 w 218993"/>
                  <a:gd name="connsiteY23" fmla="*/ 136688 h 301780"/>
                  <a:gd name="connsiteX24" fmla="*/ 126600 w 218993"/>
                  <a:gd name="connsiteY24" fmla="*/ 136688 h 301780"/>
                  <a:gd name="connsiteX25" fmla="*/ 26141 w 218993"/>
                  <a:gd name="connsiteY25" fmla="*/ 136760 h 301780"/>
                  <a:gd name="connsiteX26" fmla="*/ 26141 w 218993"/>
                  <a:gd name="connsiteY26" fmla="*/ 26242 h 301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8993" h="301780">
                    <a:moveTo>
                      <a:pt x="189468" y="301780"/>
                    </a:moveTo>
                    <a:lnTo>
                      <a:pt x="218993" y="301780"/>
                    </a:lnTo>
                    <a:cubicBezTo>
                      <a:pt x="218993" y="301780"/>
                      <a:pt x="146692" y="160478"/>
                      <a:pt x="146692" y="160478"/>
                    </a:cubicBezTo>
                    <a:cubicBezTo>
                      <a:pt x="179098" y="152044"/>
                      <a:pt x="203582" y="123855"/>
                      <a:pt x="206319" y="89467"/>
                    </a:cubicBezTo>
                    <a:lnTo>
                      <a:pt x="206391" y="89467"/>
                    </a:lnTo>
                    <a:lnTo>
                      <a:pt x="206391" y="87809"/>
                    </a:lnTo>
                    <a:cubicBezTo>
                      <a:pt x="206463" y="86223"/>
                      <a:pt x="206679" y="84565"/>
                      <a:pt x="206679" y="82979"/>
                    </a:cubicBezTo>
                    <a:lnTo>
                      <a:pt x="206391" y="82979"/>
                    </a:lnTo>
                    <a:lnTo>
                      <a:pt x="206391" y="80167"/>
                    </a:lnTo>
                    <a:lnTo>
                      <a:pt x="206679" y="80167"/>
                    </a:lnTo>
                    <a:cubicBezTo>
                      <a:pt x="206679" y="78509"/>
                      <a:pt x="206535" y="76923"/>
                      <a:pt x="206391" y="75265"/>
                    </a:cubicBezTo>
                    <a:lnTo>
                      <a:pt x="206391" y="75265"/>
                    </a:lnTo>
                    <a:cubicBezTo>
                      <a:pt x="203798" y="33235"/>
                      <a:pt x="169160" y="0"/>
                      <a:pt x="126600" y="0"/>
                    </a:cubicBezTo>
                    <a:lnTo>
                      <a:pt x="0" y="0"/>
                    </a:lnTo>
                    <a:lnTo>
                      <a:pt x="0" y="301708"/>
                    </a:lnTo>
                    <a:lnTo>
                      <a:pt x="26141" y="301708"/>
                    </a:lnTo>
                    <a:lnTo>
                      <a:pt x="26141" y="163002"/>
                    </a:lnTo>
                    <a:lnTo>
                      <a:pt x="118390" y="163002"/>
                    </a:lnTo>
                    <a:lnTo>
                      <a:pt x="189468" y="301780"/>
                    </a:lnTo>
                    <a:close/>
                    <a:moveTo>
                      <a:pt x="26141" y="26242"/>
                    </a:moveTo>
                    <a:lnTo>
                      <a:pt x="126600" y="26242"/>
                    </a:lnTo>
                    <a:cubicBezTo>
                      <a:pt x="155909" y="26242"/>
                      <a:pt x="179674" y="49816"/>
                      <a:pt x="180250" y="79014"/>
                    </a:cubicBezTo>
                    <a:lnTo>
                      <a:pt x="180250" y="83988"/>
                    </a:lnTo>
                    <a:cubicBezTo>
                      <a:pt x="179674" y="113186"/>
                      <a:pt x="155909" y="136688"/>
                      <a:pt x="126600" y="136688"/>
                    </a:cubicBezTo>
                    <a:lnTo>
                      <a:pt x="126600" y="136688"/>
                    </a:lnTo>
                    <a:cubicBezTo>
                      <a:pt x="126600" y="136688"/>
                      <a:pt x="26141" y="136760"/>
                      <a:pt x="26141" y="136760"/>
                    </a:cubicBezTo>
                    <a:lnTo>
                      <a:pt x="26141" y="2624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23F00D43-4C1F-AF5C-90B7-2EE339E4AEFE}"/>
                  </a:ext>
                </a:extLst>
              </p:cNvPr>
              <p:cNvSpPr/>
              <p:nvPr/>
            </p:nvSpPr>
            <p:spPr>
              <a:xfrm>
                <a:off x="9387557" y="3329493"/>
                <a:ext cx="212944" cy="301852"/>
              </a:xfrm>
              <a:custGeom>
                <a:avLst/>
                <a:gdLst>
                  <a:gd name="connsiteX0" fmla="*/ 212656 w 212944"/>
                  <a:gd name="connsiteY0" fmla="*/ 212818 h 301852"/>
                  <a:gd name="connsiteX1" fmla="*/ 201422 w 212944"/>
                  <a:gd name="connsiteY1" fmla="*/ 173455 h 301852"/>
                  <a:gd name="connsiteX2" fmla="*/ 174273 w 212944"/>
                  <a:gd name="connsiteY2" fmla="*/ 147358 h 301852"/>
                  <a:gd name="connsiteX3" fmla="*/ 206247 w 212944"/>
                  <a:gd name="connsiteY3" fmla="*/ 89539 h 301852"/>
                  <a:gd name="connsiteX4" fmla="*/ 206319 w 212944"/>
                  <a:gd name="connsiteY4" fmla="*/ 89539 h 301852"/>
                  <a:gd name="connsiteX5" fmla="*/ 206319 w 212944"/>
                  <a:gd name="connsiteY5" fmla="*/ 87881 h 301852"/>
                  <a:gd name="connsiteX6" fmla="*/ 206535 w 212944"/>
                  <a:gd name="connsiteY6" fmla="*/ 83051 h 301852"/>
                  <a:gd name="connsiteX7" fmla="*/ 206319 w 212944"/>
                  <a:gd name="connsiteY7" fmla="*/ 83051 h 301852"/>
                  <a:gd name="connsiteX8" fmla="*/ 206319 w 212944"/>
                  <a:gd name="connsiteY8" fmla="*/ 80239 h 301852"/>
                  <a:gd name="connsiteX9" fmla="*/ 206535 w 212944"/>
                  <a:gd name="connsiteY9" fmla="*/ 80239 h 301852"/>
                  <a:gd name="connsiteX10" fmla="*/ 206319 w 212944"/>
                  <a:gd name="connsiteY10" fmla="*/ 75337 h 301852"/>
                  <a:gd name="connsiteX11" fmla="*/ 206319 w 212944"/>
                  <a:gd name="connsiteY11" fmla="*/ 75337 h 301852"/>
                  <a:gd name="connsiteX12" fmla="*/ 206319 w 212944"/>
                  <a:gd name="connsiteY12" fmla="*/ 75265 h 301852"/>
                  <a:gd name="connsiteX13" fmla="*/ 126456 w 212944"/>
                  <a:gd name="connsiteY13" fmla="*/ 72 h 301852"/>
                  <a:gd name="connsiteX14" fmla="*/ 126456 w 212944"/>
                  <a:gd name="connsiteY14" fmla="*/ 216 h 301852"/>
                  <a:gd name="connsiteX15" fmla="*/ 0 w 212944"/>
                  <a:gd name="connsiteY15" fmla="*/ 0 h 301852"/>
                  <a:gd name="connsiteX16" fmla="*/ 0 w 212944"/>
                  <a:gd name="connsiteY16" fmla="*/ 301852 h 301852"/>
                  <a:gd name="connsiteX17" fmla="*/ 131425 w 212944"/>
                  <a:gd name="connsiteY17" fmla="*/ 301852 h 301852"/>
                  <a:gd name="connsiteX18" fmla="*/ 212800 w 212944"/>
                  <a:gd name="connsiteY18" fmla="*/ 221541 h 301852"/>
                  <a:gd name="connsiteX19" fmla="*/ 212944 w 212944"/>
                  <a:gd name="connsiteY19" fmla="*/ 221541 h 301852"/>
                  <a:gd name="connsiteX20" fmla="*/ 212944 w 212944"/>
                  <a:gd name="connsiteY20" fmla="*/ 212818 h 301852"/>
                  <a:gd name="connsiteX21" fmla="*/ 212800 w 212944"/>
                  <a:gd name="connsiteY21" fmla="*/ 212818 h 301852"/>
                  <a:gd name="connsiteX22" fmla="*/ 126528 w 212944"/>
                  <a:gd name="connsiteY22" fmla="*/ 26386 h 301852"/>
                  <a:gd name="connsiteX23" fmla="*/ 126528 w 212944"/>
                  <a:gd name="connsiteY23" fmla="*/ 26386 h 301852"/>
                  <a:gd name="connsiteX24" fmla="*/ 180250 w 212944"/>
                  <a:gd name="connsiteY24" fmla="*/ 79302 h 301852"/>
                  <a:gd name="connsiteX25" fmla="*/ 180250 w 212944"/>
                  <a:gd name="connsiteY25" fmla="*/ 83988 h 301852"/>
                  <a:gd name="connsiteX26" fmla="*/ 126528 w 212944"/>
                  <a:gd name="connsiteY26" fmla="*/ 137048 h 301852"/>
                  <a:gd name="connsiteX27" fmla="*/ 26141 w 212944"/>
                  <a:gd name="connsiteY27" fmla="*/ 137048 h 301852"/>
                  <a:gd name="connsiteX28" fmla="*/ 26141 w 212944"/>
                  <a:gd name="connsiteY28" fmla="*/ 26386 h 301852"/>
                  <a:gd name="connsiteX29" fmla="*/ 126528 w 212944"/>
                  <a:gd name="connsiteY29" fmla="*/ 26386 h 301852"/>
                  <a:gd name="connsiteX30" fmla="*/ 186659 w 212944"/>
                  <a:gd name="connsiteY30" fmla="*/ 220171 h 301852"/>
                  <a:gd name="connsiteX31" fmla="*/ 186443 w 212944"/>
                  <a:gd name="connsiteY31" fmla="*/ 220171 h 301852"/>
                  <a:gd name="connsiteX32" fmla="*/ 130921 w 212944"/>
                  <a:gd name="connsiteY32" fmla="*/ 275755 h 301852"/>
                  <a:gd name="connsiteX33" fmla="*/ 130921 w 212944"/>
                  <a:gd name="connsiteY33" fmla="*/ 275755 h 301852"/>
                  <a:gd name="connsiteX34" fmla="*/ 26141 w 212944"/>
                  <a:gd name="connsiteY34" fmla="*/ 275755 h 301852"/>
                  <a:gd name="connsiteX35" fmla="*/ 26141 w 212944"/>
                  <a:gd name="connsiteY35" fmla="*/ 163362 h 301852"/>
                  <a:gd name="connsiteX36" fmla="*/ 134593 w 212944"/>
                  <a:gd name="connsiteY36" fmla="*/ 163795 h 301852"/>
                  <a:gd name="connsiteX37" fmla="*/ 134593 w 212944"/>
                  <a:gd name="connsiteY37" fmla="*/ 163795 h 301852"/>
                  <a:gd name="connsiteX38" fmla="*/ 179458 w 212944"/>
                  <a:gd name="connsiteY38" fmla="*/ 187946 h 301852"/>
                  <a:gd name="connsiteX39" fmla="*/ 186515 w 212944"/>
                  <a:gd name="connsiteY39" fmla="*/ 214836 h 301852"/>
                  <a:gd name="connsiteX40" fmla="*/ 186731 w 212944"/>
                  <a:gd name="connsiteY40" fmla="*/ 214836 h 301852"/>
                  <a:gd name="connsiteX41" fmla="*/ 186731 w 212944"/>
                  <a:gd name="connsiteY41" fmla="*/ 220171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12944" h="301852">
                    <a:moveTo>
                      <a:pt x="212656" y="212818"/>
                    </a:moveTo>
                    <a:cubicBezTo>
                      <a:pt x="212296" y="198183"/>
                      <a:pt x="208623" y="185134"/>
                      <a:pt x="201422" y="173455"/>
                    </a:cubicBezTo>
                    <a:cubicBezTo>
                      <a:pt x="194509" y="162425"/>
                      <a:pt x="185219" y="153558"/>
                      <a:pt x="174273" y="147358"/>
                    </a:cubicBezTo>
                    <a:cubicBezTo>
                      <a:pt x="192204" y="133948"/>
                      <a:pt x="204374" y="113186"/>
                      <a:pt x="206247" y="89539"/>
                    </a:cubicBezTo>
                    <a:lnTo>
                      <a:pt x="206319" y="89539"/>
                    </a:lnTo>
                    <a:lnTo>
                      <a:pt x="206319" y="87881"/>
                    </a:lnTo>
                    <a:cubicBezTo>
                      <a:pt x="206391" y="86295"/>
                      <a:pt x="206535" y="84637"/>
                      <a:pt x="206535" y="83051"/>
                    </a:cubicBezTo>
                    <a:lnTo>
                      <a:pt x="206319" y="83051"/>
                    </a:lnTo>
                    <a:lnTo>
                      <a:pt x="206319" y="80239"/>
                    </a:lnTo>
                    <a:lnTo>
                      <a:pt x="206535" y="80239"/>
                    </a:lnTo>
                    <a:cubicBezTo>
                      <a:pt x="206535" y="78581"/>
                      <a:pt x="206391" y="76995"/>
                      <a:pt x="206319" y="75337"/>
                    </a:cubicBezTo>
                    <a:lnTo>
                      <a:pt x="206319" y="75337"/>
                    </a:lnTo>
                    <a:cubicBezTo>
                      <a:pt x="206319" y="75337"/>
                      <a:pt x="206319" y="75265"/>
                      <a:pt x="206319" y="75265"/>
                    </a:cubicBezTo>
                    <a:cubicBezTo>
                      <a:pt x="203726" y="33307"/>
                      <a:pt x="169016" y="72"/>
                      <a:pt x="126456" y="72"/>
                    </a:cubicBezTo>
                    <a:lnTo>
                      <a:pt x="126456" y="216"/>
                    </a:lnTo>
                    <a:lnTo>
                      <a:pt x="0" y="0"/>
                    </a:lnTo>
                    <a:lnTo>
                      <a:pt x="0" y="301852"/>
                    </a:lnTo>
                    <a:lnTo>
                      <a:pt x="131425" y="301852"/>
                    </a:lnTo>
                    <a:cubicBezTo>
                      <a:pt x="175857" y="301564"/>
                      <a:pt x="211864" y="265878"/>
                      <a:pt x="212800" y="221541"/>
                    </a:cubicBezTo>
                    <a:lnTo>
                      <a:pt x="212944" y="221541"/>
                    </a:lnTo>
                    <a:lnTo>
                      <a:pt x="212944" y="212818"/>
                    </a:lnTo>
                    <a:lnTo>
                      <a:pt x="212800" y="212818"/>
                    </a:lnTo>
                    <a:close/>
                    <a:moveTo>
                      <a:pt x="126528" y="26386"/>
                    </a:moveTo>
                    <a:lnTo>
                      <a:pt x="126528" y="26386"/>
                    </a:lnTo>
                    <a:cubicBezTo>
                      <a:pt x="155909" y="26386"/>
                      <a:pt x="179746" y="50032"/>
                      <a:pt x="180250" y="79302"/>
                    </a:cubicBezTo>
                    <a:lnTo>
                      <a:pt x="180250" y="83988"/>
                    </a:lnTo>
                    <a:cubicBezTo>
                      <a:pt x="179746" y="113258"/>
                      <a:pt x="155909" y="137048"/>
                      <a:pt x="126528" y="137048"/>
                    </a:cubicBezTo>
                    <a:lnTo>
                      <a:pt x="26141" y="137048"/>
                    </a:lnTo>
                    <a:lnTo>
                      <a:pt x="26141" y="26386"/>
                    </a:lnTo>
                    <a:lnTo>
                      <a:pt x="126528" y="26386"/>
                    </a:lnTo>
                    <a:close/>
                    <a:moveTo>
                      <a:pt x="186659" y="220171"/>
                    </a:moveTo>
                    <a:lnTo>
                      <a:pt x="186443" y="220171"/>
                    </a:lnTo>
                    <a:cubicBezTo>
                      <a:pt x="186443" y="250883"/>
                      <a:pt x="161598" y="275755"/>
                      <a:pt x="130921" y="275755"/>
                    </a:cubicBezTo>
                    <a:lnTo>
                      <a:pt x="130921" y="275755"/>
                    </a:lnTo>
                    <a:cubicBezTo>
                      <a:pt x="130921" y="275755"/>
                      <a:pt x="26141" y="275755"/>
                      <a:pt x="26141" y="275755"/>
                    </a:cubicBezTo>
                    <a:lnTo>
                      <a:pt x="26141" y="163362"/>
                    </a:lnTo>
                    <a:lnTo>
                      <a:pt x="134593" y="163795"/>
                    </a:lnTo>
                    <a:lnTo>
                      <a:pt x="134593" y="163795"/>
                    </a:lnTo>
                    <a:cubicBezTo>
                      <a:pt x="153461" y="163795"/>
                      <a:pt x="169880" y="173095"/>
                      <a:pt x="179458" y="187946"/>
                    </a:cubicBezTo>
                    <a:cubicBezTo>
                      <a:pt x="183490" y="196381"/>
                      <a:pt x="186515" y="204888"/>
                      <a:pt x="186515" y="214836"/>
                    </a:cubicBezTo>
                    <a:lnTo>
                      <a:pt x="186731" y="214836"/>
                    </a:lnTo>
                    <a:lnTo>
                      <a:pt x="186731" y="220171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F05EC72B-BC0A-9DA9-3534-CC1E2F9D8255}"/>
                  </a:ext>
                </a:extLst>
              </p:cNvPr>
              <p:cNvSpPr/>
              <p:nvPr/>
            </p:nvSpPr>
            <p:spPr>
              <a:xfrm>
                <a:off x="9791480" y="3324302"/>
                <a:ext cx="311818" cy="312017"/>
              </a:xfrm>
              <a:custGeom>
                <a:avLst/>
                <a:gdLst>
                  <a:gd name="connsiteX0" fmla="*/ 1368 w 311818"/>
                  <a:gd name="connsiteY0" fmla="*/ 175618 h 312017"/>
                  <a:gd name="connsiteX1" fmla="*/ 155981 w 311818"/>
                  <a:gd name="connsiteY1" fmla="*/ 312017 h 312017"/>
                  <a:gd name="connsiteX2" fmla="*/ 310594 w 311818"/>
                  <a:gd name="connsiteY2" fmla="*/ 175546 h 312017"/>
                  <a:gd name="connsiteX3" fmla="*/ 311819 w 311818"/>
                  <a:gd name="connsiteY3" fmla="*/ 156513 h 312017"/>
                  <a:gd name="connsiteX4" fmla="*/ 310954 w 311818"/>
                  <a:gd name="connsiteY4" fmla="*/ 139499 h 312017"/>
                  <a:gd name="connsiteX5" fmla="*/ 155981 w 311818"/>
                  <a:gd name="connsiteY5" fmla="*/ 0 h 312017"/>
                  <a:gd name="connsiteX6" fmla="*/ 1008 w 311818"/>
                  <a:gd name="connsiteY6" fmla="*/ 139499 h 312017"/>
                  <a:gd name="connsiteX7" fmla="*/ 864 w 311818"/>
                  <a:gd name="connsiteY7" fmla="*/ 139499 h 312017"/>
                  <a:gd name="connsiteX8" fmla="*/ 0 w 311818"/>
                  <a:gd name="connsiteY8" fmla="*/ 156513 h 312017"/>
                  <a:gd name="connsiteX9" fmla="*/ 1224 w 311818"/>
                  <a:gd name="connsiteY9" fmla="*/ 175546 h 312017"/>
                  <a:gd name="connsiteX10" fmla="*/ 155981 w 311818"/>
                  <a:gd name="connsiteY10" fmla="*/ 285487 h 312017"/>
                  <a:gd name="connsiteX11" fmla="*/ 28085 w 311818"/>
                  <a:gd name="connsiteY11" fmla="*/ 175618 h 312017"/>
                  <a:gd name="connsiteX12" fmla="*/ 27941 w 311818"/>
                  <a:gd name="connsiteY12" fmla="*/ 175618 h 312017"/>
                  <a:gd name="connsiteX13" fmla="*/ 26501 w 311818"/>
                  <a:gd name="connsiteY13" fmla="*/ 156513 h 312017"/>
                  <a:gd name="connsiteX14" fmla="*/ 27509 w 311818"/>
                  <a:gd name="connsiteY14" fmla="*/ 140004 h 312017"/>
                  <a:gd name="connsiteX15" fmla="*/ 27581 w 311818"/>
                  <a:gd name="connsiteY15" fmla="*/ 140004 h 312017"/>
                  <a:gd name="connsiteX16" fmla="*/ 155909 w 311818"/>
                  <a:gd name="connsiteY16" fmla="*/ 26530 h 312017"/>
                  <a:gd name="connsiteX17" fmla="*/ 284165 w 311818"/>
                  <a:gd name="connsiteY17" fmla="*/ 139788 h 312017"/>
                  <a:gd name="connsiteX18" fmla="*/ 285246 w 311818"/>
                  <a:gd name="connsiteY18" fmla="*/ 156585 h 312017"/>
                  <a:gd name="connsiteX19" fmla="*/ 283805 w 311818"/>
                  <a:gd name="connsiteY19" fmla="*/ 175906 h 312017"/>
                  <a:gd name="connsiteX20" fmla="*/ 155909 w 311818"/>
                  <a:gd name="connsiteY20" fmla="*/ 285559 h 312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1818" h="312017">
                    <a:moveTo>
                      <a:pt x="1368" y="175618"/>
                    </a:moveTo>
                    <a:cubicBezTo>
                      <a:pt x="11018" y="252541"/>
                      <a:pt x="76550" y="312017"/>
                      <a:pt x="155981" y="312017"/>
                    </a:cubicBezTo>
                    <a:cubicBezTo>
                      <a:pt x="235412" y="312017"/>
                      <a:pt x="300945" y="252469"/>
                      <a:pt x="310594" y="175546"/>
                    </a:cubicBezTo>
                    <a:cubicBezTo>
                      <a:pt x="311315" y="169346"/>
                      <a:pt x="311819" y="162930"/>
                      <a:pt x="311819" y="156513"/>
                    </a:cubicBezTo>
                    <a:cubicBezTo>
                      <a:pt x="311819" y="150602"/>
                      <a:pt x="311603" y="145267"/>
                      <a:pt x="310954" y="139499"/>
                    </a:cubicBezTo>
                    <a:cubicBezTo>
                      <a:pt x="302889" y="60846"/>
                      <a:pt x="236636" y="0"/>
                      <a:pt x="155981" y="0"/>
                    </a:cubicBezTo>
                    <a:cubicBezTo>
                      <a:pt x="75326" y="0"/>
                      <a:pt x="9218" y="61135"/>
                      <a:pt x="1008" y="139499"/>
                    </a:cubicBezTo>
                    <a:lnTo>
                      <a:pt x="864" y="139499"/>
                    </a:lnTo>
                    <a:cubicBezTo>
                      <a:pt x="216" y="145267"/>
                      <a:pt x="0" y="150602"/>
                      <a:pt x="0" y="156513"/>
                    </a:cubicBezTo>
                    <a:cubicBezTo>
                      <a:pt x="0" y="162930"/>
                      <a:pt x="432" y="169346"/>
                      <a:pt x="1224" y="175546"/>
                    </a:cubicBezTo>
                    <a:moveTo>
                      <a:pt x="155981" y="285487"/>
                    </a:moveTo>
                    <a:cubicBezTo>
                      <a:pt x="91169" y="285487"/>
                      <a:pt x="37519" y="237834"/>
                      <a:pt x="28085" y="175618"/>
                    </a:cubicBezTo>
                    <a:lnTo>
                      <a:pt x="27941" y="175618"/>
                    </a:lnTo>
                    <a:cubicBezTo>
                      <a:pt x="27005" y="169346"/>
                      <a:pt x="26501" y="163074"/>
                      <a:pt x="26501" y="156513"/>
                    </a:cubicBezTo>
                    <a:cubicBezTo>
                      <a:pt x="26501" y="150818"/>
                      <a:pt x="26789" y="145483"/>
                      <a:pt x="27509" y="140004"/>
                    </a:cubicBezTo>
                    <a:lnTo>
                      <a:pt x="27581" y="140004"/>
                    </a:lnTo>
                    <a:cubicBezTo>
                      <a:pt x="35431" y="76058"/>
                      <a:pt x="89873" y="26530"/>
                      <a:pt x="155909" y="26530"/>
                    </a:cubicBezTo>
                    <a:cubicBezTo>
                      <a:pt x="221946" y="26530"/>
                      <a:pt x="276316" y="75769"/>
                      <a:pt x="284165" y="139788"/>
                    </a:cubicBezTo>
                    <a:cubicBezTo>
                      <a:pt x="284886" y="145411"/>
                      <a:pt x="285246" y="150818"/>
                      <a:pt x="285246" y="156585"/>
                    </a:cubicBezTo>
                    <a:cubicBezTo>
                      <a:pt x="285246" y="163218"/>
                      <a:pt x="284741" y="169562"/>
                      <a:pt x="283805" y="175906"/>
                    </a:cubicBezTo>
                    <a:cubicBezTo>
                      <a:pt x="274372" y="238122"/>
                      <a:pt x="220721" y="285559"/>
                      <a:pt x="155909" y="285559"/>
                    </a:cubicBez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48E3A74B-5B7D-B788-AA00-31971A9DA1BB}"/>
                  </a:ext>
                </a:extLst>
              </p:cNvPr>
              <p:cNvSpPr/>
              <p:nvPr/>
            </p:nvSpPr>
            <p:spPr>
              <a:xfrm>
                <a:off x="11529743" y="3323653"/>
                <a:ext cx="42343" cy="42390"/>
              </a:xfrm>
              <a:custGeom>
                <a:avLst/>
                <a:gdLst>
                  <a:gd name="connsiteX0" fmla="*/ 0 w 42343"/>
                  <a:gd name="connsiteY0" fmla="*/ 21123 h 42390"/>
                  <a:gd name="connsiteX1" fmla="*/ 21244 w 42343"/>
                  <a:gd name="connsiteY1" fmla="*/ 0 h 42390"/>
                  <a:gd name="connsiteX2" fmla="*/ 42344 w 42343"/>
                  <a:gd name="connsiteY2" fmla="*/ 21123 h 42390"/>
                  <a:gd name="connsiteX3" fmla="*/ 21244 w 42343"/>
                  <a:gd name="connsiteY3" fmla="*/ 42391 h 42390"/>
                  <a:gd name="connsiteX4" fmla="*/ 0 w 42343"/>
                  <a:gd name="connsiteY4" fmla="*/ 21123 h 42390"/>
                  <a:gd name="connsiteX5" fmla="*/ 38959 w 42343"/>
                  <a:gd name="connsiteY5" fmla="*/ 21123 h 42390"/>
                  <a:gd name="connsiteX6" fmla="*/ 21244 w 42343"/>
                  <a:gd name="connsiteY6" fmla="*/ 2812 h 42390"/>
                  <a:gd name="connsiteX7" fmla="*/ 3385 w 42343"/>
                  <a:gd name="connsiteY7" fmla="*/ 21123 h 42390"/>
                  <a:gd name="connsiteX8" fmla="*/ 21244 w 42343"/>
                  <a:gd name="connsiteY8" fmla="*/ 39579 h 42390"/>
                  <a:gd name="connsiteX9" fmla="*/ 38959 w 42343"/>
                  <a:gd name="connsiteY9" fmla="*/ 21123 h 42390"/>
                  <a:gd name="connsiteX10" fmla="*/ 31758 w 42343"/>
                  <a:gd name="connsiteY10" fmla="*/ 32946 h 42390"/>
                  <a:gd name="connsiteX11" fmla="*/ 28301 w 42343"/>
                  <a:gd name="connsiteY11" fmla="*/ 32946 h 42390"/>
                  <a:gd name="connsiteX12" fmla="*/ 21532 w 42343"/>
                  <a:gd name="connsiteY12" fmla="*/ 22060 h 42390"/>
                  <a:gd name="connsiteX13" fmla="*/ 16203 w 42343"/>
                  <a:gd name="connsiteY13" fmla="*/ 22060 h 42390"/>
                  <a:gd name="connsiteX14" fmla="*/ 16203 w 42343"/>
                  <a:gd name="connsiteY14" fmla="*/ 32946 h 42390"/>
                  <a:gd name="connsiteX15" fmla="*/ 13323 w 42343"/>
                  <a:gd name="connsiteY15" fmla="*/ 32946 h 42390"/>
                  <a:gd name="connsiteX16" fmla="*/ 13323 w 42343"/>
                  <a:gd name="connsiteY16" fmla="*/ 9300 h 42390"/>
                  <a:gd name="connsiteX17" fmla="*/ 23693 w 42343"/>
                  <a:gd name="connsiteY17" fmla="*/ 9300 h 42390"/>
                  <a:gd name="connsiteX18" fmla="*/ 32046 w 42343"/>
                  <a:gd name="connsiteY18" fmla="*/ 15572 h 42390"/>
                  <a:gd name="connsiteX19" fmla="*/ 24629 w 42343"/>
                  <a:gd name="connsiteY19" fmla="*/ 22060 h 42390"/>
                  <a:gd name="connsiteX20" fmla="*/ 31758 w 42343"/>
                  <a:gd name="connsiteY20" fmla="*/ 32946 h 42390"/>
                  <a:gd name="connsiteX21" fmla="*/ 20668 w 42343"/>
                  <a:gd name="connsiteY21" fmla="*/ 19753 h 42390"/>
                  <a:gd name="connsiteX22" fmla="*/ 28949 w 42343"/>
                  <a:gd name="connsiteY22" fmla="*/ 15500 h 42390"/>
                  <a:gd name="connsiteX23" fmla="*/ 23044 w 42343"/>
                  <a:gd name="connsiteY23" fmla="*/ 11391 h 42390"/>
                  <a:gd name="connsiteX24" fmla="*/ 16275 w 42343"/>
                  <a:gd name="connsiteY24" fmla="*/ 11391 h 42390"/>
                  <a:gd name="connsiteX25" fmla="*/ 16275 w 42343"/>
                  <a:gd name="connsiteY25" fmla="*/ 19753 h 42390"/>
                  <a:gd name="connsiteX26" fmla="*/ 20668 w 42343"/>
                  <a:gd name="connsiteY26" fmla="*/ 19753 h 4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2343" h="42390">
                    <a:moveTo>
                      <a:pt x="0" y="21123"/>
                    </a:moveTo>
                    <a:cubicBezTo>
                      <a:pt x="0" y="9516"/>
                      <a:pt x="9506" y="0"/>
                      <a:pt x="21244" y="0"/>
                    </a:cubicBezTo>
                    <a:cubicBezTo>
                      <a:pt x="32982" y="0"/>
                      <a:pt x="42344" y="9516"/>
                      <a:pt x="42344" y="21123"/>
                    </a:cubicBezTo>
                    <a:cubicBezTo>
                      <a:pt x="42344" y="32730"/>
                      <a:pt x="32910" y="42391"/>
                      <a:pt x="21244" y="42391"/>
                    </a:cubicBezTo>
                    <a:cubicBezTo>
                      <a:pt x="9578" y="42391"/>
                      <a:pt x="0" y="32874"/>
                      <a:pt x="0" y="21123"/>
                    </a:cubicBezTo>
                    <a:close/>
                    <a:moveTo>
                      <a:pt x="38959" y="21123"/>
                    </a:moveTo>
                    <a:cubicBezTo>
                      <a:pt x="38959" y="10814"/>
                      <a:pt x="31470" y="2812"/>
                      <a:pt x="21244" y="2812"/>
                    </a:cubicBezTo>
                    <a:cubicBezTo>
                      <a:pt x="11018" y="2812"/>
                      <a:pt x="3385" y="10886"/>
                      <a:pt x="3385" y="21123"/>
                    </a:cubicBezTo>
                    <a:cubicBezTo>
                      <a:pt x="3385" y="31360"/>
                      <a:pt x="10946" y="39579"/>
                      <a:pt x="21244" y="39579"/>
                    </a:cubicBezTo>
                    <a:cubicBezTo>
                      <a:pt x="31542" y="39579"/>
                      <a:pt x="38959" y="31505"/>
                      <a:pt x="38959" y="21123"/>
                    </a:cubicBezTo>
                    <a:close/>
                    <a:moveTo>
                      <a:pt x="31758" y="32946"/>
                    </a:moveTo>
                    <a:lnTo>
                      <a:pt x="28301" y="32946"/>
                    </a:lnTo>
                    <a:lnTo>
                      <a:pt x="21532" y="22060"/>
                    </a:lnTo>
                    <a:lnTo>
                      <a:pt x="16203" y="22060"/>
                    </a:lnTo>
                    <a:lnTo>
                      <a:pt x="16203" y="32946"/>
                    </a:lnTo>
                    <a:lnTo>
                      <a:pt x="13323" y="32946"/>
                    </a:lnTo>
                    <a:lnTo>
                      <a:pt x="13323" y="9300"/>
                    </a:lnTo>
                    <a:lnTo>
                      <a:pt x="23693" y="9300"/>
                    </a:lnTo>
                    <a:cubicBezTo>
                      <a:pt x="29958" y="9300"/>
                      <a:pt x="32046" y="11679"/>
                      <a:pt x="32046" y="15572"/>
                    </a:cubicBezTo>
                    <a:cubicBezTo>
                      <a:pt x="32046" y="20186"/>
                      <a:pt x="28805" y="21916"/>
                      <a:pt x="24629" y="22060"/>
                    </a:cubicBezTo>
                    <a:lnTo>
                      <a:pt x="31758" y="32946"/>
                    </a:lnTo>
                    <a:close/>
                    <a:moveTo>
                      <a:pt x="20668" y="19753"/>
                    </a:moveTo>
                    <a:cubicBezTo>
                      <a:pt x="24052" y="19753"/>
                      <a:pt x="28949" y="20330"/>
                      <a:pt x="28949" y="15500"/>
                    </a:cubicBezTo>
                    <a:cubicBezTo>
                      <a:pt x="28949" y="11823"/>
                      <a:pt x="25925" y="11391"/>
                      <a:pt x="23044" y="11391"/>
                    </a:cubicBezTo>
                    <a:lnTo>
                      <a:pt x="16275" y="11391"/>
                    </a:lnTo>
                    <a:lnTo>
                      <a:pt x="16275" y="19753"/>
                    </a:lnTo>
                    <a:lnTo>
                      <a:pt x="20668" y="19753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06577614-BB78-D739-9FD1-128645E5C0E0}"/>
                </a:ext>
              </a:extLst>
            </p:cNvPr>
            <p:cNvSpPr/>
            <p:nvPr/>
          </p:nvSpPr>
          <p:spPr>
            <a:xfrm>
              <a:off x="9662576" y="3326249"/>
              <a:ext cx="70213" cy="41020"/>
            </a:xfrm>
            <a:custGeom>
              <a:avLst/>
              <a:gdLst>
                <a:gd name="connsiteX0" fmla="*/ 15267 w 70213"/>
                <a:gd name="connsiteY0" fmla="*/ 4398 h 41020"/>
                <a:gd name="connsiteX1" fmla="*/ 9434 w 70213"/>
                <a:gd name="connsiteY1" fmla="*/ 7714 h 41020"/>
                <a:gd name="connsiteX2" fmla="*/ 4321 w 70213"/>
                <a:gd name="connsiteY2" fmla="*/ 11607 h 41020"/>
                <a:gd name="connsiteX3" fmla="*/ 2737 w 70213"/>
                <a:gd name="connsiteY3" fmla="*/ 15139 h 41020"/>
                <a:gd name="connsiteX4" fmla="*/ 648 w 70213"/>
                <a:gd name="connsiteY4" fmla="*/ 18167 h 41020"/>
                <a:gd name="connsiteX5" fmla="*/ 144 w 70213"/>
                <a:gd name="connsiteY5" fmla="*/ 19249 h 41020"/>
                <a:gd name="connsiteX6" fmla="*/ 0 w 70213"/>
                <a:gd name="connsiteY6" fmla="*/ 20330 h 41020"/>
                <a:gd name="connsiteX7" fmla="*/ 288 w 70213"/>
                <a:gd name="connsiteY7" fmla="*/ 21556 h 41020"/>
                <a:gd name="connsiteX8" fmla="*/ 2232 w 70213"/>
                <a:gd name="connsiteY8" fmla="*/ 26891 h 41020"/>
                <a:gd name="connsiteX9" fmla="*/ 5617 w 70213"/>
                <a:gd name="connsiteY9" fmla="*/ 28981 h 41020"/>
                <a:gd name="connsiteX10" fmla="*/ 9506 w 70213"/>
                <a:gd name="connsiteY10" fmla="*/ 33379 h 41020"/>
                <a:gd name="connsiteX11" fmla="*/ 12314 w 70213"/>
                <a:gd name="connsiteY11" fmla="*/ 36046 h 41020"/>
                <a:gd name="connsiteX12" fmla="*/ 16347 w 70213"/>
                <a:gd name="connsiteY12" fmla="*/ 37993 h 41020"/>
                <a:gd name="connsiteX13" fmla="*/ 20380 w 70213"/>
                <a:gd name="connsiteY13" fmla="*/ 39218 h 41020"/>
                <a:gd name="connsiteX14" fmla="*/ 26069 w 70213"/>
                <a:gd name="connsiteY14" fmla="*/ 39218 h 41020"/>
                <a:gd name="connsiteX15" fmla="*/ 29814 w 70213"/>
                <a:gd name="connsiteY15" fmla="*/ 39939 h 41020"/>
                <a:gd name="connsiteX16" fmla="*/ 33846 w 70213"/>
                <a:gd name="connsiteY16" fmla="*/ 40300 h 41020"/>
                <a:gd name="connsiteX17" fmla="*/ 39319 w 70213"/>
                <a:gd name="connsiteY17" fmla="*/ 40660 h 41020"/>
                <a:gd name="connsiteX18" fmla="*/ 44576 w 70213"/>
                <a:gd name="connsiteY18" fmla="*/ 41021 h 41020"/>
                <a:gd name="connsiteX19" fmla="*/ 51130 w 70213"/>
                <a:gd name="connsiteY19" fmla="*/ 40516 h 41020"/>
                <a:gd name="connsiteX20" fmla="*/ 56099 w 70213"/>
                <a:gd name="connsiteY20" fmla="*/ 39074 h 41020"/>
                <a:gd name="connsiteX21" fmla="*/ 62076 w 70213"/>
                <a:gd name="connsiteY21" fmla="*/ 36623 h 41020"/>
                <a:gd name="connsiteX22" fmla="*/ 64740 w 70213"/>
                <a:gd name="connsiteY22" fmla="*/ 33595 h 41020"/>
                <a:gd name="connsiteX23" fmla="*/ 67765 w 70213"/>
                <a:gd name="connsiteY23" fmla="*/ 30784 h 41020"/>
                <a:gd name="connsiteX24" fmla="*/ 70213 w 70213"/>
                <a:gd name="connsiteY24" fmla="*/ 26891 h 41020"/>
                <a:gd name="connsiteX25" fmla="*/ 70069 w 70213"/>
                <a:gd name="connsiteY25" fmla="*/ 22853 h 41020"/>
                <a:gd name="connsiteX26" fmla="*/ 68989 w 70213"/>
                <a:gd name="connsiteY26" fmla="*/ 17014 h 41020"/>
                <a:gd name="connsiteX27" fmla="*/ 62652 w 70213"/>
                <a:gd name="connsiteY27" fmla="*/ 7786 h 41020"/>
                <a:gd name="connsiteX28" fmla="*/ 57035 w 70213"/>
                <a:gd name="connsiteY28" fmla="*/ 3533 h 41020"/>
                <a:gd name="connsiteX29" fmla="*/ 54226 w 70213"/>
                <a:gd name="connsiteY29" fmla="*/ 2163 h 41020"/>
                <a:gd name="connsiteX30" fmla="*/ 52138 w 70213"/>
                <a:gd name="connsiteY30" fmla="*/ 1370 h 41020"/>
                <a:gd name="connsiteX31" fmla="*/ 50121 w 70213"/>
                <a:gd name="connsiteY31" fmla="*/ 1081 h 41020"/>
                <a:gd name="connsiteX32" fmla="*/ 43568 w 70213"/>
                <a:gd name="connsiteY32" fmla="*/ 1586 h 41020"/>
                <a:gd name="connsiteX33" fmla="*/ 37015 w 70213"/>
                <a:gd name="connsiteY33" fmla="*/ 505 h 41020"/>
                <a:gd name="connsiteX34" fmla="*/ 33846 w 70213"/>
                <a:gd name="connsiteY34" fmla="*/ 0 h 41020"/>
                <a:gd name="connsiteX35" fmla="*/ 29814 w 70213"/>
                <a:gd name="connsiteY35" fmla="*/ 865 h 41020"/>
                <a:gd name="connsiteX36" fmla="*/ 24485 w 70213"/>
                <a:gd name="connsiteY36" fmla="*/ 1586 h 41020"/>
                <a:gd name="connsiteX37" fmla="*/ 21100 w 70213"/>
                <a:gd name="connsiteY37" fmla="*/ 2812 h 41020"/>
                <a:gd name="connsiteX38" fmla="*/ 15267 w 70213"/>
                <a:gd name="connsiteY38" fmla="*/ 4398 h 4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0213" h="41020">
                  <a:moveTo>
                    <a:pt x="15267" y="4398"/>
                  </a:moveTo>
                  <a:lnTo>
                    <a:pt x="9434" y="7714"/>
                  </a:lnTo>
                  <a:lnTo>
                    <a:pt x="4321" y="11607"/>
                  </a:lnTo>
                  <a:lnTo>
                    <a:pt x="2737" y="15139"/>
                  </a:lnTo>
                  <a:lnTo>
                    <a:pt x="648" y="18167"/>
                  </a:lnTo>
                  <a:lnTo>
                    <a:pt x="144" y="19249"/>
                  </a:lnTo>
                  <a:lnTo>
                    <a:pt x="0" y="20330"/>
                  </a:lnTo>
                  <a:lnTo>
                    <a:pt x="288" y="21556"/>
                  </a:lnTo>
                  <a:lnTo>
                    <a:pt x="2232" y="26891"/>
                  </a:lnTo>
                  <a:lnTo>
                    <a:pt x="5617" y="28981"/>
                  </a:lnTo>
                  <a:lnTo>
                    <a:pt x="9506" y="33379"/>
                  </a:lnTo>
                  <a:lnTo>
                    <a:pt x="12314" y="36046"/>
                  </a:lnTo>
                  <a:lnTo>
                    <a:pt x="16347" y="37993"/>
                  </a:lnTo>
                  <a:lnTo>
                    <a:pt x="20380" y="39218"/>
                  </a:lnTo>
                  <a:lnTo>
                    <a:pt x="26069" y="39218"/>
                  </a:lnTo>
                  <a:lnTo>
                    <a:pt x="29814" y="39939"/>
                  </a:lnTo>
                  <a:lnTo>
                    <a:pt x="33846" y="40300"/>
                  </a:lnTo>
                  <a:lnTo>
                    <a:pt x="39319" y="40660"/>
                  </a:lnTo>
                  <a:lnTo>
                    <a:pt x="44576" y="41021"/>
                  </a:lnTo>
                  <a:lnTo>
                    <a:pt x="51130" y="40516"/>
                  </a:lnTo>
                  <a:lnTo>
                    <a:pt x="56099" y="39074"/>
                  </a:lnTo>
                  <a:lnTo>
                    <a:pt x="62076" y="36623"/>
                  </a:lnTo>
                  <a:lnTo>
                    <a:pt x="64740" y="33595"/>
                  </a:lnTo>
                  <a:lnTo>
                    <a:pt x="67765" y="30784"/>
                  </a:lnTo>
                  <a:lnTo>
                    <a:pt x="70213" y="26891"/>
                  </a:lnTo>
                  <a:lnTo>
                    <a:pt x="70069" y="22853"/>
                  </a:lnTo>
                  <a:lnTo>
                    <a:pt x="68989" y="17014"/>
                  </a:lnTo>
                  <a:lnTo>
                    <a:pt x="62652" y="7786"/>
                  </a:lnTo>
                  <a:lnTo>
                    <a:pt x="57035" y="3533"/>
                  </a:lnTo>
                  <a:lnTo>
                    <a:pt x="54226" y="2163"/>
                  </a:lnTo>
                  <a:lnTo>
                    <a:pt x="52138" y="1370"/>
                  </a:lnTo>
                  <a:lnTo>
                    <a:pt x="50121" y="1081"/>
                  </a:lnTo>
                  <a:lnTo>
                    <a:pt x="43568" y="1586"/>
                  </a:lnTo>
                  <a:lnTo>
                    <a:pt x="37015" y="505"/>
                  </a:lnTo>
                  <a:lnTo>
                    <a:pt x="33846" y="0"/>
                  </a:lnTo>
                  <a:lnTo>
                    <a:pt x="29814" y="865"/>
                  </a:lnTo>
                  <a:lnTo>
                    <a:pt x="24485" y="1586"/>
                  </a:lnTo>
                  <a:lnTo>
                    <a:pt x="21100" y="2812"/>
                  </a:lnTo>
                  <a:lnTo>
                    <a:pt x="15267" y="4398"/>
                  </a:lnTo>
                </a:path>
              </a:pathLst>
            </a:custGeom>
            <a:solidFill>
              <a:srgbClr val="F26531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8736FE9E-2C18-17B6-0721-F8C56CE27111}"/>
                </a:ext>
              </a:extLst>
            </p:cNvPr>
            <p:cNvSpPr/>
            <p:nvPr/>
          </p:nvSpPr>
          <p:spPr>
            <a:xfrm>
              <a:off x="9668265" y="3427034"/>
              <a:ext cx="59915" cy="15932"/>
            </a:xfrm>
            <a:custGeom>
              <a:avLst/>
              <a:gdLst>
                <a:gd name="connsiteX0" fmla="*/ 1224 w 59915"/>
                <a:gd name="connsiteY0" fmla="*/ 360 h 15932"/>
                <a:gd name="connsiteX1" fmla="*/ 32694 w 59915"/>
                <a:gd name="connsiteY1" fmla="*/ 1081 h 15932"/>
                <a:gd name="connsiteX2" fmla="*/ 37375 w 59915"/>
                <a:gd name="connsiteY2" fmla="*/ 144 h 15932"/>
                <a:gd name="connsiteX3" fmla="*/ 43424 w 59915"/>
                <a:gd name="connsiteY3" fmla="*/ 0 h 15932"/>
                <a:gd name="connsiteX4" fmla="*/ 49473 w 59915"/>
                <a:gd name="connsiteY4" fmla="*/ 649 h 15932"/>
                <a:gd name="connsiteX5" fmla="*/ 54082 w 59915"/>
                <a:gd name="connsiteY5" fmla="*/ 1947 h 15932"/>
                <a:gd name="connsiteX6" fmla="*/ 57611 w 59915"/>
                <a:gd name="connsiteY6" fmla="*/ 4326 h 15932"/>
                <a:gd name="connsiteX7" fmla="*/ 58907 w 59915"/>
                <a:gd name="connsiteY7" fmla="*/ 5984 h 15932"/>
                <a:gd name="connsiteX8" fmla="*/ 59699 w 59915"/>
                <a:gd name="connsiteY8" fmla="*/ 7714 h 15932"/>
                <a:gd name="connsiteX9" fmla="*/ 59915 w 59915"/>
                <a:gd name="connsiteY9" fmla="*/ 9588 h 15932"/>
                <a:gd name="connsiteX10" fmla="*/ 59339 w 59915"/>
                <a:gd name="connsiteY10" fmla="*/ 11535 h 15932"/>
                <a:gd name="connsiteX11" fmla="*/ 57971 w 59915"/>
                <a:gd name="connsiteY11" fmla="*/ 13409 h 15932"/>
                <a:gd name="connsiteX12" fmla="*/ 55522 w 59915"/>
                <a:gd name="connsiteY12" fmla="*/ 15212 h 15932"/>
                <a:gd name="connsiteX13" fmla="*/ 51922 w 59915"/>
                <a:gd name="connsiteY13" fmla="*/ 15932 h 15932"/>
                <a:gd name="connsiteX14" fmla="*/ 45513 w 59915"/>
                <a:gd name="connsiteY14" fmla="*/ 15932 h 15932"/>
                <a:gd name="connsiteX15" fmla="*/ 28229 w 59915"/>
                <a:gd name="connsiteY15" fmla="*/ 14635 h 15932"/>
                <a:gd name="connsiteX16" fmla="*/ 1872 w 59915"/>
                <a:gd name="connsiteY16" fmla="*/ 11607 h 15932"/>
                <a:gd name="connsiteX17" fmla="*/ 864 w 59915"/>
                <a:gd name="connsiteY17" fmla="*/ 11174 h 15932"/>
                <a:gd name="connsiteX18" fmla="*/ 288 w 59915"/>
                <a:gd name="connsiteY18" fmla="*/ 10165 h 15932"/>
                <a:gd name="connsiteX19" fmla="*/ 0 w 59915"/>
                <a:gd name="connsiteY19" fmla="*/ 6921 h 15932"/>
                <a:gd name="connsiteX20" fmla="*/ 1224 w 59915"/>
                <a:gd name="connsiteY20" fmla="*/ 360 h 1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9915" h="15932">
                  <a:moveTo>
                    <a:pt x="1224" y="360"/>
                  </a:moveTo>
                  <a:lnTo>
                    <a:pt x="32694" y="1081"/>
                  </a:lnTo>
                  <a:lnTo>
                    <a:pt x="37375" y="144"/>
                  </a:lnTo>
                  <a:lnTo>
                    <a:pt x="43424" y="0"/>
                  </a:lnTo>
                  <a:lnTo>
                    <a:pt x="49473" y="649"/>
                  </a:lnTo>
                  <a:lnTo>
                    <a:pt x="54082" y="1947"/>
                  </a:lnTo>
                  <a:lnTo>
                    <a:pt x="57611" y="4326"/>
                  </a:lnTo>
                  <a:lnTo>
                    <a:pt x="58907" y="5984"/>
                  </a:lnTo>
                  <a:lnTo>
                    <a:pt x="59699" y="7714"/>
                  </a:lnTo>
                  <a:lnTo>
                    <a:pt x="59915" y="9588"/>
                  </a:lnTo>
                  <a:lnTo>
                    <a:pt x="59339" y="11535"/>
                  </a:lnTo>
                  <a:lnTo>
                    <a:pt x="57971" y="13409"/>
                  </a:lnTo>
                  <a:lnTo>
                    <a:pt x="55522" y="15212"/>
                  </a:lnTo>
                  <a:lnTo>
                    <a:pt x="51922" y="15932"/>
                  </a:lnTo>
                  <a:lnTo>
                    <a:pt x="45513" y="15932"/>
                  </a:lnTo>
                  <a:lnTo>
                    <a:pt x="28229" y="14635"/>
                  </a:lnTo>
                  <a:lnTo>
                    <a:pt x="1872" y="11607"/>
                  </a:lnTo>
                  <a:lnTo>
                    <a:pt x="864" y="11174"/>
                  </a:lnTo>
                  <a:lnTo>
                    <a:pt x="288" y="10165"/>
                  </a:lnTo>
                  <a:lnTo>
                    <a:pt x="0" y="6921"/>
                  </a:lnTo>
                  <a:lnTo>
                    <a:pt x="1224" y="360"/>
                  </a:lnTo>
                </a:path>
              </a:pathLst>
            </a:custGeom>
            <a:solidFill>
              <a:srgbClr val="ED1849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CA210714-7F43-46E7-7CD0-6BAC80CD6BD4}"/>
                </a:ext>
              </a:extLst>
            </p:cNvPr>
            <p:cNvSpPr/>
            <p:nvPr/>
          </p:nvSpPr>
          <p:spPr>
            <a:xfrm>
              <a:off x="9671290" y="3456448"/>
              <a:ext cx="57754" cy="15644"/>
            </a:xfrm>
            <a:custGeom>
              <a:avLst/>
              <a:gdLst>
                <a:gd name="connsiteX0" fmla="*/ 7057 w 57754"/>
                <a:gd name="connsiteY0" fmla="*/ 0 h 15644"/>
                <a:gd name="connsiteX1" fmla="*/ 9794 w 57754"/>
                <a:gd name="connsiteY1" fmla="*/ 1658 h 15644"/>
                <a:gd name="connsiteX2" fmla="*/ 11522 w 57754"/>
                <a:gd name="connsiteY2" fmla="*/ 2667 h 15644"/>
                <a:gd name="connsiteX3" fmla="*/ 13467 w 57754"/>
                <a:gd name="connsiteY3" fmla="*/ 3172 h 15644"/>
                <a:gd name="connsiteX4" fmla="*/ 14835 w 57754"/>
                <a:gd name="connsiteY4" fmla="*/ 2884 h 15644"/>
                <a:gd name="connsiteX5" fmla="*/ 16419 w 57754"/>
                <a:gd name="connsiteY5" fmla="*/ 2163 h 15644"/>
                <a:gd name="connsiteX6" fmla="*/ 18003 w 57754"/>
                <a:gd name="connsiteY6" fmla="*/ 1370 h 15644"/>
                <a:gd name="connsiteX7" fmla="*/ 19588 w 57754"/>
                <a:gd name="connsiteY7" fmla="*/ 1009 h 15644"/>
                <a:gd name="connsiteX8" fmla="*/ 22324 w 57754"/>
                <a:gd name="connsiteY8" fmla="*/ 2019 h 15644"/>
                <a:gd name="connsiteX9" fmla="*/ 25277 w 57754"/>
                <a:gd name="connsiteY9" fmla="*/ 3028 h 15644"/>
                <a:gd name="connsiteX10" fmla="*/ 27725 w 57754"/>
                <a:gd name="connsiteY10" fmla="*/ 2235 h 15644"/>
                <a:gd name="connsiteX11" fmla="*/ 30246 w 57754"/>
                <a:gd name="connsiteY11" fmla="*/ 1514 h 15644"/>
                <a:gd name="connsiteX12" fmla="*/ 33198 w 57754"/>
                <a:gd name="connsiteY12" fmla="*/ 2595 h 15644"/>
                <a:gd name="connsiteX13" fmla="*/ 34638 w 57754"/>
                <a:gd name="connsiteY13" fmla="*/ 3172 h 15644"/>
                <a:gd name="connsiteX14" fmla="*/ 36079 w 57754"/>
                <a:gd name="connsiteY14" fmla="*/ 3172 h 15644"/>
                <a:gd name="connsiteX15" fmla="*/ 45224 w 57754"/>
                <a:gd name="connsiteY15" fmla="*/ 1947 h 15644"/>
                <a:gd name="connsiteX16" fmla="*/ 52210 w 57754"/>
                <a:gd name="connsiteY16" fmla="*/ 3100 h 15644"/>
                <a:gd name="connsiteX17" fmla="*/ 52642 w 57754"/>
                <a:gd name="connsiteY17" fmla="*/ 3388 h 15644"/>
                <a:gd name="connsiteX18" fmla="*/ 52858 w 57754"/>
                <a:gd name="connsiteY18" fmla="*/ 3749 h 15644"/>
                <a:gd name="connsiteX19" fmla="*/ 52642 w 57754"/>
                <a:gd name="connsiteY19" fmla="*/ 4614 h 15644"/>
                <a:gd name="connsiteX20" fmla="*/ 52354 w 57754"/>
                <a:gd name="connsiteY20" fmla="*/ 5551 h 15644"/>
                <a:gd name="connsiteX21" fmla="*/ 52642 w 57754"/>
                <a:gd name="connsiteY21" fmla="*/ 6416 h 15644"/>
                <a:gd name="connsiteX22" fmla="*/ 54370 w 57754"/>
                <a:gd name="connsiteY22" fmla="*/ 7426 h 15644"/>
                <a:gd name="connsiteX23" fmla="*/ 56315 w 57754"/>
                <a:gd name="connsiteY23" fmla="*/ 8219 h 15644"/>
                <a:gd name="connsiteX24" fmla="*/ 57107 w 57754"/>
                <a:gd name="connsiteY24" fmla="*/ 8795 h 15644"/>
                <a:gd name="connsiteX25" fmla="*/ 57611 w 57754"/>
                <a:gd name="connsiteY25" fmla="*/ 9660 h 15644"/>
                <a:gd name="connsiteX26" fmla="*/ 57755 w 57754"/>
                <a:gd name="connsiteY26" fmla="*/ 10958 h 15644"/>
                <a:gd name="connsiteX27" fmla="*/ 57395 w 57754"/>
                <a:gd name="connsiteY27" fmla="*/ 12760 h 15644"/>
                <a:gd name="connsiteX28" fmla="*/ 56819 w 57754"/>
                <a:gd name="connsiteY28" fmla="*/ 13626 h 15644"/>
                <a:gd name="connsiteX29" fmla="*/ 55522 w 57754"/>
                <a:gd name="connsiteY29" fmla="*/ 14346 h 15644"/>
                <a:gd name="connsiteX30" fmla="*/ 51562 w 57754"/>
                <a:gd name="connsiteY30" fmla="*/ 15212 h 15644"/>
                <a:gd name="connsiteX31" fmla="*/ 39031 w 57754"/>
                <a:gd name="connsiteY31" fmla="*/ 15644 h 15644"/>
                <a:gd name="connsiteX32" fmla="*/ 21100 w 57754"/>
                <a:gd name="connsiteY32" fmla="*/ 13337 h 15644"/>
                <a:gd name="connsiteX33" fmla="*/ 5545 w 57754"/>
                <a:gd name="connsiteY33" fmla="*/ 10453 h 15644"/>
                <a:gd name="connsiteX34" fmla="*/ 3241 w 57754"/>
                <a:gd name="connsiteY34" fmla="*/ 9516 h 15644"/>
                <a:gd name="connsiteX35" fmla="*/ 1512 w 57754"/>
                <a:gd name="connsiteY35" fmla="*/ 7426 h 15644"/>
                <a:gd name="connsiteX36" fmla="*/ 360 w 57754"/>
                <a:gd name="connsiteY36" fmla="*/ 4974 h 15644"/>
                <a:gd name="connsiteX37" fmla="*/ 0 w 57754"/>
                <a:gd name="connsiteY37" fmla="*/ 2812 h 15644"/>
                <a:gd name="connsiteX38" fmla="*/ 7057 w 57754"/>
                <a:gd name="connsiteY38" fmla="*/ 0 h 1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754" h="15644">
                  <a:moveTo>
                    <a:pt x="7057" y="0"/>
                  </a:moveTo>
                  <a:lnTo>
                    <a:pt x="9794" y="1658"/>
                  </a:lnTo>
                  <a:lnTo>
                    <a:pt x="11522" y="2667"/>
                  </a:lnTo>
                  <a:lnTo>
                    <a:pt x="13467" y="3172"/>
                  </a:lnTo>
                  <a:lnTo>
                    <a:pt x="14835" y="2884"/>
                  </a:lnTo>
                  <a:lnTo>
                    <a:pt x="16419" y="2163"/>
                  </a:lnTo>
                  <a:lnTo>
                    <a:pt x="18003" y="1370"/>
                  </a:lnTo>
                  <a:lnTo>
                    <a:pt x="19588" y="1009"/>
                  </a:lnTo>
                  <a:lnTo>
                    <a:pt x="22324" y="2019"/>
                  </a:lnTo>
                  <a:lnTo>
                    <a:pt x="25277" y="3028"/>
                  </a:lnTo>
                  <a:lnTo>
                    <a:pt x="27725" y="2235"/>
                  </a:lnTo>
                  <a:lnTo>
                    <a:pt x="30246" y="1514"/>
                  </a:lnTo>
                  <a:lnTo>
                    <a:pt x="33198" y="2595"/>
                  </a:lnTo>
                  <a:lnTo>
                    <a:pt x="34638" y="3172"/>
                  </a:lnTo>
                  <a:lnTo>
                    <a:pt x="36079" y="3172"/>
                  </a:lnTo>
                  <a:lnTo>
                    <a:pt x="45224" y="1947"/>
                  </a:lnTo>
                  <a:lnTo>
                    <a:pt x="52210" y="3100"/>
                  </a:lnTo>
                  <a:lnTo>
                    <a:pt x="52642" y="3388"/>
                  </a:lnTo>
                  <a:lnTo>
                    <a:pt x="52858" y="3749"/>
                  </a:lnTo>
                  <a:lnTo>
                    <a:pt x="52642" y="4614"/>
                  </a:lnTo>
                  <a:lnTo>
                    <a:pt x="52354" y="5551"/>
                  </a:lnTo>
                  <a:lnTo>
                    <a:pt x="52642" y="6416"/>
                  </a:lnTo>
                  <a:lnTo>
                    <a:pt x="54370" y="7426"/>
                  </a:lnTo>
                  <a:lnTo>
                    <a:pt x="56315" y="8219"/>
                  </a:lnTo>
                  <a:lnTo>
                    <a:pt x="57107" y="8795"/>
                  </a:lnTo>
                  <a:lnTo>
                    <a:pt x="57611" y="9660"/>
                  </a:lnTo>
                  <a:lnTo>
                    <a:pt x="57755" y="10958"/>
                  </a:lnTo>
                  <a:lnTo>
                    <a:pt x="57395" y="12760"/>
                  </a:lnTo>
                  <a:lnTo>
                    <a:pt x="56819" y="13626"/>
                  </a:lnTo>
                  <a:lnTo>
                    <a:pt x="55522" y="14346"/>
                  </a:lnTo>
                  <a:lnTo>
                    <a:pt x="51562" y="15212"/>
                  </a:lnTo>
                  <a:lnTo>
                    <a:pt x="39031" y="15644"/>
                  </a:lnTo>
                  <a:lnTo>
                    <a:pt x="21100" y="13337"/>
                  </a:lnTo>
                  <a:lnTo>
                    <a:pt x="5545" y="10453"/>
                  </a:lnTo>
                  <a:lnTo>
                    <a:pt x="3241" y="9516"/>
                  </a:lnTo>
                  <a:lnTo>
                    <a:pt x="1512" y="7426"/>
                  </a:lnTo>
                  <a:lnTo>
                    <a:pt x="360" y="4974"/>
                  </a:lnTo>
                  <a:lnTo>
                    <a:pt x="0" y="2812"/>
                  </a:lnTo>
                  <a:lnTo>
                    <a:pt x="705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6EFFEC7A-4274-A63B-7541-8E8559408E41}"/>
                </a:ext>
              </a:extLst>
            </p:cNvPr>
            <p:cNvSpPr/>
            <p:nvPr/>
          </p:nvSpPr>
          <p:spPr>
            <a:xfrm>
              <a:off x="9668481" y="3473390"/>
              <a:ext cx="59771" cy="17013"/>
            </a:xfrm>
            <a:custGeom>
              <a:avLst/>
              <a:gdLst>
                <a:gd name="connsiteX0" fmla="*/ 5617 w 59771"/>
                <a:gd name="connsiteY0" fmla="*/ 0 h 17013"/>
                <a:gd name="connsiteX1" fmla="*/ 10442 w 59771"/>
                <a:gd name="connsiteY1" fmla="*/ 1874 h 17013"/>
                <a:gd name="connsiteX2" fmla="*/ 12818 w 59771"/>
                <a:gd name="connsiteY2" fmla="*/ 2740 h 17013"/>
                <a:gd name="connsiteX3" fmla="*/ 15195 w 59771"/>
                <a:gd name="connsiteY3" fmla="*/ 2667 h 17013"/>
                <a:gd name="connsiteX4" fmla="*/ 36583 w 59771"/>
                <a:gd name="connsiteY4" fmla="*/ 1658 h 17013"/>
                <a:gd name="connsiteX5" fmla="*/ 45152 w 59771"/>
                <a:gd name="connsiteY5" fmla="*/ 2451 h 17013"/>
                <a:gd name="connsiteX6" fmla="*/ 51850 w 59771"/>
                <a:gd name="connsiteY6" fmla="*/ 4109 h 17013"/>
                <a:gd name="connsiteX7" fmla="*/ 54874 w 59771"/>
                <a:gd name="connsiteY7" fmla="*/ 4902 h 17013"/>
                <a:gd name="connsiteX8" fmla="*/ 56603 w 59771"/>
                <a:gd name="connsiteY8" fmla="*/ 5623 h 17013"/>
                <a:gd name="connsiteX9" fmla="*/ 57971 w 59771"/>
                <a:gd name="connsiteY9" fmla="*/ 6633 h 17013"/>
                <a:gd name="connsiteX10" fmla="*/ 59483 w 59771"/>
                <a:gd name="connsiteY10" fmla="*/ 9300 h 17013"/>
                <a:gd name="connsiteX11" fmla="*/ 59771 w 59771"/>
                <a:gd name="connsiteY11" fmla="*/ 11895 h 17013"/>
                <a:gd name="connsiteX12" fmla="*/ 59123 w 59771"/>
                <a:gd name="connsiteY12" fmla="*/ 14130 h 17013"/>
                <a:gd name="connsiteX13" fmla="*/ 57971 w 59771"/>
                <a:gd name="connsiteY13" fmla="*/ 15572 h 17013"/>
                <a:gd name="connsiteX14" fmla="*/ 57971 w 59771"/>
                <a:gd name="connsiteY14" fmla="*/ 17014 h 17013"/>
                <a:gd name="connsiteX15" fmla="*/ 37015 w 59771"/>
                <a:gd name="connsiteY15" fmla="*/ 16942 h 17013"/>
                <a:gd name="connsiteX16" fmla="*/ 30030 w 59771"/>
                <a:gd name="connsiteY16" fmla="*/ 17014 h 17013"/>
                <a:gd name="connsiteX17" fmla="*/ 23116 w 59771"/>
                <a:gd name="connsiteY17" fmla="*/ 16437 h 17013"/>
                <a:gd name="connsiteX18" fmla="*/ 16203 w 59771"/>
                <a:gd name="connsiteY18" fmla="*/ 15212 h 17013"/>
                <a:gd name="connsiteX19" fmla="*/ 10010 w 59771"/>
                <a:gd name="connsiteY19" fmla="*/ 14202 h 17013"/>
                <a:gd name="connsiteX20" fmla="*/ 5545 w 59771"/>
                <a:gd name="connsiteY20" fmla="*/ 13481 h 17013"/>
                <a:gd name="connsiteX21" fmla="*/ 3745 w 59771"/>
                <a:gd name="connsiteY21" fmla="*/ 13049 h 17013"/>
                <a:gd name="connsiteX22" fmla="*/ 2520 w 59771"/>
                <a:gd name="connsiteY22" fmla="*/ 11895 h 17013"/>
                <a:gd name="connsiteX23" fmla="*/ 792 w 59771"/>
                <a:gd name="connsiteY23" fmla="*/ 8219 h 17013"/>
                <a:gd name="connsiteX24" fmla="*/ 0 w 59771"/>
                <a:gd name="connsiteY24" fmla="*/ 4253 h 17013"/>
                <a:gd name="connsiteX25" fmla="*/ 5617 w 59771"/>
                <a:gd name="connsiteY25" fmla="*/ 0 h 17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9771" h="17013">
                  <a:moveTo>
                    <a:pt x="5617" y="0"/>
                  </a:moveTo>
                  <a:lnTo>
                    <a:pt x="10442" y="1874"/>
                  </a:lnTo>
                  <a:lnTo>
                    <a:pt x="12818" y="2740"/>
                  </a:lnTo>
                  <a:lnTo>
                    <a:pt x="15195" y="2667"/>
                  </a:lnTo>
                  <a:lnTo>
                    <a:pt x="36583" y="1658"/>
                  </a:lnTo>
                  <a:lnTo>
                    <a:pt x="45152" y="2451"/>
                  </a:lnTo>
                  <a:lnTo>
                    <a:pt x="51850" y="4109"/>
                  </a:lnTo>
                  <a:lnTo>
                    <a:pt x="54874" y="4902"/>
                  </a:lnTo>
                  <a:lnTo>
                    <a:pt x="56603" y="5623"/>
                  </a:lnTo>
                  <a:lnTo>
                    <a:pt x="57971" y="6633"/>
                  </a:lnTo>
                  <a:lnTo>
                    <a:pt x="59483" y="9300"/>
                  </a:lnTo>
                  <a:lnTo>
                    <a:pt x="59771" y="11895"/>
                  </a:lnTo>
                  <a:lnTo>
                    <a:pt x="59123" y="14130"/>
                  </a:lnTo>
                  <a:lnTo>
                    <a:pt x="57971" y="15572"/>
                  </a:lnTo>
                  <a:lnTo>
                    <a:pt x="57971" y="17014"/>
                  </a:lnTo>
                  <a:lnTo>
                    <a:pt x="37015" y="16942"/>
                  </a:lnTo>
                  <a:lnTo>
                    <a:pt x="30030" y="17014"/>
                  </a:lnTo>
                  <a:lnTo>
                    <a:pt x="23116" y="16437"/>
                  </a:lnTo>
                  <a:lnTo>
                    <a:pt x="16203" y="15212"/>
                  </a:lnTo>
                  <a:lnTo>
                    <a:pt x="10010" y="14202"/>
                  </a:lnTo>
                  <a:lnTo>
                    <a:pt x="5545" y="13481"/>
                  </a:lnTo>
                  <a:lnTo>
                    <a:pt x="3745" y="13049"/>
                  </a:lnTo>
                  <a:lnTo>
                    <a:pt x="2520" y="11895"/>
                  </a:lnTo>
                  <a:lnTo>
                    <a:pt x="792" y="8219"/>
                  </a:lnTo>
                  <a:lnTo>
                    <a:pt x="0" y="4253"/>
                  </a:lnTo>
                  <a:lnTo>
                    <a:pt x="561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C244BDF2-9629-5BCA-ECB0-0E94A1759ED1}"/>
                </a:ext>
              </a:extLst>
            </p:cNvPr>
            <p:cNvSpPr/>
            <p:nvPr/>
          </p:nvSpPr>
          <p:spPr>
            <a:xfrm>
              <a:off x="9668553" y="3498406"/>
              <a:ext cx="60779" cy="27899"/>
            </a:xfrm>
            <a:custGeom>
              <a:avLst/>
              <a:gdLst>
                <a:gd name="connsiteX0" fmla="*/ 7129 w 60779"/>
                <a:gd name="connsiteY0" fmla="*/ 0 h 27899"/>
                <a:gd name="connsiteX1" fmla="*/ 16635 w 60779"/>
                <a:gd name="connsiteY1" fmla="*/ 1226 h 27899"/>
                <a:gd name="connsiteX2" fmla="*/ 19804 w 60779"/>
                <a:gd name="connsiteY2" fmla="*/ 1586 h 27899"/>
                <a:gd name="connsiteX3" fmla="*/ 22540 w 60779"/>
                <a:gd name="connsiteY3" fmla="*/ 1081 h 27899"/>
                <a:gd name="connsiteX4" fmla="*/ 26213 w 60779"/>
                <a:gd name="connsiteY4" fmla="*/ 721 h 27899"/>
                <a:gd name="connsiteX5" fmla="*/ 31974 w 60779"/>
                <a:gd name="connsiteY5" fmla="*/ 1153 h 27899"/>
                <a:gd name="connsiteX6" fmla="*/ 40256 w 60779"/>
                <a:gd name="connsiteY6" fmla="*/ 1298 h 27899"/>
                <a:gd name="connsiteX7" fmla="*/ 48609 w 60779"/>
                <a:gd name="connsiteY7" fmla="*/ 865 h 27899"/>
                <a:gd name="connsiteX8" fmla="*/ 51490 w 60779"/>
                <a:gd name="connsiteY8" fmla="*/ 793 h 27899"/>
                <a:gd name="connsiteX9" fmla="*/ 53938 w 60779"/>
                <a:gd name="connsiteY9" fmla="*/ 1802 h 27899"/>
                <a:gd name="connsiteX10" fmla="*/ 58259 w 60779"/>
                <a:gd name="connsiteY10" fmla="*/ 5407 h 27899"/>
                <a:gd name="connsiteX11" fmla="*/ 59699 w 60779"/>
                <a:gd name="connsiteY11" fmla="*/ 7209 h 27899"/>
                <a:gd name="connsiteX12" fmla="*/ 60563 w 60779"/>
                <a:gd name="connsiteY12" fmla="*/ 9300 h 27899"/>
                <a:gd name="connsiteX13" fmla="*/ 60779 w 60779"/>
                <a:gd name="connsiteY13" fmla="*/ 11607 h 27899"/>
                <a:gd name="connsiteX14" fmla="*/ 60203 w 60779"/>
                <a:gd name="connsiteY14" fmla="*/ 13914 h 27899"/>
                <a:gd name="connsiteX15" fmla="*/ 57683 w 60779"/>
                <a:gd name="connsiteY15" fmla="*/ 20979 h 27899"/>
                <a:gd name="connsiteX16" fmla="*/ 56243 w 60779"/>
                <a:gd name="connsiteY16" fmla="*/ 24079 h 27899"/>
                <a:gd name="connsiteX17" fmla="*/ 54154 w 60779"/>
                <a:gd name="connsiteY17" fmla="*/ 26602 h 27899"/>
                <a:gd name="connsiteX18" fmla="*/ 52930 w 60779"/>
                <a:gd name="connsiteY18" fmla="*/ 27179 h 27899"/>
                <a:gd name="connsiteX19" fmla="*/ 51490 w 60779"/>
                <a:gd name="connsiteY19" fmla="*/ 27251 h 27899"/>
                <a:gd name="connsiteX20" fmla="*/ 47961 w 60779"/>
                <a:gd name="connsiteY20" fmla="*/ 26602 h 27899"/>
                <a:gd name="connsiteX21" fmla="*/ 44288 w 60779"/>
                <a:gd name="connsiteY21" fmla="*/ 25593 h 27899"/>
                <a:gd name="connsiteX22" fmla="*/ 41120 w 60779"/>
                <a:gd name="connsiteY22" fmla="*/ 25160 h 27899"/>
                <a:gd name="connsiteX23" fmla="*/ 38815 w 60779"/>
                <a:gd name="connsiteY23" fmla="*/ 25737 h 27899"/>
                <a:gd name="connsiteX24" fmla="*/ 36799 w 60779"/>
                <a:gd name="connsiteY24" fmla="*/ 26746 h 27899"/>
                <a:gd name="connsiteX25" fmla="*/ 34711 w 60779"/>
                <a:gd name="connsiteY25" fmla="*/ 27612 h 27899"/>
                <a:gd name="connsiteX26" fmla="*/ 32334 w 60779"/>
                <a:gd name="connsiteY26" fmla="*/ 27900 h 27899"/>
                <a:gd name="connsiteX27" fmla="*/ 25565 w 60779"/>
                <a:gd name="connsiteY27" fmla="*/ 26098 h 27899"/>
                <a:gd name="connsiteX28" fmla="*/ 21748 w 60779"/>
                <a:gd name="connsiteY28" fmla="*/ 25593 h 27899"/>
                <a:gd name="connsiteX29" fmla="*/ 17355 w 60779"/>
                <a:gd name="connsiteY29" fmla="*/ 26314 h 27899"/>
                <a:gd name="connsiteX30" fmla="*/ 16203 w 60779"/>
                <a:gd name="connsiteY30" fmla="*/ 26458 h 27899"/>
                <a:gd name="connsiteX31" fmla="*/ 15123 w 60779"/>
                <a:gd name="connsiteY31" fmla="*/ 25953 h 27899"/>
                <a:gd name="connsiteX32" fmla="*/ 13971 w 60779"/>
                <a:gd name="connsiteY32" fmla="*/ 25377 h 27899"/>
                <a:gd name="connsiteX33" fmla="*/ 12746 w 60779"/>
                <a:gd name="connsiteY33" fmla="*/ 25088 h 27899"/>
                <a:gd name="connsiteX34" fmla="*/ 10082 w 60779"/>
                <a:gd name="connsiteY34" fmla="*/ 25016 h 27899"/>
                <a:gd name="connsiteX35" fmla="*/ 9074 w 60779"/>
                <a:gd name="connsiteY35" fmla="*/ 24656 h 27899"/>
                <a:gd name="connsiteX36" fmla="*/ 8570 w 60779"/>
                <a:gd name="connsiteY36" fmla="*/ 24079 h 27899"/>
                <a:gd name="connsiteX37" fmla="*/ 5329 w 60779"/>
                <a:gd name="connsiteY37" fmla="*/ 19105 h 27899"/>
                <a:gd name="connsiteX38" fmla="*/ 1872 w 60779"/>
                <a:gd name="connsiteY38" fmla="*/ 14995 h 27899"/>
                <a:gd name="connsiteX39" fmla="*/ 432 w 60779"/>
                <a:gd name="connsiteY39" fmla="*/ 13121 h 27899"/>
                <a:gd name="connsiteX40" fmla="*/ 0 w 60779"/>
                <a:gd name="connsiteY40" fmla="*/ 10958 h 27899"/>
                <a:gd name="connsiteX41" fmla="*/ 792 w 60779"/>
                <a:gd name="connsiteY41" fmla="*/ 8363 h 27899"/>
                <a:gd name="connsiteX42" fmla="*/ 2664 w 60779"/>
                <a:gd name="connsiteY42" fmla="*/ 5623 h 27899"/>
                <a:gd name="connsiteX43" fmla="*/ 7129 w 60779"/>
                <a:gd name="connsiteY43" fmla="*/ 0 h 27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0779" h="27899">
                  <a:moveTo>
                    <a:pt x="7129" y="0"/>
                  </a:moveTo>
                  <a:lnTo>
                    <a:pt x="16635" y="1226"/>
                  </a:lnTo>
                  <a:lnTo>
                    <a:pt x="19804" y="1586"/>
                  </a:lnTo>
                  <a:lnTo>
                    <a:pt x="22540" y="1081"/>
                  </a:lnTo>
                  <a:lnTo>
                    <a:pt x="26213" y="721"/>
                  </a:lnTo>
                  <a:lnTo>
                    <a:pt x="31974" y="1153"/>
                  </a:lnTo>
                  <a:lnTo>
                    <a:pt x="40256" y="1298"/>
                  </a:lnTo>
                  <a:lnTo>
                    <a:pt x="48609" y="865"/>
                  </a:lnTo>
                  <a:lnTo>
                    <a:pt x="51490" y="793"/>
                  </a:lnTo>
                  <a:lnTo>
                    <a:pt x="53938" y="1802"/>
                  </a:lnTo>
                  <a:lnTo>
                    <a:pt x="58259" y="5407"/>
                  </a:lnTo>
                  <a:lnTo>
                    <a:pt x="59699" y="7209"/>
                  </a:lnTo>
                  <a:lnTo>
                    <a:pt x="60563" y="9300"/>
                  </a:lnTo>
                  <a:lnTo>
                    <a:pt x="60779" y="11607"/>
                  </a:lnTo>
                  <a:lnTo>
                    <a:pt x="60203" y="13914"/>
                  </a:lnTo>
                  <a:lnTo>
                    <a:pt x="57683" y="20979"/>
                  </a:lnTo>
                  <a:lnTo>
                    <a:pt x="56243" y="24079"/>
                  </a:lnTo>
                  <a:lnTo>
                    <a:pt x="54154" y="26602"/>
                  </a:lnTo>
                  <a:lnTo>
                    <a:pt x="52930" y="27179"/>
                  </a:lnTo>
                  <a:lnTo>
                    <a:pt x="51490" y="27251"/>
                  </a:lnTo>
                  <a:lnTo>
                    <a:pt x="47961" y="26602"/>
                  </a:lnTo>
                  <a:lnTo>
                    <a:pt x="44288" y="25593"/>
                  </a:lnTo>
                  <a:lnTo>
                    <a:pt x="41120" y="25160"/>
                  </a:lnTo>
                  <a:lnTo>
                    <a:pt x="38815" y="25737"/>
                  </a:lnTo>
                  <a:lnTo>
                    <a:pt x="36799" y="26746"/>
                  </a:lnTo>
                  <a:lnTo>
                    <a:pt x="34711" y="27612"/>
                  </a:lnTo>
                  <a:lnTo>
                    <a:pt x="32334" y="27900"/>
                  </a:lnTo>
                  <a:lnTo>
                    <a:pt x="25565" y="26098"/>
                  </a:lnTo>
                  <a:lnTo>
                    <a:pt x="21748" y="25593"/>
                  </a:lnTo>
                  <a:lnTo>
                    <a:pt x="17355" y="26314"/>
                  </a:lnTo>
                  <a:lnTo>
                    <a:pt x="16203" y="26458"/>
                  </a:lnTo>
                  <a:lnTo>
                    <a:pt x="15123" y="25953"/>
                  </a:lnTo>
                  <a:lnTo>
                    <a:pt x="13971" y="25377"/>
                  </a:lnTo>
                  <a:lnTo>
                    <a:pt x="12746" y="25088"/>
                  </a:lnTo>
                  <a:lnTo>
                    <a:pt x="10082" y="25016"/>
                  </a:lnTo>
                  <a:lnTo>
                    <a:pt x="9074" y="24656"/>
                  </a:lnTo>
                  <a:lnTo>
                    <a:pt x="8570" y="24079"/>
                  </a:lnTo>
                  <a:lnTo>
                    <a:pt x="5329" y="19105"/>
                  </a:lnTo>
                  <a:lnTo>
                    <a:pt x="1872" y="14995"/>
                  </a:lnTo>
                  <a:lnTo>
                    <a:pt x="432" y="13121"/>
                  </a:lnTo>
                  <a:lnTo>
                    <a:pt x="0" y="10958"/>
                  </a:lnTo>
                  <a:lnTo>
                    <a:pt x="792" y="8363"/>
                  </a:lnTo>
                  <a:lnTo>
                    <a:pt x="2664" y="5623"/>
                  </a:lnTo>
                  <a:lnTo>
                    <a:pt x="7129" y="0"/>
                  </a:lnTo>
                </a:path>
              </a:pathLst>
            </a:custGeom>
            <a:solidFill>
              <a:srgbClr val="A9218E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997B05EB-A658-5462-F1EF-06501AFB71A9}"/>
                </a:ext>
              </a:extLst>
            </p:cNvPr>
            <p:cNvSpPr/>
            <p:nvPr/>
          </p:nvSpPr>
          <p:spPr>
            <a:xfrm>
              <a:off x="9664305" y="3546780"/>
              <a:ext cx="69565" cy="39506"/>
            </a:xfrm>
            <a:custGeom>
              <a:avLst/>
              <a:gdLst>
                <a:gd name="connsiteX0" fmla="*/ 22180 w 69565"/>
                <a:gd name="connsiteY0" fmla="*/ 216 h 39506"/>
                <a:gd name="connsiteX1" fmla="*/ 25709 w 69565"/>
                <a:gd name="connsiteY1" fmla="*/ 0 h 39506"/>
                <a:gd name="connsiteX2" fmla="*/ 29238 w 69565"/>
                <a:gd name="connsiteY2" fmla="*/ 360 h 39506"/>
                <a:gd name="connsiteX3" fmla="*/ 49545 w 69565"/>
                <a:gd name="connsiteY3" fmla="*/ 2379 h 39506"/>
                <a:gd name="connsiteX4" fmla="*/ 55234 w 69565"/>
                <a:gd name="connsiteY4" fmla="*/ 3244 h 39506"/>
                <a:gd name="connsiteX5" fmla="*/ 60635 w 69565"/>
                <a:gd name="connsiteY5" fmla="*/ 4758 h 39506"/>
                <a:gd name="connsiteX6" fmla="*/ 63084 w 69565"/>
                <a:gd name="connsiteY6" fmla="*/ 6272 h 39506"/>
                <a:gd name="connsiteX7" fmla="*/ 65244 w 69565"/>
                <a:gd name="connsiteY7" fmla="*/ 8435 h 39506"/>
                <a:gd name="connsiteX8" fmla="*/ 67045 w 69565"/>
                <a:gd name="connsiteY8" fmla="*/ 11679 h 39506"/>
                <a:gd name="connsiteX9" fmla="*/ 68485 w 69565"/>
                <a:gd name="connsiteY9" fmla="*/ 16005 h 39506"/>
                <a:gd name="connsiteX10" fmla="*/ 69565 w 69565"/>
                <a:gd name="connsiteY10" fmla="*/ 23358 h 39506"/>
                <a:gd name="connsiteX11" fmla="*/ 69205 w 69565"/>
                <a:gd name="connsiteY11" fmla="*/ 27035 h 39506"/>
                <a:gd name="connsiteX12" fmla="*/ 67837 w 69565"/>
                <a:gd name="connsiteY12" fmla="*/ 30423 h 39506"/>
                <a:gd name="connsiteX13" fmla="*/ 65964 w 69565"/>
                <a:gd name="connsiteY13" fmla="*/ 32586 h 39506"/>
                <a:gd name="connsiteX14" fmla="*/ 63516 w 69565"/>
                <a:gd name="connsiteY14" fmla="*/ 34460 h 39506"/>
                <a:gd name="connsiteX15" fmla="*/ 56963 w 69565"/>
                <a:gd name="connsiteY15" fmla="*/ 37272 h 39506"/>
                <a:gd name="connsiteX16" fmla="*/ 39751 w 69565"/>
                <a:gd name="connsiteY16" fmla="*/ 39507 h 39506"/>
                <a:gd name="connsiteX17" fmla="*/ 34278 w 69565"/>
                <a:gd name="connsiteY17" fmla="*/ 38786 h 39506"/>
                <a:gd name="connsiteX18" fmla="*/ 29021 w 69565"/>
                <a:gd name="connsiteY18" fmla="*/ 37272 h 39506"/>
                <a:gd name="connsiteX19" fmla="*/ 23764 w 69565"/>
                <a:gd name="connsiteY19" fmla="*/ 35830 h 39506"/>
                <a:gd name="connsiteX20" fmla="*/ 18652 w 69565"/>
                <a:gd name="connsiteY20" fmla="*/ 35253 h 39506"/>
                <a:gd name="connsiteX21" fmla="*/ 11450 w 69565"/>
                <a:gd name="connsiteY21" fmla="*/ 34388 h 39506"/>
                <a:gd name="connsiteX22" fmla="*/ 6049 w 69565"/>
                <a:gd name="connsiteY22" fmla="*/ 31721 h 39506"/>
                <a:gd name="connsiteX23" fmla="*/ 2448 w 69565"/>
                <a:gd name="connsiteY23" fmla="*/ 27900 h 39506"/>
                <a:gd name="connsiteX24" fmla="*/ 504 w 69565"/>
                <a:gd name="connsiteY24" fmla="*/ 23574 h 39506"/>
                <a:gd name="connsiteX25" fmla="*/ 0 w 69565"/>
                <a:gd name="connsiteY25" fmla="*/ 18816 h 39506"/>
                <a:gd name="connsiteX26" fmla="*/ 1152 w 69565"/>
                <a:gd name="connsiteY26" fmla="*/ 14707 h 39506"/>
                <a:gd name="connsiteX27" fmla="*/ 3529 w 69565"/>
                <a:gd name="connsiteY27" fmla="*/ 11246 h 39506"/>
                <a:gd name="connsiteX28" fmla="*/ 6625 w 69565"/>
                <a:gd name="connsiteY28" fmla="*/ 8507 h 39506"/>
                <a:gd name="connsiteX29" fmla="*/ 13395 w 69565"/>
                <a:gd name="connsiteY29" fmla="*/ 4758 h 39506"/>
                <a:gd name="connsiteX30" fmla="*/ 18003 w 69565"/>
                <a:gd name="connsiteY30" fmla="*/ 3100 h 39506"/>
                <a:gd name="connsiteX31" fmla="*/ 19156 w 69565"/>
                <a:gd name="connsiteY31" fmla="*/ 2523 h 39506"/>
                <a:gd name="connsiteX32" fmla="*/ 19948 w 69565"/>
                <a:gd name="connsiteY32" fmla="*/ 1730 h 39506"/>
                <a:gd name="connsiteX33" fmla="*/ 20812 w 69565"/>
                <a:gd name="connsiteY33" fmla="*/ 865 h 39506"/>
                <a:gd name="connsiteX34" fmla="*/ 22180 w 69565"/>
                <a:gd name="connsiteY34" fmla="*/ 216 h 3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9565" h="39506">
                  <a:moveTo>
                    <a:pt x="22180" y="216"/>
                  </a:moveTo>
                  <a:lnTo>
                    <a:pt x="25709" y="0"/>
                  </a:lnTo>
                  <a:lnTo>
                    <a:pt x="29238" y="360"/>
                  </a:lnTo>
                  <a:lnTo>
                    <a:pt x="49545" y="2379"/>
                  </a:lnTo>
                  <a:lnTo>
                    <a:pt x="55234" y="3244"/>
                  </a:lnTo>
                  <a:lnTo>
                    <a:pt x="60635" y="4758"/>
                  </a:lnTo>
                  <a:lnTo>
                    <a:pt x="63084" y="6272"/>
                  </a:lnTo>
                  <a:lnTo>
                    <a:pt x="65244" y="8435"/>
                  </a:lnTo>
                  <a:lnTo>
                    <a:pt x="67045" y="11679"/>
                  </a:lnTo>
                  <a:lnTo>
                    <a:pt x="68485" y="16005"/>
                  </a:lnTo>
                  <a:lnTo>
                    <a:pt x="69565" y="23358"/>
                  </a:lnTo>
                  <a:lnTo>
                    <a:pt x="69205" y="27035"/>
                  </a:lnTo>
                  <a:lnTo>
                    <a:pt x="67837" y="30423"/>
                  </a:lnTo>
                  <a:lnTo>
                    <a:pt x="65964" y="32586"/>
                  </a:lnTo>
                  <a:lnTo>
                    <a:pt x="63516" y="34460"/>
                  </a:lnTo>
                  <a:lnTo>
                    <a:pt x="56963" y="37272"/>
                  </a:lnTo>
                  <a:lnTo>
                    <a:pt x="39751" y="39507"/>
                  </a:lnTo>
                  <a:lnTo>
                    <a:pt x="34278" y="38786"/>
                  </a:lnTo>
                  <a:lnTo>
                    <a:pt x="29021" y="37272"/>
                  </a:lnTo>
                  <a:lnTo>
                    <a:pt x="23764" y="35830"/>
                  </a:lnTo>
                  <a:lnTo>
                    <a:pt x="18652" y="35253"/>
                  </a:lnTo>
                  <a:lnTo>
                    <a:pt x="11450" y="34388"/>
                  </a:lnTo>
                  <a:lnTo>
                    <a:pt x="6049" y="31721"/>
                  </a:lnTo>
                  <a:lnTo>
                    <a:pt x="2448" y="27900"/>
                  </a:lnTo>
                  <a:lnTo>
                    <a:pt x="504" y="23574"/>
                  </a:lnTo>
                  <a:lnTo>
                    <a:pt x="0" y="18816"/>
                  </a:lnTo>
                  <a:lnTo>
                    <a:pt x="1152" y="14707"/>
                  </a:lnTo>
                  <a:lnTo>
                    <a:pt x="3529" y="11246"/>
                  </a:lnTo>
                  <a:lnTo>
                    <a:pt x="6625" y="8507"/>
                  </a:lnTo>
                  <a:lnTo>
                    <a:pt x="13395" y="4758"/>
                  </a:lnTo>
                  <a:lnTo>
                    <a:pt x="18003" y="3100"/>
                  </a:lnTo>
                  <a:lnTo>
                    <a:pt x="19156" y="2523"/>
                  </a:lnTo>
                  <a:lnTo>
                    <a:pt x="19948" y="1730"/>
                  </a:lnTo>
                  <a:lnTo>
                    <a:pt x="20812" y="865"/>
                  </a:lnTo>
                  <a:lnTo>
                    <a:pt x="22180" y="216"/>
                  </a:lnTo>
                </a:path>
              </a:pathLst>
            </a:custGeom>
            <a:solidFill>
              <a:srgbClr val="353D98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8996177B-900B-7A9A-078C-0088C021B0F5}"/>
                </a:ext>
              </a:extLst>
            </p:cNvPr>
            <p:cNvSpPr/>
            <p:nvPr/>
          </p:nvSpPr>
          <p:spPr>
            <a:xfrm>
              <a:off x="9669201" y="3603950"/>
              <a:ext cx="58186" cy="38137"/>
            </a:xfrm>
            <a:custGeom>
              <a:avLst/>
              <a:gdLst>
                <a:gd name="connsiteX0" fmla="*/ 32838 w 58186"/>
                <a:gd name="connsiteY0" fmla="*/ 0 h 38137"/>
                <a:gd name="connsiteX1" fmla="*/ 39463 w 58186"/>
                <a:gd name="connsiteY1" fmla="*/ 577 h 38137"/>
                <a:gd name="connsiteX2" fmla="*/ 46377 w 58186"/>
                <a:gd name="connsiteY2" fmla="*/ 3100 h 38137"/>
                <a:gd name="connsiteX3" fmla="*/ 48393 w 58186"/>
                <a:gd name="connsiteY3" fmla="*/ 5046 h 38137"/>
                <a:gd name="connsiteX4" fmla="*/ 50049 w 58186"/>
                <a:gd name="connsiteY4" fmla="*/ 6560 h 38137"/>
                <a:gd name="connsiteX5" fmla="*/ 53506 w 58186"/>
                <a:gd name="connsiteY5" fmla="*/ 7281 h 38137"/>
                <a:gd name="connsiteX6" fmla="*/ 55162 w 58186"/>
                <a:gd name="connsiteY6" fmla="*/ 7786 h 38137"/>
                <a:gd name="connsiteX7" fmla="*/ 56243 w 58186"/>
                <a:gd name="connsiteY7" fmla="*/ 8723 h 38137"/>
                <a:gd name="connsiteX8" fmla="*/ 58043 w 58186"/>
                <a:gd name="connsiteY8" fmla="*/ 16653 h 38137"/>
                <a:gd name="connsiteX9" fmla="*/ 58187 w 58186"/>
                <a:gd name="connsiteY9" fmla="*/ 21700 h 38137"/>
                <a:gd name="connsiteX10" fmla="*/ 57395 w 58186"/>
                <a:gd name="connsiteY10" fmla="*/ 25881 h 38137"/>
                <a:gd name="connsiteX11" fmla="*/ 55882 w 58186"/>
                <a:gd name="connsiteY11" fmla="*/ 28477 h 38137"/>
                <a:gd name="connsiteX12" fmla="*/ 53722 w 58186"/>
                <a:gd name="connsiteY12" fmla="*/ 30784 h 38137"/>
                <a:gd name="connsiteX13" fmla="*/ 48033 w 58186"/>
                <a:gd name="connsiteY13" fmla="*/ 34388 h 38137"/>
                <a:gd name="connsiteX14" fmla="*/ 40904 w 58186"/>
                <a:gd name="connsiteY14" fmla="*/ 36767 h 38137"/>
                <a:gd name="connsiteX15" fmla="*/ 32910 w 58186"/>
                <a:gd name="connsiteY15" fmla="*/ 37993 h 38137"/>
                <a:gd name="connsiteX16" fmla="*/ 24701 w 58186"/>
                <a:gd name="connsiteY16" fmla="*/ 38137 h 38137"/>
                <a:gd name="connsiteX17" fmla="*/ 16851 w 58186"/>
                <a:gd name="connsiteY17" fmla="*/ 37200 h 38137"/>
                <a:gd name="connsiteX18" fmla="*/ 9938 w 58186"/>
                <a:gd name="connsiteY18" fmla="*/ 35398 h 38137"/>
                <a:gd name="connsiteX19" fmla="*/ 4681 w 58186"/>
                <a:gd name="connsiteY19" fmla="*/ 32730 h 38137"/>
                <a:gd name="connsiteX20" fmla="*/ 3025 w 58186"/>
                <a:gd name="connsiteY20" fmla="*/ 31144 h 38137"/>
                <a:gd name="connsiteX21" fmla="*/ 1872 w 58186"/>
                <a:gd name="connsiteY21" fmla="*/ 29270 h 38137"/>
                <a:gd name="connsiteX22" fmla="*/ 432 w 58186"/>
                <a:gd name="connsiteY22" fmla="*/ 25016 h 38137"/>
                <a:gd name="connsiteX23" fmla="*/ 0 w 58186"/>
                <a:gd name="connsiteY23" fmla="*/ 20330 h 38137"/>
                <a:gd name="connsiteX24" fmla="*/ 936 w 58186"/>
                <a:gd name="connsiteY24" fmla="*/ 16221 h 38137"/>
                <a:gd name="connsiteX25" fmla="*/ 3097 w 58186"/>
                <a:gd name="connsiteY25" fmla="*/ 12688 h 38137"/>
                <a:gd name="connsiteX26" fmla="*/ 5977 w 58186"/>
                <a:gd name="connsiteY26" fmla="*/ 9733 h 38137"/>
                <a:gd name="connsiteX27" fmla="*/ 13106 w 58186"/>
                <a:gd name="connsiteY27" fmla="*/ 5623 h 38137"/>
                <a:gd name="connsiteX28" fmla="*/ 19732 w 58186"/>
                <a:gd name="connsiteY28" fmla="*/ 3821 h 38137"/>
                <a:gd name="connsiteX29" fmla="*/ 26429 w 58186"/>
                <a:gd name="connsiteY29" fmla="*/ 1802 h 38137"/>
                <a:gd name="connsiteX30" fmla="*/ 32838 w 58186"/>
                <a:gd name="connsiteY30" fmla="*/ 0 h 3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8186" h="38137">
                  <a:moveTo>
                    <a:pt x="32838" y="0"/>
                  </a:moveTo>
                  <a:lnTo>
                    <a:pt x="39463" y="577"/>
                  </a:lnTo>
                  <a:lnTo>
                    <a:pt x="46377" y="3100"/>
                  </a:lnTo>
                  <a:lnTo>
                    <a:pt x="48393" y="5046"/>
                  </a:lnTo>
                  <a:lnTo>
                    <a:pt x="50049" y="6560"/>
                  </a:lnTo>
                  <a:lnTo>
                    <a:pt x="53506" y="7281"/>
                  </a:lnTo>
                  <a:lnTo>
                    <a:pt x="55162" y="7786"/>
                  </a:lnTo>
                  <a:lnTo>
                    <a:pt x="56243" y="8723"/>
                  </a:lnTo>
                  <a:lnTo>
                    <a:pt x="58043" y="16653"/>
                  </a:lnTo>
                  <a:lnTo>
                    <a:pt x="58187" y="21700"/>
                  </a:lnTo>
                  <a:lnTo>
                    <a:pt x="57395" y="25881"/>
                  </a:lnTo>
                  <a:lnTo>
                    <a:pt x="55882" y="28477"/>
                  </a:lnTo>
                  <a:lnTo>
                    <a:pt x="53722" y="30784"/>
                  </a:lnTo>
                  <a:lnTo>
                    <a:pt x="48033" y="34388"/>
                  </a:lnTo>
                  <a:lnTo>
                    <a:pt x="40904" y="36767"/>
                  </a:lnTo>
                  <a:lnTo>
                    <a:pt x="32910" y="37993"/>
                  </a:lnTo>
                  <a:lnTo>
                    <a:pt x="24701" y="38137"/>
                  </a:lnTo>
                  <a:lnTo>
                    <a:pt x="16851" y="37200"/>
                  </a:lnTo>
                  <a:lnTo>
                    <a:pt x="9938" y="35398"/>
                  </a:lnTo>
                  <a:lnTo>
                    <a:pt x="4681" y="32730"/>
                  </a:lnTo>
                  <a:lnTo>
                    <a:pt x="3025" y="31144"/>
                  </a:lnTo>
                  <a:lnTo>
                    <a:pt x="1872" y="29270"/>
                  </a:lnTo>
                  <a:lnTo>
                    <a:pt x="432" y="25016"/>
                  </a:lnTo>
                  <a:lnTo>
                    <a:pt x="0" y="20330"/>
                  </a:lnTo>
                  <a:lnTo>
                    <a:pt x="936" y="16221"/>
                  </a:lnTo>
                  <a:lnTo>
                    <a:pt x="3097" y="12688"/>
                  </a:lnTo>
                  <a:lnTo>
                    <a:pt x="5977" y="9733"/>
                  </a:lnTo>
                  <a:lnTo>
                    <a:pt x="13106" y="5623"/>
                  </a:lnTo>
                  <a:lnTo>
                    <a:pt x="19732" y="3821"/>
                  </a:lnTo>
                  <a:lnTo>
                    <a:pt x="26429" y="1802"/>
                  </a:lnTo>
                  <a:lnTo>
                    <a:pt x="32838" y="0"/>
                  </a:lnTo>
                </a:path>
              </a:pathLst>
            </a:custGeom>
            <a:solidFill>
              <a:srgbClr val="002E56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116526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A - Resear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623BE30-8F3F-F28F-C729-FDD1FBDC0E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1F652C48-EDE8-5844-AFE0-7DC50B298A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4917" y="938051"/>
            <a:ext cx="6653612" cy="2617111"/>
          </a:xfrm>
        </p:spPr>
        <p:txBody>
          <a:bodyPr lIns="0" tIns="0" rIns="0" bIns="0" anchor="b">
            <a:noAutofit/>
          </a:bodyPr>
          <a:lstStyle>
            <a:lvl1pPr>
              <a:defRPr sz="5000">
                <a:solidFill>
                  <a:schemeClr val="tx2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(Arial 50pt)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DE42666-D523-AA48-AE88-2AFDEB209C7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434917" y="3795210"/>
            <a:ext cx="6653612" cy="1248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(Arial 18pt)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xmlns="" id="{3FA88446-B12D-A83C-A430-B88E76DBD8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1013" y="1218227"/>
            <a:ext cx="1611313" cy="1329595"/>
          </a:xfrm>
        </p:spPr>
        <p:txBody>
          <a:bodyPr anchor="ctr">
            <a:noAutofit/>
          </a:bodyPr>
          <a:lstStyle>
            <a:lvl1pPr marL="0" indent="0">
              <a:buNone/>
              <a:defRPr sz="96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96D49279-BCC5-6E5D-6968-73DBC216ECF5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7" name="Picture 7">
              <a:extLst>
                <a:ext uri="{FF2B5EF4-FFF2-40B4-BE49-F238E27FC236}">
                  <a16:creationId xmlns:a16="http://schemas.microsoft.com/office/drawing/2014/main" xmlns="" id="{CFA6B21E-189A-C5F3-64BB-08DE52943497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8690DC81-441B-EB1A-29A9-1DF6453AC494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xmlns="" id="{FCA16493-4313-1665-0F1D-10639F56EACD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8ADDC8AC-A5CD-5F40-E84C-DA66DBB7D28D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85B37E87-ECE7-D2D6-6031-683B93310E89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B516261B-320C-69F4-BB76-0ADE7061AAE6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3215F8DC-F0E3-CA16-8CCD-61D1C87315A3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EC85930D-2A69-F35E-6DBC-B0BC0ABA9521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F22C4CE6-679B-2B65-4EE5-C7261FD26DF5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7AAC448C-3B6D-999D-8F4E-0DFC39FEFEDD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2293599C-9218-882F-B6A3-15B63C7E3C62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A6222559-936E-8060-6DE4-22CE6D4E79BE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1664F759-43C7-6F80-9B84-6338ABAA4683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8FC09271-4E13-26F2-FD51-76130835B8C9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xmlns="" id="{6754B9A9-4276-067C-D5FA-202824D5140A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xmlns="" id="{6992BF83-B86F-0330-7827-0A6BFF0CEA65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4437006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79E38BC-1315-EA4A-9C05-F745E7958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456" y="459044"/>
            <a:ext cx="10875818" cy="1005840"/>
          </a:xfrm>
        </p:spPr>
        <p:txBody>
          <a:bodyPr>
            <a:noAutofit/>
          </a:bodyPr>
          <a:lstStyle>
            <a:lvl1pPr>
              <a:defRPr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7BF870D-4561-6946-AECE-304BE60EA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456" y="2061883"/>
            <a:ext cx="10875818" cy="402007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xmlns="" id="{26C77CD8-EB7A-1BCF-B9BE-8242EFA6FC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456" y="1508760"/>
            <a:ext cx="10872216" cy="313932"/>
          </a:xfrm>
        </p:spPr>
        <p:txBody>
          <a:bodyPr lIns="91440" tIns="45720" rIns="91440" bIns="45720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Bold 16pt)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xmlns="" id="{51AEA81B-F245-C396-660A-D5CACA180CCF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9669816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xmlns="" id="{8306019C-5539-2A51-4CC8-3A7F9C609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456" y="459044"/>
            <a:ext cx="10875818" cy="1005840"/>
          </a:xfrm>
        </p:spPr>
        <p:txBody>
          <a:bodyPr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gradFill flip="none" rotWithShape="1">
                  <a:gsLst>
                    <a:gs pos="100000">
                      <a:schemeClr val="accent5"/>
                    </a:gs>
                    <a:gs pos="0">
                      <a:schemeClr val="accent1"/>
                    </a:gs>
                  </a:gsLst>
                  <a:lin ang="10800000" scaled="1"/>
                  <a:tileRect/>
                </a:gra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18E6FA75-AFFB-E2A6-D951-16C14E3C46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456" y="2061883"/>
            <a:ext cx="5181601" cy="402007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7F0BA483-841A-AD1E-89F6-BA7D225B4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456" y="1508760"/>
            <a:ext cx="10872216" cy="313932"/>
          </a:xfrm>
        </p:spPr>
        <p:txBody>
          <a:bodyPr lIns="91440" tIns="45720" rIns="91440" bIns="45720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Bold 16pt)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5449A724-F820-4031-AE54-C7DE0A0E39E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17673" y="2061883"/>
            <a:ext cx="5181601" cy="402007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xmlns="" id="{3C276D6A-BD96-BD33-CF43-BFE0202B4989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660555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xmlns="" id="{8306019C-5539-2A51-4CC8-3A7F9C609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456" y="459044"/>
            <a:ext cx="10875818" cy="1005840"/>
          </a:xfrm>
        </p:spPr>
        <p:txBody>
          <a:bodyPr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gradFill flip="none" rotWithShape="1">
                  <a:gsLst>
                    <a:gs pos="100000">
                      <a:schemeClr val="accent5"/>
                    </a:gs>
                    <a:gs pos="0">
                      <a:schemeClr val="accent1"/>
                    </a:gs>
                  </a:gsLst>
                  <a:lin ang="10800000" scaled="1"/>
                  <a:tileRect/>
                </a:gra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18E6FA75-AFFB-E2A6-D951-16C14E3C46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456" y="2061882"/>
            <a:ext cx="3447805" cy="4020079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7F0BA483-841A-AD1E-89F6-BA7D225B4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456" y="1508760"/>
            <a:ext cx="10872216" cy="313932"/>
          </a:xfrm>
        </p:spPr>
        <p:txBody>
          <a:bodyPr lIns="91440" tIns="45720" rIns="91440" bIns="45720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Bold 16pt)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5449A724-F820-4031-AE54-C7DE0A0E39E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37463" y="2061882"/>
            <a:ext cx="3447804" cy="4020079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C462C91B-D41F-ABD9-59B2-A3A4ABB50EB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051470" y="2061882"/>
            <a:ext cx="3447804" cy="4020079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xmlns="" id="{8EABF6FD-DB8A-D499-5CAC-A58ADC72E1B1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518533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de Bar Layou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FCD36186-3D09-7C0A-4A50-56416DBA53B9}"/>
              </a:ext>
            </a:extLst>
          </p:cNvPr>
          <p:cNvSpPr/>
          <p:nvPr userDrawn="1"/>
        </p:nvSpPr>
        <p:spPr>
          <a:xfrm>
            <a:off x="0" y="0"/>
            <a:ext cx="42672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8306019C-5539-2A51-4CC8-3A7F9C609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456" y="459044"/>
            <a:ext cx="3299320" cy="100584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7F0BA483-841A-AD1E-89F6-BA7D225B4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456" y="1508760"/>
            <a:ext cx="3298227" cy="535531"/>
          </a:xfrm>
        </p:spPr>
        <p:txBody>
          <a:bodyPr lIns="91440" tIns="45720" rIns="91440" bIns="45720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  <a:br>
              <a:rPr lang="en-US"/>
            </a:br>
            <a:r>
              <a:rPr lang="en-US"/>
              <a:t>(Arial Bold 16pt)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5449A724-F820-4031-AE54-C7DE0A0E39E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890656" y="459045"/>
            <a:ext cx="6608617" cy="5622916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xmlns="" id="{09A56F94-C5D2-F9DA-86AA-79E8ECCB5F98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bg1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bg1"/>
              </a:solidFill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71C65AF5-FE53-C721-BC49-93FA82EBE4C9}"/>
              </a:ext>
            </a:extLst>
          </p:cNvPr>
          <p:cNvSpPr/>
          <p:nvPr userDrawn="1"/>
        </p:nvSpPr>
        <p:spPr>
          <a:xfrm flipH="1">
            <a:off x="0" y="6660589"/>
            <a:ext cx="12192000" cy="19741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5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5F661254-AD74-8F66-BC99-8C1B6DDD5260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6" name="Picture 7">
              <a:extLst>
                <a:ext uri="{FF2B5EF4-FFF2-40B4-BE49-F238E27FC236}">
                  <a16:creationId xmlns:a16="http://schemas.microsoft.com/office/drawing/2014/main" xmlns="" id="{36CFEDC4-9895-ED9C-71CE-03D6D4417F7D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5D036C25-780C-004D-F298-423625A95210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8D968543-31E5-7DDC-861C-0D238F54C8B9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xmlns="" id="{65BE6279-D850-DE64-40AD-A078FAF5E921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C6D46A0A-0317-792F-2F0A-DB8CAB0B0B17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xmlns="" id="{D16C4DF2-B522-92F7-9C02-8647C8CA9917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xmlns="" id="{71257941-B0CC-E9DC-FC0F-191F9CF694FF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xmlns="" id="{9AE762F9-CE36-1BC4-7CF4-3849230FA2DF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xmlns="" id="{142D9979-EF6F-6E92-0FD8-8662F17641D7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F16985CF-0DA9-4287-856F-E00CCE3E378E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89381285-6844-89A9-C769-E6D2130CCCBD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F6AE8893-1400-7A73-D566-A597AE87B355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448149CE-8CC3-9B04-1A5E-F01839069628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0F892471-9B8F-0C0F-3793-CE755493D338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xmlns="" id="{48B5B2EA-4B05-45D3-91EB-F570E264D573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B8A0051E-9B49-4160-7EB6-7FC71887445C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4663458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de Bar Layout -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lanet in space&#10;&#10;Description automatically generated with low confidence">
            <a:extLst>
              <a:ext uri="{FF2B5EF4-FFF2-40B4-BE49-F238E27FC236}">
                <a16:creationId xmlns:a16="http://schemas.microsoft.com/office/drawing/2014/main" xmlns="" id="{313ACBB8-4986-9398-81E2-C5A4BE27F5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636399" cy="6858001"/>
          </a:xfrm>
          <a:custGeom>
            <a:avLst/>
            <a:gdLst>
              <a:gd name="connsiteX0" fmla="*/ 0 w 5636399"/>
              <a:gd name="connsiteY0" fmla="*/ 0 h 6660590"/>
              <a:gd name="connsiteX1" fmla="*/ 5636399 w 5636399"/>
              <a:gd name="connsiteY1" fmla="*/ 0 h 6660590"/>
              <a:gd name="connsiteX2" fmla="*/ 5636399 w 5636399"/>
              <a:gd name="connsiteY2" fmla="*/ 6660590 h 6660590"/>
              <a:gd name="connsiteX3" fmla="*/ 0 w 5636399"/>
              <a:gd name="connsiteY3" fmla="*/ 6660590 h 6660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36399" h="6660590">
                <a:moveTo>
                  <a:pt x="0" y="0"/>
                </a:moveTo>
                <a:lnTo>
                  <a:pt x="5636399" y="0"/>
                </a:lnTo>
                <a:lnTo>
                  <a:pt x="5636399" y="6660590"/>
                </a:lnTo>
                <a:lnTo>
                  <a:pt x="0" y="6660590"/>
                </a:lnTo>
                <a:close/>
              </a:path>
            </a:pathLst>
          </a:cu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01A44FAD-6DFD-C07A-328C-35C4262ABD4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860" y="630708"/>
            <a:ext cx="5279590" cy="527959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xmlns="" id="{8306019C-5539-2A51-4CC8-3A7F9C609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3995" y="2544061"/>
            <a:ext cx="3299320" cy="1048494"/>
          </a:xfrm>
        </p:spPr>
        <p:txBody>
          <a:bodyPr>
            <a:noAutofit/>
          </a:bodyPr>
          <a:lstStyle>
            <a:lvl1pPr marL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x-none" sz="3200" kern="1200">
                <a:solidFill>
                  <a:schemeClr val="bg1"/>
                </a:soli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7F0BA483-841A-AD1E-89F6-BA7D225B4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4542" y="3756658"/>
            <a:ext cx="3298227" cy="535531"/>
          </a:xfrm>
        </p:spPr>
        <p:txBody>
          <a:bodyPr lIns="91440" tIns="45720" rIns="91440" bIns="45720">
            <a:sp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  <a:br>
              <a:rPr lang="en-US"/>
            </a:br>
            <a:r>
              <a:rPr lang="en-US"/>
              <a:t>(Arial Bold 16pt)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xmlns="" id="{8EABF6FD-DB8A-D499-5CAC-A58ADC72E1B1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5449A724-F820-4031-AE54-C7DE0A0E39E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407310" y="459045"/>
            <a:ext cx="6091963" cy="5622916"/>
          </a:xfrm>
        </p:spPr>
        <p:txBody>
          <a:bodyPr anchor="ctr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6F7E955-D7CF-12FB-6FA1-721A19115856}"/>
              </a:ext>
            </a:extLst>
          </p:cNvPr>
          <p:cNvSpPr/>
          <p:nvPr userDrawn="1"/>
        </p:nvSpPr>
        <p:spPr>
          <a:xfrm flipH="1">
            <a:off x="0" y="6660589"/>
            <a:ext cx="12192000" cy="19741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5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8FB1002D-E959-EE29-7502-34F21426584D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7" name="Picture 7">
              <a:extLst>
                <a:ext uri="{FF2B5EF4-FFF2-40B4-BE49-F238E27FC236}">
                  <a16:creationId xmlns:a16="http://schemas.microsoft.com/office/drawing/2014/main" xmlns="" id="{27FEC382-54E0-B491-960E-3C1A82B6A9A7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371C4FE3-6173-9009-E533-CFF74E444DDF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xmlns="" id="{C3341072-760D-C55B-4BAB-0F3638AF677C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51541B18-4941-1598-C09B-BD2681FFD516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xmlns="" id="{A528A07B-995B-77EC-B68A-61EE3AE490B4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xmlns="" id="{9917D631-F5DA-6266-6F1C-AC8D96914A36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xmlns="" id="{BBEE6B8B-BC2B-7291-0380-D75E33AABCD9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xmlns="" id="{985B2A5C-76DB-6075-0E5D-D5BDDFDBF4A8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xmlns="" id="{0ACD87AD-2DB9-35BA-7B4F-AC96159BE537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841046C9-9D1D-7940-C573-671BB1F4EF14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20707B82-0895-7204-3B76-B4573EC2E218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2A61A8FA-5A4B-4492-613C-6EE22CD7C5BE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1D8106BA-7EDE-96A8-D9CA-594A4804409A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xmlns="" id="{C8631A04-C48B-1750-77A9-4D8E891C428D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F2FFA268-2EC5-2FE1-BFFD-8B0AA6D6BADE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6D7F9930-3967-24E5-42D5-5DEB9E2016F3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930684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xmlns="" id="{9CB965F0-F27E-B7C6-301F-0BEDF7E8D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456" y="459044"/>
            <a:ext cx="10875818" cy="1005840"/>
          </a:xfr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gradFill flip="none" rotWithShape="1">
                  <a:gsLst>
                    <a:gs pos="100000">
                      <a:schemeClr val="accent5"/>
                    </a:gs>
                    <a:gs pos="0">
                      <a:schemeClr val="accent1"/>
                    </a:gs>
                  </a:gsLst>
                  <a:lin ang="10800000" scaled="1"/>
                  <a:tileRect/>
                </a:gra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xmlns="" id="{A42E1EFA-1FAB-F48E-516E-740B8F861F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456" y="1508760"/>
            <a:ext cx="10872216" cy="313932"/>
          </a:xfrm>
        </p:spPr>
        <p:txBody>
          <a:bodyPr lIns="91440" tIns="45720" rIns="91440" bIns="45720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Bold 16pt)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BA536150-988C-EFED-0E82-D6D58903CCB3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3397103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Br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79E38BC-1315-EA4A-9C05-F745E7958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456" y="459044"/>
            <a:ext cx="10875818" cy="1005840"/>
          </a:xfrm>
        </p:spPr>
        <p:txBody>
          <a:bodyPr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gradFill flip="none" rotWithShape="1">
                  <a:gsLst>
                    <a:gs pos="100000">
                      <a:schemeClr val="accent5"/>
                    </a:gs>
                    <a:gs pos="0">
                      <a:schemeClr val="accent1"/>
                    </a:gs>
                  </a:gsLst>
                  <a:lin ang="10800000" scaled="1"/>
                  <a:tileRect/>
                </a:gra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7BF870D-4561-6946-AECE-304BE60EA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456" y="2061883"/>
            <a:ext cx="10875818" cy="402007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xmlns="" id="{26C77CD8-EB7A-1BCF-B9BE-8242EFA6FC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456" y="1508760"/>
            <a:ext cx="10872216" cy="313932"/>
          </a:xfrm>
        </p:spPr>
        <p:txBody>
          <a:bodyPr lIns="91440" tIns="45720" rIns="91440" bIns="45720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Bold 16pt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F06AC3D-687B-B7E4-6622-1E3D33544FAC}"/>
              </a:ext>
            </a:extLst>
          </p:cNvPr>
          <p:cNvSpPr/>
          <p:nvPr userDrawn="1"/>
        </p:nvSpPr>
        <p:spPr>
          <a:xfrm>
            <a:off x="215660" y="6297283"/>
            <a:ext cx="407796" cy="2501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xmlns="" id="{3CB1669C-09EF-250E-71F4-A7FD4F1798F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1428" y="6081961"/>
            <a:ext cx="1698629" cy="418852"/>
          </a:xfrm>
        </p:spPr>
        <p:txBody>
          <a:bodyPr anchor="b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Brand logo</a:t>
            </a:r>
          </a:p>
        </p:txBody>
      </p:sp>
    </p:spTree>
    <p:extLst>
      <p:ext uri="{BB962C8B-B14F-4D97-AF65-F5344CB8AC3E}">
        <p14:creationId xmlns:p14="http://schemas.microsoft.com/office/powerpoint/2010/main" val="4024257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xmlns="" id="{DEA6FB04-DAE1-1995-B718-C0B7AEF5A7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0455" b="33135"/>
          <a:stretch>
            <a:fillRect/>
          </a:stretch>
        </p:blipFill>
        <p:spPr>
          <a:xfrm rot="20871425" flipV="1">
            <a:off x="10145111" y="-263104"/>
            <a:ext cx="2234674" cy="2509402"/>
          </a:xfrm>
          <a:custGeom>
            <a:avLst/>
            <a:gdLst>
              <a:gd name="connsiteX0" fmla="*/ 0 w 2234674"/>
              <a:gd name="connsiteY0" fmla="*/ 2509402 h 2509402"/>
              <a:gd name="connsiteX1" fmla="*/ 2234674 w 2234674"/>
              <a:gd name="connsiteY1" fmla="*/ 2028579 h 2509402"/>
              <a:gd name="connsiteX2" fmla="*/ 1798195 w 2234674"/>
              <a:gd name="connsiteY2" fmla="*/ 0 h 2509402"/>
              <a:gd name="connsiteX3" fmla="*/ 0 w 2234674"/>
              <a:gd name="connsiteY3" fmla="*/ 0 h 2509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674" h="2509402">
                <a:moveTo>
                  <a:pt x="0" y="2509402"/>
                </a:moveTo>
                <a:lnTo>
                  <a:pt x="2234674" y="2028579"/>
                </a:lnTo>
                <a:lnTo>
                  <a:pt x="1798195" y="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679E38BC-1315-EA4A-9C05-F745E7958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456" y="459044"/>
            <a:ext cx="9378960" cy="1005840"/>
          </a:xfrm>
        </p:spPr>
        <p:txBody>
          <a:bodyPr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gradFill flip="none" rotWithShape="1">
                  <a:gsLst>
                    <a:gs pos="100000">
                      <a:schemeClr val="accent5"/>
                    </a:gs>
                    <a:gs pos="0">
                      <a:schemeClr val="accent1"/>
                    </a:gs>
                  </a:gsLst>
                  <a:lin ang="10800000" scaled="1"/>
                  <a:tileRect/>
                </a:gra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xmlns="" id="{26C77CD8-EB7A-1BCF-B9BE-8242EFA6FC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456" y="1508760"/>
            <a:ext cx="9375854" cy="313932"/>
          </a:xfrm>
        </p:spPr>
        <p:txBody>
          <a:bodyPr lIns="91440" tIns="45720" rIns="91440" bIns="45720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Bold 16pt)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7FC39600-045A-15DD-7FF5-C117A9367B40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D10E7CC7-CDC8-E0E2-B703-868146152D31}"/>
              </a:ext>
            </a:extLst>
          </p:cNvPr>
          <p:cNvGrpSpPr/>
          <p:nvPr userDrawn="1"/>
        </p:nvGrpSpPr>
        <p:grpSpPr>
          <a:xfrm>
            <a:off x="10700593" y="581023"/>
            <a:ext cx="1321993" cy="193096"/>
            <a:chOff x="10700593" y="581023"/>
            <a:chExt cx="1321993" cy="193096"/>
          </a:xfrm>
        </p:grpSpPr>
        <p:grpSp>
          <p:nvGrpSpPr>
            <p:cNvPr id="5" name="Picture 11">
              <a:extLst>
                <a:ext uri="{FF2B5EF4-FFF2-40B4-BE49-F238E27FC236}">
                  <a16:creationId xmlns:a16="http://schemas.microsoft.com/office/drawing/2014/main" xmlns="" id="{A5AF32FE-458C-7E30-0B0E-99BFBFA21C73}"/>
                </a:ext>
              </a:extLst>
            </p:cNvPr>
            <p:cNvGrpSpPr/>
            <p:nvPr/>
          </p:nvGrpSpPr>
          <p:grpSpPr>
            <a:xfrm>
              <a:off x="10700593" y="581023"/>
              <a:ext cx="1321993" cy="190478"/>
              <a:chOff x="10700593" y="581023"/>
              <a:chExt cx="1321993" cy="190478"/>
            </a:xfrm>
            <a:solidFill>
              <a:schemeClr val="bg1"/>
            </a:solidFill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xmlns="" id="{44D628FA-E158-45C8-4038-7F107C206DB5}"/>
                  </a:ext>
                </a:extLst>
              </p:cNvPr>
              <p:cNvSpPr/>
              <p:nvPr/>
            </p:nvSpPr>
            <p:spPr>
              <a:xfrm>
                <a:off x="11373813" y="581023"/>
                <a:ext cx="163467" cy="186595"/>
              </a:xfrm>
              <a:custGeom>
                <a:avLst/>
                <a:gdLst>
                  <a:gd name="connsiteX0" fmla="*/ 81712 w 163467"/>
                  <a:gd name="connsiteY0" fmla="*/ 0 h 186595"/>
                  <a:gd name="connsiteX1" fmla="*/ 0 w 163467"/>
                  <a:gd name="connsiteY1" fmla="*/ 186596 h 186595"/>
                  <a:gd name="connsiteX2" fmla="*/ 17519 w 163467"/>
                  <a:gd name="connsiteY2" fmla="*/ 186596 h 186595"/>
                  <a:gd name="connsiteX3" fmla="*/ 46151 w 163467"/>
                  <a:gd name="connsiteY3" fmla="*/ 121198 h 186595"/>
                  <a:gd name="connsiteX4" fmla="*/ 117360 w 163467"/>
                  <a:gd name="connsiteY4" fmla="*/ 121198 h 186595"/>
                  <a:gd name="connsiteX5" fmla="*/ 146167 w 163467"/>
                  <a:gd name="connsiteY5" fmla="*/ 186596 h 186595"/>
                  <a:gd name="connsiteX6" fmla="*/ 163468 w 163467"/>
                  <a:gd name="connsiteY6" fmla="*/ 186596 h 186595"/>
                  <a:gd name="connsiteX7" fmla="*/ 81712 w 163467"/>
                  <a:gd name="connsiteY7" fmla="*/ 0 h 186595"/>
                  <a:gd name="connsiteX8" fmla="*/ 53037 w 163467"/>
                  <a:gd name="connsiteY8" fmla="*/ 105361 h 186595"/>
                  <a:gd name="connsiteX9" fmla="*/ 81581 w 163467"/>
                  <a:gd name="connsiteY9" fmla="*/ 40050 h 186595"/>
                  <a:gd name="connsiteX10" fmla="*/ 110344 w 163467"/>
                  <a:gd name="connsiteY10" fmla="*/ 105361 h 186595"/>
                  <a:gd name="connsiteX11" fmla="*/ 52993 w 163467"/>
                  <a:gd name="connsiteY11" fmla="*/ 105361 h 186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3467" h="186595">
                    <a:moveTo>
                      <a:pt x="81712" y="0"/>
                    </a:moveTo>
                    <a:lnTo>
                      <a:pt x="0" y="186596"/>
                    </a:lnTo>
                    <a:lnTo>
                      <a:pt x="17519" y="186596"/>
                    </a:lnTo>
                    <a:lnTo>
                      <a:pt x="46151" y="121198"/>
                    </a:lnTo>
                    <a:lnTo>
                      <a:pt x="117360" y="121198"/>
                    </a:lnTo>
                    <a:lnTo>
                      <a:pt x="146167" y="186596"/>
                    </a:lnTo>
                    <a:lnTo>
                      <a:pt x="163468" y="186596"/>
                    </a:lnTo>
                    <a:lnTo>
                      <a:pt x="81712" y="0"/>
                    </a:lnTo>
                    <a:close/>
                    <a:moveTo>
                      <a:pt x="53037" y="105361"/>
                    </a:moveTo>
                    <a:lnTo>
                      <a:pt x="81581" y="40050"/>
                    </a:lnTo>
                    <a:lnTo>
                      <a:pt x="110344" y="105361"/>
                    </a:lnTo>
                    <a:lnTo>
                      <a:pt x="52993" y="105361"/>
                    </a:lnTo>
                    <a:close/>
                  </a:path>
                </a:pathLst>
              </a:custGeom>
              <a:solidFill>
                <a:schemeClr val="bg1"/>
              </a:solidFill>
              <a:ln w="4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xmlns="" id="{437AFEF5-3674-48CE-9AA4-0E50F9D50D30}"/>
                  </a:ext>
                </a:extLst>
              </p:cNvPr>
              <p:cNvSpPr/>
              <p:nvPr/>
            </p:nvSpPr>
            <p:spPr>
              <a:xfrm>
                <a:off x="11752696" y="584905"/>
                <a:ext cx="15819" cy="182669"/>
              </a:xfrm>
              <a:custGeom>
                <a:avLst/>
                <a:gdLst>
                  <a:gd name="connsiteX0" fmla="*/ 0 w 15819"/>
                  <a:gd name="connsiteY0" fmla="*/ 0 h 182669"/>
                  <a:gd name="connsiteX1" fmla="*/ 15819 w 15819"/>
                  <a:gd name="connsiteY1" fmla="*/ 0 h 182669"/>
                  <a:gd name="connsiteX2" fmla="*/ 15819 w 15819"/>
                  <a:gd name="connsiteY2" fmla="*/ 182669 h 182669"/>
                  <a:gd name="connsiteX3" fmla="*/ 0 w 15819"/>
                  <a:gd name="connsiteY3" fmla="*/ 182669 h 182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819" h="182669">
                    <a:moveTo>
                      <a:pt x="0" y="0"/>
                    </a:moveTo>
                    <a:lnTo>
                      <a:pt x="15819" y="0"/>
                    </a:lnTo>
                    <a:lnTo>
                      <a:pt x="15819" y="182669"/>
                    </a:lnTo>
                    <a:lnTo>
                      <a:pt x="0" y="182669"/>
                    </a:lnTo>
                    <a:close/>
                  </a:path>
                </a:pathLst>
              </a:custGeom>
              <a:solidFill>
                <a:schemeClr val="bg1"/>
              </a:solidFill>
              <a:ln w="4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xmlns="" id="{0B4BB593-7CBD-8143-64E2-55BB1A3D11CF}"/>
                  </a:ext>
                </a:extLst>
              </p:cNvPr>
              <p:cNvSpPr/>
              <p:nvPr/>
            </p:nvSpPr>
            <p:spPr>
              <a:xfrm>
                <a:off x="11173172" y="581328"/>
                <a:ext cx="167520" cy="186246"/>
              </a:xfrm>
              <a:custGeom>
                <a:avLst/>
                <a:gdLst>
                  <a:gd name="connsiteX0" fmla="*/ 83368 w 167520"/>
                  <a:gd name="connsiteY0" fmla="*/ 84202 h 186246"/>
                  <a:gd name="connsiteX1" fmla="*/ 0 w 167520"/>
                  <a:gd name="connsiteY1" fmla="*/ 87 h 186246"/>
                  <a:gd name="connsiteX2" fmla="*/ 87 w 167520"/>
                  <a:gd name="connsiteY2" fmla="*/ 186247 h 186246"/>
                  <a:gd name="connsiteX3" fmla="*/ 15907 w 167520"/>
                  <a:gd name="connsiteY3" fmla="*/ 186247 h 186246"/>
                  <a:gd name="connsiteX4" fmla="*/ 15907 w 167520"/>
                  <a:gd name="connsiteY4" fmla="*/ 38698 h 186246"/>
                  <a:gd name="connsiteX5" fmla="*/ 83194 w 167520"/>
                  <a:gd name="connsiteY5" fmla="*/ 106844 h 186246"/>
                  <a:gd name="connsiteX6" fmla="*/ 151701 w 167520"/>
                  <a:gd name="connsiteY6" fmla="*/ 38349 h 186246"/>
                  <a:gd name="connsiteX7" fmla="*/ 151701 w 167520"/>
                  <a:gd name="connsiteY7" fmla="*/ 186247 h 186246"/>
                  <a:gd name="connsiteX8" fmla="*/ 167521 w 167520"/>
                  <a:gd name="connsiteY8" fmla="*/ 186247 h 186246"/>
                  <a:gd name="connsiteX9" fmla="*/ 167521 w 167520"/>
                  <a:gd name="connsiteY9" fmla="*/ 0 h 186246"/>
                  <a:gd name="connsiteX10" fmla="*/ 83368 w 167520"/>
                  <a:gd name="connsiteY10" fmla="*/ 84202 h 186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7520" h="186246">
                    <a:moveTo>
                      <a:pt x="83368" y="84202"/>
                    </a:moveTo>
                    <a:lnTo>
                      <a:pt x="0" y="87"/>
                    </a:lnTo>
                    <a:lnTo>
                      <a:pt x="87" y="186247"/>
                    </a:lnTo>
                    <a:lnTo>
                      <a:pt x="15907" y="186247"/>
                    </a:lnTo>
                    <a:lnTo>
                      <a:pt x="15907" y="38698"/>
                    </a:lnTo>
                    <a:lnTo>
                      <a:pt x="83194" y="106844"/>
                    </a:lnTo>
                    <a:lnTo>
                      <a:pt x="151701" y="38349"/>
                    </a:lnTo>
                    <a:lnTo>
                      <a:pt x="151701" y="186247"/>
                    </a:lnTo>
                    <a:lnTo>
                      <a:pt x="167521" y="186247"/>
                    </a:lnTo>
                    <a:lnTo>
                      <a:pt x="167521" y="0"/>
                    </a:lnTo>
                    <a:lnTo>
                      <a:pt x="83368" y="84202"/>
                    </a:lnTo>
                    <a:close/>
                  </a:path>
                </a:pathLst>
              </a:custGeom>
              <a:solidFill>
                <a:schemeClr val="bg1"/>
              </a:solidFill>
              <a:ln w="4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xmlns="" id="{2F6A7117-CC2A-9758-5EC6-C4E50E1A6201}"/>
                  </a:ext>
                </a:extLst>
              </p:cNvPr>
              <p:cNvSpPr/>
              <p:nvPr/>
            </p:nvSpPr>
            <p:spPr>
              <a:xfrm>
                <a:off x="11833275" y="581808"/>
                <a:ext cx="138104" cy="189693"/>
              </a:xfrm>
              <a:custGeom>
                <a:avLst/>
                <a:gdLst>
                  <a:gd name="connsiteX0" fmla="*/ 122241 w 138104"/>
                  <a:gd name="connsiteY0" fmla="*/ 3098 h 189693"/>
                  <a:gd name="connsiteX1" fmla="*/ 122241 w 138104"/>
                  <a:gd name="connsiteY1" fmla="*/ 145368 h 189693"/>
                  <a:gd name="connsiteX2" fmla="*/ 0 w 138104"/>
                  <a:gd name="connsiteY2" fmla="*/ 0 h 189693"/>
                  <a:gd name="connsiteX3" fmla="*/ 0 w 138104"/>
                  <a:gd name="connsiteY3" fmla="*/ 25304 h 189693"/>
                  <a:gd name="connsiteX4" fmla="*/ 0 w 138104"/>
                  <a:gd name="connsiteY4" fmla="*/ 185767 h 189693"/>
                  <a:gd name="connsiteX5" fmla="*/ 15819 w 138104"/>
                  <a:gd name="connsiteY5" fmla="*/ 185767 h 189693"/>
                  <a:gd name="connsiteX6" fmla="*/ 15819 w 138104"/>
                  <a:gd name="connsiteY6" fmla="*/ 44151 h 189693"/>
                  <a:gd name="connsiteX7" fmla="*/ 138104 w 138104"/>
                  <a:gd name="connsiteY7" fmla="*/ 189693 h 189693"/>
                  <a:gd name="connsiteX8" fmla="*/ 138104 w 138104"/>
                  <a:gd name="connsiteY8" fmla="*/ 3098 h 189693"/>
                  <a:gd name="connsiteX9" fmla="*/ 122241 w 138104"/>
                  <a:gd name="connsiteY9" fmla="*/ 3098 h 189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8104" h="189693">
                    <a:moveTo>
                      <a:pt x="122241" y="3098"/>
                    </a:moveTo>
                    <a:lnTo>
                      <a:pt x="122241" y="145368"/>
                    </a:lnTo>
                    <a:lnTo>
                      <a:pt x="0" y="0"/>
                    </a:lnTo>
                    <a:lnTo>
                      <a:pt x="0" y="25304"/>
                    </a:lnTo>
                    <a:lnTo>
                      <a:pt x="0" y="185767"/>
                    </a:lnTo>
                    <a:lnTo>
                      <a:pt x="15819" y="185767"/>
                    </a:lnTo>
                    <a:lnTo>
                      <a:pt x="15819" y="44151"/>
                    </a:lnTo>
                    <a:lnTo>
                      <a:pt x="138104" y="189693"/>
                    </a:lnTo>
                    <a:lnTo>
                      <a:pt x="138104" y="3098"/>
                    </a:lnTo>
                    <a:lnTo>
                      <a:pt x="122241" y="3098"/>
                    </a:lnTo>
                    <a:close/>
                  </a:path>
                </a:pathLst>
              </a:custGeom>
              <a:solidFill>
                <a:schemeClr val="bg1"/>
              </a:solidFill>
              <a:ln w="4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11A92B7C-5787-E68B-0FF1-D633BBCA4AD0}"/>
                  </a:ext>
                </a:extLst>
              </p:cNvPr>
              <p:cNvSpPr/>
              <p:nvPr/>
            </p:nvSpPr>
            <p:spPr>
              <a:xfrm>
                <a:off x="11571796" y="585036"/>
                <a:ext cx="132526" cy="182625"/>
              </a:xfrm>
              <a:custGeom>
                <a:avLst/>
                <a:gdLst>
                  <a:gd name="connsiteX0" fmla="*/ 114658 w 132526"/>
                  <a:gd name="connsiteY0" fmla="*/ 182626 h 182625"/>
                  <a:gd name="connsiteX1" fmla="*/ 132526 w 132526"/>
                  <a:gd name="connsiteY1" fmla="*/ 182626 h 182625"/>
                  <a:gd name="connsiteX2" fmla="*/ 88772 w 132526"/>
                  <a:gd name="connsiteY2" fmla="*/ 97115 h 182625"/>
                  <a:gd name="connsiteX3" fmla="*/ 124856 w 132526"/>
                  <a:gd name="connsiteY3" fmla="*/ 54142 h 182625"/>
                  <a:gd name="connsiteX4" fmla="*/ 124900 w 132526"/>
                  <a:gd name="connsiteY4" fmla="*/ 54142 h 182625"/>
                  <a:gd name="connsiteX5" fmla="*/ 124900 w 132526"/>
                  <a:gd name="connsiteY5" fmla="*/ 53139 h 182625"/>
                  <a:gd name="connsiteX6" fmla="*/ 125074 w 132526"/>
                  <a:gd name="connsiteY6" fmla="*/ 50216 h 182625"/>
                  <a:gd name="connsiteX7" fmla="*/ 124900 w 132526"/>
                  <a:gd name="connsiteY7" fmla="*/ 50216 h 182625"/>
                  <a:gd name="connsiteX8" fmla="*/ 124900 w 132526"/>
                  <a:gd name="connsiteY8" fmla="*/ 48514 h 182625"/>
                  <a:gd name="connsiteX9" fmla="*/ 125074 w 132526"/>
                  <a:gd name="connsiteY9" fmla="*/ 48514 h 182625"/>
                  <a:gd name="connsiteX10" fmla="*/ 124900 w 132526"/>
                  <a:gd name="connsiteY10" fmla="*/ 45547 h 182625"/>
                  <a:gd name="connsiteX11" fmla="*/ 124900 w 132526"/>
                  <a:gd name="connsiteY11" fmla="*/ 45547 h 182625"/>
                  <a:gd name="connsiteX12" fmla="*/ 76613 w 132526"/>
                  <a:gd name="connsiteY12" fmla="*/ 0 h 182625"/>
                  <a:gd name="connsiteX13" fmla="*/ 0 w 132526"/>
                  <a:gd name="connsiteY13" fmla="*/ 0 h 182625"/>
                  <a:gd name="connsiteX14" fmla="*/ 0 w 132526"/>
                  <a:gd name="connsiteY14" fmla="*/ 182582 h 182625"/>
                  <a:gd name="connsiteX15" fmla="*/ 15819 w 132526"/>
                  <a:gd name="connsiteY15" fmla="*/ 182582 h 182625"/>
                  <a:gd name="connsiteX16" fmla="*/ 15819 w 132526"/>
                  <a:gd name="connsiteY16" fmla="*/ 98642 h 182625"/>
                  <a:gd name="connsiteX17" fmla="*/ 71645 w 132526"/>
                  <a:gd name="connsiteY17" fmla="*/ 98642 h 182625"/>
                  <a:gd name="connsiteX18" fmla="*/ 114658 w 132526"/>
                  <a:gd name="connsiteY18" fmla="*/ 182626 h 182625"/>
                  <a:gd name="connsiteX19" fmla="*/ 15819 w 132526"/>
                  <a:gd name="connsiteY19" fmla="*/ 15880 h 182625"/>
                  <a:gd name="connsiteX20" fmla="*/ 76613 w 132526"/>
                  <a:gd name="connsiteY20" fmla="*/ 15880 h 182625"/>
                  <a:gd name="connsiteX21" fmla="*/ 109080 w 132526"/>
                  <a:gd name="connsiteY21" fmla="*/ 47816 h 182625"/>
                  <a:gd name="connsiteX22" fmla="*/ 109080 w 132526"/>
                  <a:gd name="connsiteY22" fmla="*/ 50826 h 182625"/>
                  <a:gd name="connsiteX23" fmla="*/ 76613 w 132526"/>
                  <a:gd name="connsiteY23" fmla="*/ 82718 h 182625"/>
                  <a:gd name="connsiteX24" fmla="*/ 76613 w 132526"/>
                  <a:gd name="connsiteY24" fmla="*/ 82718 h 182625"/>
                  <a:gd name="connsiteX25" fmla="*/ 15819 w 132526"/>
                  <a:gd name="connsiteY25" fmla="*/ 82762 h 182625"/>
                  <a:gd name="connsiteX26" fmla="*/ 15819 w 132526"/>
                  <a:gd name="connsiteY26" fmla="*/ 15880 h 182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2526" h="182625">
                    <a:moveTo>
                      <a:pt x="114658" y="182626"/>
                    </a:moveTo>
                    <a:lnTo>
                      <a:pt x="132526" y="182626"/>
                    </a:lnTo>
                    <a:cubicBezTo>
                      <a:pt x="132526" y="182626"/>
                      <a:pt x="88772" y="97115"/>
                      <a:pt x="88772" y="97115"/>
                    </a:cubicBezTo>
                    <a:cubicBezTo>
                      <a:pt x="108383" y="92011"/>
                      <a:pt x="123200" y="74952"/>
                      <a:pt x="124856" y="54142"/>
                    </a:cubicBezTo>
                    <a:lnTo>
                      <a:pt x="124900" y="54142"/>
                    </a:lnTo>
                    <a:lnTo>
                      <a:pt x="124900" y="53139"/>
                    </a:lnTo>
                    <a:cubicBezTo>
                      <a:pt x="124943" y="52179"/>
                      <a:pt x="125074" y="51175"/>
                      <a:pt x="125074" y="50216"/>
                    </a:cubicBezTo>
                    <a:lnTo>
                      <a:pt x="124900" y="50216"/>
                    </a:lnTo>
                    <a:lnTo>
                      <a:pt x="124900" y="48514"/>
                    </a:lnTo>
                    <a:lnTo>
                      <a:pt x="125074" y="48514"/>
                    </a:lnTo>
                    <a:cubicBezTo>
                      <a:pt x="125074" y="47511"/>
                      <a:pt x="124987" y="46551"/>
                      <a:pt x="124900" y="45547"/>
                    </a:cubicBezTo>
                    <a:lnTo>
                      <a:pt x="124900" y="45547"/>
                    </a:lnTo>
                    <a:cubicBezTo>
                      <a:pt x="123331" y="20112"/>
                      <a:pt x="102369" y="0"/>
                      <a:pt x="76613" y="0"/>
                    </a:cubicBezTo>
                    <a:lnTo>
                      <a:pt x="0" y="0"/>
                    </a:lnTo>
                    <a:lnTo>
                      <a:pt x="0" y="182582"/>
                    </a:lnTo>
                    <a:lnTo>
                      <a:pt x="15819" y="182582"/>
                    </a:lnTo>
                    <a:lnTo>
                      <a:pt x="15819" y="98642"/>
                    </a:lnTo>
                    <a:lnTo>
                      <a:pt x="71645" y="98642"/>
                    </a:lnTo>
                    <a:lnTo>
                      <a:pt x="114658" y="182626"/>
                    </a:lnTo>
                    <a:close/>
                    <a:moveTo>
                      <a:pt x="15819" y="15880"/>
                    </a:moveTo>
                    <a:lnTo>
                      <a:pt x="76613" y="15880"/>
                    </a:lnTo>
                    <a:cubicBezTo>
                      <a:pt x="94350" y="15880"/>
                      <a:pt x="108732" y="30147"/>
                      <a:pt x="109080" y="47816"/>
                    </a:cubicBezTo>
                    <a:lnTo>
                      <a:pt x="109080" y="50826"/>
                    </a:lnTo>
                    <a:cubicBezTo>
                      <a:pt x="108732" y="68496"/>
                      <a:pt x="94350" y="82718"/>
                      <a:pt x="76613" y="82718"/>
                    </a:cubicBezTo>
                    <a:lnTo>
                      <a:pt x="76613" y="82718"/>
                    </a:lnTo>
                    <a:cubicBezTo>
                      <a:pt x="76613" y="82718"/>
                      <a:pt x="15819" y="82762"/>
                      <a:pt x="15819" y="82762"/>
                    </a:cubicBezTo>
                    <a:lnTo>
                      <a:pt x="15819" y="15880"/>
                    </a:lnTo>
                    <a:close/>
                  </a:path>
                </a:pathLst>
              </a:custGeom>
              <a:solidFill>
                <a:schemeClr val="bg1"/>
              </a:solidFill>
              <a:ln w="4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4AB2DDF5-91CE-F7F8-5746-43D25A8777B2}"/>
                  </a:ext>
                </a:extLst>
              </p:cNvPr>
              <p:cNvSpPr/>
              <p:nvPr/>
            </p:nvSpPr>
            <p:spPr>
              <a:xfrm>
                <a:off x="10700593" y="584949"/>
                <a:ext cx="128865" cy="182669"/>
              </a:xfrm>
              <a:custGeom>
                <a:avLst/>
                <a:gdLst>
                  <a:gd name="connsiteX0" fmla="*/ 128691 w 128865"/>
                  <a:gd name="connsiteY0" fmla="*/ 128789 h 182669"/>
                  <a:gd name="connsiteX1" fmla="*/ 121893 w 128865"/>
                  <a:gd name="connsiteY1" fmla="*/ 104968 h 182669"/>
                  <a:gd name="connsiteX2" fmla="*/ 105463 w 128865"/>
                  <a:gd name="connsiteY2" fmla="*/ 89175 h 182669"/>
                  <a:gd name="connsiteX3" fmla="*/ 124813 w 128865"/>
                  <a:gd name="connsiteY3" fmla="*/ 54186 h 182669"/>
                  <a:gd name="connsiteX4" fmla="*/ 124856 w 128865"/>
                  <a:gd name="connsiteY4" fmla="*/ 54186 h 182669"/>
                  <a:gd name="connsiteX5" fmla="*/ 124856 w 128865"/>
                  <a:gd name="connsiteY5" fmla="*/ 53182 h 182669"/>
                  <a:gd name="connsiteX6" fmla="*/ 124987 w 128865"/>
                  <a:gd name="connsiteY6" fmla="*/ 50259 h 182669"/>
                  <a:gd name="connsiteX7" fmla="*/ 124856 w 128865"/>
                  <a:gd name="connsiteY7" fmla="*/ 50259 h 182669"/>
                  <a:gd name="connsiteX8" fmla="*/ 124856 w 128865"/>
                  <a:gd name="connsiteY8" fmla="*/ 48558 h 182669"/>
                  <a:gd name="connsiteX9" fmla="*/ 124987 w 128865"/>
                  <a:gd name="connsiteY9" fmla="*/ 48558 h 182669"/>
                  <a:gd name="connsiteX10" fmla="*/ 124856 w 128865"/>
                  <a:gd name="connsiteY10" fmla="*/ 45591 h 182669"/>
                  <a:gd name="connsiteX11" fmla="*/ 124856 w 128865"/>
                  <a:gd name="connsiteY11" fmla="*/ 45591 h 182669"/>
                  <a:gd name="connsiteX12" fmla="*/ 124856 w 128865"/>
                  <a:gd name="connsiteY12" fmla="*/ 45547 h 182669"/>
                  <a:gd name="connsiteX13" fmla="*/ 76526 w 128865"/>
                  <a:gd name="connsiteY13" fmla="*/ 44 h 182669"/>
                  <a:gd name="connsiteX14" fmla="*/ 76526 w 128865"/>
                  <a:gd name="connsiteY14" fmla="*/ 131 h 182669"/>
                  <a:gd name="connsiteX15" fmla="*/ 0 w 128865"/>
                  <a:gd name="connsiteY15" fmla="*/ 0 h 182669"/>
                  <a:gd name="connsiteX16" fmla="*/ 0 w 128865"/>
                  <a:gd name="connsiteY16" fmla="*/ 182669 h 182669"/>
                  <a:gd name="connsiteX17" fmla="*/ 79533 w 128865"/>
                  <a:gd name="connsiteY17" fmla="*/ 182669 h 182669"/>
                  <a:gd name="connsiteX18" fmla="*/ 128778 w 128865"/>
                  <a:gd name="connsiteY18" fmla="*/ 134068 h 182669"/>
                  <a:gd name="connsiteX19" fmla="*/ 128865 w 128865"/>
                  <a:gd name="connsiteY19" fmla="*/ 134068 h 182669"/>
                  <a:gd name="connsiteX20" fmla="*/ 128865 w 128865"/>
                  <a:gd name="connsiteY20" fmla="*/ 128789 h 182669"/>
                  <a:gd name="connsiteX21" fmla="*/ 128778 w 128865"/>
                  <a:gd name="connsiteY21" fmla="*/ 128789 h 182669"/>
                  <a:gd name="connsiteX22" fmla="*/ 76570 w 128865"/>
                  <a:gd name="connsiteY22" fmla="*/ 15968 h 182669"/>
                  <a:gd name="connsiteX23" fmla="*/ 76570 w 128865"/>
                  <a:gd name="connsiteY23" fmla="*/ 15968 h 182669"/>
                  <a:gd name="connsiteX24" fmla="*/ 109080 w 128865"/>
                  <a:gd name="connsiteY24" fmla="*/ 47991 h 182669"/>
                  <a:gd name="connsiteX25" fmla="*/ 109080 w 128865"/>
                  <a:gd name="connsiteY25" fmla="*/ 50826 h 182669"/>
                  <a:gd name="connsiteX26" fmla="*/ 76570 w 128865"/>
                  <a:gd name="connsiteY26" fmla="*/ 82936 h 182669"/>
                  <a:gd name="connsiteX27" fmla="*/ 15819 w 128865"/>
                  <a:gd name="connsiteY27" fmla="*/ 82936 h 182669"/>
                  <a:gd name="connsiteX28" fmla="*/ 15819 w 128865"/>
                  <a:gd name="connsiteY28" fmla="*/ 15968 h 182669"/>
                  <a:gd name="connsiteX29" fmla="*/ 76570 w 128865"/>
                  <a:gd name="connsiteY29" fmla="*/ 15968 h 182669"/>
                  <a:gd name="connsiteX30" fmla="*/ 112959 w 128865"/>
                  <a:gd name="connsiteY30" fmla="*/ 133239 h 182669"/>
                  <a:gd name="connsiteX31" fmla="*/ 112828 w 128865"/>
                  <a:gd name="connsiteY31" fmla="*/ 133239 h 182669"/>
                  <a:gd name="connsiteX32" fmla="*/ 79228 w 128865"/>
                  <a:gd name="connsiteY32" fmla="*/ 166876 h 182669"/>
                  <a:gd name="connsiteX33" fmla="*/ 79228 w 128865"/>
                  <a:gd name="connsiteY33" fmla="*/ 166876 h 182669"/>
                  <a:gd name="connsiteX34" fmla="*/ 15819 w 128865"/>
                  <a:gd name="connsiteY34" fmla="*/ 166876 h 182669"/>
                  <a:gd name="connsiteX35" fmla="*/ 15819 w 128865"/>
                  <a:gd name="connsiteY35" fmla="*/ 98860 h 182669"/>
                  <a:gd name="connsiteX36" fmla="*/ 81451 w 128865"/>
                  <a:gd name="connsiteY36" fmla="*/ 99122 h 182669"/>
                  <a:gd name="connsiteX37" fmla="*/ 81451 w 128865"/>
                  <a:gd name="connsiteY37" fmla="*/ 99122 h 182669"/>
                  <a:gd name="connsiteX38" fmla="*/ 108601 w 128865"/>
                  <a:gd name="connsiteY38" fmla="*/ 113737 h 182669"/>
                  <a:gd name="connsiteX39" fmla="*/ 112872 w 128865"/>
                  <a:gd name="connsiteY39" fmla="*/ 130011 h 182669"/>
                  <a:gd name="connsiteX40" fmla="*/ 113002 w 128865"/>
                  <a:gd name="connsiteY40" fmla="*/ 130011 h 182669"/>
                  <a:gd name="connsiteX41" fmla="*/ 113002 w 128865"/>
                  <a:gd name="connsiteY41" fmla="*/ 133239 h 182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28865" h="182669">
                    <a:moveTo>
                      <a:pt x="128691" y="128789"/>
                    </a:moveTo>
                    <a:cubicBezTo>
                      <a:pt x="128473" y="119933"/>
                      <a:pt x="126251" y="112036"/>
                      <a:pt x="121893" y="104968"/>
                    </a:cubicBezTo>
                    <a:cubicBezTo>
                      <a:pt x="117709" y="98293"/>
                      <a:pt x="112087" y="92927"/>
                      <a:pt x="105463" y="89175"/>
                    </a:cubicBezTo>
                    <a:cubicBezTo>
                      <a:pt x="116314" y="81060"/>
                      <a:pt x="123679" y="68496"/>
                      <a:pt x="124813" y="54186"/>
                    </a:cubicBezTo>
                    <a:lnTo>
                      <a:pt x="124856" y="54186"/>
                    </a:lnTo>
                    <a:lnTo>
                      <a:pt x="124856" y="53182"/>
                    </a:lnTo>
                    <a:cubicBezTo>
                      <a:pt x="124900" y="52222"/>
                      <a:pt x="124987" y="51219"/>
                      <a:pt x="124987" y="50259"/>
                    </a:cubicBezTo>
                    <a:lnTo>
                      <a:pt x="124856" y="50259"/>
                    </a:lnTo>
                    <a:lnTo>
                      <a:pt x="124856" y="48558"/>
                    </a:lnTo>
                    <a:lnTo>
                      <a:pt x="124987" y="48558"/>
                    </a:lnTo>
                    <a:cubicBezTo>
                      <a:pt x="124987" y="47554"/>
                      <a:pt x="124900" y="46594"/>
                      <a:pt x="124856" y="45591"/>
                    </a:cubicBezTo>
                    <a:lnTo>
                      <a:pt x="124856" y="45591"/>
                    </a:lnTo>
                    <a:cubicBezTo>
                      <a:pt x="124856" y="45591"/>
                      <a:pt x="124856" y="45547"/>
                      <a:pt x="124856" y="45547"/>
                    </a:cubicBezTo>
                    <a:cubicBezTo>
                      <a:pt x="123287" y="20156"/>
                      <a:pt x="102282" y="44"/>
                      <a:pt x="76526" y="44"/>
                    </a:cubicBezTo>
                    <a:lnTo>
                      <a:pt x="76526" y="131"/>
                    </a:lnTo>
                    <a:lnTo>
                      <a:pt x="0" y="0"/>
                    </a:lnTo>
                    <a:lnTo>
                      <a:pt x="0" y="182669"/>
                    </a:lnTo>
                    <a:lnTo>
                      <a:pt x="79533" y="182669"/>
                    </a:lnTo>
                    <a:cubicBezTo>
                      <a:pt x="106422" y="182495"/>
                      <a:pt x="128212" y="160899"/>
                      <a:pt x="128778" y="134068"/>
                    </a:cubicBezTo>
                    <a:lnTo>
                      <a:pt x="128865" y="134068"/>
                    </a:lnTo>
                    <a:lnTo>
                      <a:pt x="128865" y="128789"/>
                    </a:lnTo>
                    <a:lnTo>
                      <a:pt x="128778" y="128789"/>
                    </a:lnTo>
                    <a:close/>
                    <a:moveTo>
                      <a:pt x="76570" y="15968"/>
                    </a:moveTo>
                    <a:lnTo>
                      <a:pt x="76570" y="15968"/>
                    </a:lnTo>
                    <a:cubicBezTo>
                      <a:pt x="94350" y="15968"/>
                      <a:pt x="108775" y="30278"/>
                      <a:pt x="109080" y="47991"/>
                    </a:cubicBezTo>
                    <a:lnTo>
                      <a:pt x="109080" y="50826"/>
                    </a:lnTo>
                    <a:cubicBezTo>
                      <a:pt x="108775" y="68539"/>
                      <a:pt x="94350" y="82936"/>
                      <a:pt x="76570" y="82936"/>
                    </a:cubicBezTo>
                    <a:lnTo>
                      <a:pt x="15819" y="82936"/>
                    </a:lnTo>
                    <a:lnTo>
                      <a:pt x="15819" y="15968"/>
                    </a:lnTo>
                    <a:lnTo>
                      <a:pt x="76570" y="15968"/>
                    </a:lnTo>
                    <a:close/>
                    <a:moveTo>
                      <a:pt x="112959" y="133239"/>
                    </a:moveTo>
                    <a:lnTo>
                      <a:pt x="112828" y="133239"/>
                    </a:lnTo>
                    <a:cubicBezTo>
                      <a:pt x="112828" y="151825"/>
                      <a:pt x="97793" y="166876"/>
                      <a:pt x="79228" y="166876"/>
                    </a:cubicBezTo>
                    <a:lnTo>
                      <a:pt x="79228" y="166876"/>
                    </a:lnTo>
                    <a:cubicBezTo>
                      <a:pt x="79228" y="166876"/>
                      <a:pt x="15819" y="166876"/>
                      <a:pt x="15819" y="166876"/>
                    </a:cubicBezTo>
                    <a:lnTo>
                      <a:pt x="15819" y="98860"/>
                    </a:lnTo>
                    <a:lnTo>
                      <a:pt x="81451" y="99122"/>
                    </a:lnTo>
                    <a:lnTo>
                      <a:pt x="81451" y="99122"/>
                    </a:lnTo>
                    <a:cubicBezTo>
                      <a:pt x="92869" y="99122"/>
                      <a:pt x="102805" y="104750"/>
                      <a:pt x="108601" y="113737"/>
                    </a:cubicBezTo>
                    <a:cubicBezTo>
                      <a:pt x="111041" y="118842"/>
                      <a:pt x="112872" y="123990"/>
                      <a:pt x="112872" y="130011"/>
                    </a:cubicBezTo>
                    <a:lnTo>
                      <a:pt x="113002" y="130011"/>
                    </a:lnTo>
                    <a:lnTo>
                      <a:pt x="113002" y="133239"/>
                    </a:lnTo>
                    <a:close/>
                  </a:path>
                </a:pathLst>
              </a:custGeom>
              <a:solidFill>
                <a:schemeClr val="bg1"/>
              </a:solidFill>
              <a:ln w="4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CB7EDB7F-8DE4-C212-845E-68DF63F89FD4}"/>
                  </a:ext>
                </a:extLst>
              </p:cNvPr>
              <p:cNvSpPr/>
              <p:nvPr/>
            </p:nvSpPr>
            <p:spPr>
              <a:xfrm>
                <a:off x="10945032" y="581808"/>
                <a:ext cx="188700" cy="188820"/>
              </a:xfrm>
              <a:custGeom>
                <a:avLst/>
                <a:gdLst>
                  <a:gd name="connsiteX0" fmla="*/ 828 w 188700"/>
                  <a:gd name="connsiteY0" fmla="*/ 106277 h 188820"/>
                  <a:gd name="connsiteX1" fmla="*/ 94394 w 188700"/>
                  <a:gd name="connsiteY1" fmla="*/ 188821 h 188820"/>
                  <a:gd name="connsiteX2" fmla="*/ 187960 w 188700"/>
                  <a:gd name="connsiteY2" fmla="*/ 106234 h 188820"/>
                  <a:gd name="connsiteX3" fmla="*/ 188701 w 188700"/>
                  <a:gd name="connsiteY3" fmla="*/ 94716 h 188820"/>
                  <a:gd name="connsiteX4" fmla="*/ 188178 w 188700"/>
                  <a:gd name="connsiteY4" fmla="*/ 84420 h 188820"/>
                  <a:gd name="connsiteX5" fmla="*/ 94394 w 188700"/>
                  <a:gd name="connsiteY5" fmla="*/ 0 h 188820"/>
                  <a:gd name="connsiteX6" fmla="*/ 610 w 188700"/>
                  <a:gd name="connsiteY6" fmla="*/ 84420 h 188820"/>
                  <a:gd name="connsiteX7" fmla="*/ 523 w 188700"/>
                  <a:gd name="connsiteY7" fmla="*/ 84420 h 188820"/>
                  <a:gd name="connsiteX8" fmla="*/ 0 w 188700"/>
                  <a:gd name="connsiteY8" fmla="*/ 94716 h 188820"/>
                  <a:gd name="connsiteX9" fmla="*/ 741 w 188700"/>
                  <a:gd name="connsiteY9" fmla="*/ 106234 h 188820"/>
                  <a:gd name="connsiteX10" fmla="*/ 94394 w 188700"/>
                  <a:gd name="connsiteY10" fmla="*/ 172766 h 188820"/>
                  <a:gd name="connsiteX11" fmla="*/ 16996 w 188700"/>
                  <a:gd name="connsiteY11" fmla="*/ 106277 h 188820"/>
                  <a:gd name="connsiteX12" fmla="*/ 16909 w 188700"/>
                  <a:gd name="connsiteY12" fmla="*/ 106277 h 188820"/>
                  <a:gd name="connsiteX13" fmla="*/ 16037 w 188700"/>
                  <a:gd name="connsiteY13" fmla="*/ 94716 h 188820"/>
                  <a:gd name="connsiteX14" fmla="*/ 16647 w 188700"/>
                  <a:gd name="connsiteY14" fmla="*/ 84725 h 188820"/>
                  <a:gd name="connsiteX15" fmla="*/ 16691 w 188700"/>
                  <a:gd name="connsiteY15" fmla="*/ 84725 h 188820"/>
                  <a:gd name="connsiteX16" fmla="*/ 94350 w 188700"/>
                  <a:gd name="connsiteY16" fmla="*/ 16055 h 188820"/>
                  <a:gd name="connsiteX17" fmla="*/ 171966 w 188700"/>
                  <a:gd name="connsiteY17" fmla="*/ 84594 h 188820"/>
                  <a:gd name="connsiteX18" fmla="*/ 172620 w 188700"/>
                  <a:gd name="connsiteY18" fmla="*/ 94759 h 188820"/>
                  <a:gd name="connsiteX19" fmla="*/ 171748 w 188700"/>
                  <a:gd name="connsiteY19" fmla="*/ 106452 h 188820"/>
                  <a:gd name="connsiteX20" fmla="*/ 94350 w 188700"/>
                  <a:gd name="connsiteY20" fmla="*/ 172809 h 188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88700" h="188820">
                    <a:moveTo>
                      <a:pt x="828" y="106277"/>
                    </a:moveTo>
                    <a:cubicBezTo>
                      <a:pt x="6668" y="152828"/>
                      <a:pt x="46325" y="188821"/>
                      <a:pt x="94394" y="188821"/>
                    </a:cubicBezTo>
                    <a:cubicBezTo>
                      <a:pt x="142462" y="188821"/>
                      <a:pt x="182120" y="152784"/>
                      <a:pt x="187960" y="106234"/>
                    </a:cubicBezTo>
                    <a:cubicBezTo>
                      <a:pt x="188395" y="102482"/>
                      <a:pt x="188701" y="98599"/>
                      <a:pt x="188701" y="94716"/>
                    </a:cubicBezTo>
                    <a:cubicBezTo>
                      <a:pt x="188701" y="91138"/>
                      <a:pt x="188570" y="87910"/>
                      <a:pt x="188178" y="84420"/>
                    </a:cubicBezTo>
                    <a:cubicBezTo>
                      <a:pt x="183297" y="36822"/>
                      <a:pt x="143203" y="0"/>
                      <a:pt x="94394" y="0"/>
                    </a:cubicBezTo>
                    <a:cubicBezTo>
                      <a:pt x="45584" y="0"/>
                      <a:pt x="5578" y="36996"/>
                      <a:pt x="610" y="84420"/>
                    </a:cubicBezTo>
                    <a:lnTo>
                      <a:pt x="523" y="84420"/>
                    </a:lnTo>
                    <a:cubicBezTo>
                      <a:pt x="131" y="87910"/>
                      <a:pt x="0" y="91138"/>
                      <a:pt x="0" y="94716"/>
                    </a:cubicBezTo>
                    <a:cubicBezTo>
                      <a:pt x="0" y="98599"/>
                      <a:pt x="261" y="102482"/>
                      <a:pt x="741" y="106234"/>
                    </a:cubicBezTo>
                    <a:moveTo>
                      <a:pt x="94394" y="172766"/>
                    </a:moveTo>
                    <a:cubicBezTo>
                      <a:pt x="55172" y="172766"/>
                      <a:pt x="22705" y="143928"/>
                      <a:pt x="16996" y="106277"/>
                    </a:cubicBezTo>
                    <a:lnTo>
                      <a:pt x="16909" y="106277"/>
                    </a:lnTo>
                    <a:cubicBezTo>
                      <a:pt x="16342" y="102482"/>
                      <a:pt x="16037" y="98686"/>
                      <a:pt x="16037" y="94716"/>
                    </a:cubicBezTo>
                    <a:cubicBezTo>
                      <a:pt x="16037" y="91269"/>
                      <a:pt x="16212" y="88041"/>
                      <a:pt x="16647" y="84725"/>
                    </a:cubicBezTo>
                    <a:lnTo>
                      <a:pt x="16691" y="84725"/>
                    </a:lnTo>
                    <a:cubicBezTo>
                      <a:pt x="21441" y="46027"/>
                      <a:pt x="54388" y="16055"/>
                      <a:pt x="94350" y="16055"/>
                    </a:cubicBezTo>
                    <a:cubicBezTo>
                      <a:pt x="134313" y="16055"/>
                      <a:pt x="167216" y="45853"/>
                      <a:pt x="171966" y="84594"/>
                    </a:cubicBezTo>
                    <a:cubicBezTo>
                      <a:pt x="172402" y="87997"/>
                      <a:pt x="172620" y="91269"/>
                      <a:pt x="172620" y="94759"/>
                    </a:cubicBezTo>
                    <a:cubicBezTo>
                      <a:pt x="172620" y="98773"/>
                      <a:pt x="172315" y="102612"/>
                      <a:pt x="171748" y="106452"/>
                    </a:cubicBezTo>
                    <a:cubicBezTo>
                      <a:pt x="166039" y="144102"/>
                      <a:pt x="133572" y="172809"/>
                      <a:pt x="94350" y="172809"/>
                    </a:cubicBezTo>
                    <a:close/>
                  </a:path>
                </a:pathLst>
              </a:custGeom>
              <a:solidFill>
                <a:schemeClr val="bg1"/>
              </a:solidFill>
              <a:ln w="4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2BBA9693-A56F-B6F4-E30D-2BF13627ABC3}"/>
                  </a:ext>
                </a:extLst>
              </p:cNvPr>
              <p:cNvSpPr/>
              <p:nvPr/>
            </p:nvSpPr>
            <p:spPr>
              <a:xfrm>
                <a:off x="11996961" y="581415"/>
                <a:ext cx="25624" cy="25653"/>
              </a:xfrm>
              <a:custGeom>
                <a:avLst/>
                <a:gdLst>
                  <a:gd name="connsiteX0" fmla="*/ 0 w 25624"/>
                  <a:gd name="connsiteY0" fmla="*/ 12783 h 25653"/>
                  <a:gd name="connsiteX1" fmla="*/ 12856 w 25624"/>
                  <a:gd name="connsiteY1" fmla="*/ 0 h 25653"/>
                  <a:gd name="connsiteX2" fmla="*/ 25625 w 25624"/>
                  <a:gd name="connsiteY2" fmla="*/ 12783 h 25653"/>
                  <a:gd name="connsiteX3" fmla="*/ 12856 w 25624"/>
                  <a:gd name="connsiteY3" fmla="*/ 25653 h 25653"/>
                  <a:gd name="connsiteX4" fmla="*/ 0 w 25624"/>
                  <a:gd name="connsiteY4" fmla="*/ 12783 h 25653"/>
                  <a:gd name="connsiteX5" fmla="*/ 23577 w 25624"/>
                  <a:gd name="connsiteY5" fmla="*/ 12783 h 25653"/>
                  <a:gd name="connsiteX6" fmla="*/ 12856 w 25624"/>
                  <a:gd name="connsiteY6" fmla="*/ 1701 h 25653"/>
                  <a:gd name="connsiteX7" fmla="*/ 2048 w 25624"/>
                  <a:gd name="connsiteY7" fmla="*/ 12783 h 25653"/>
                  <a:gd name="connsiteX8" fmla="*/ 12856 w 25624"/>
                  <a:gd name="connsiteY8" fmla="*/ 23952 h 25653"/>
                  <a:gd name="connsiteX9" fmla="*/ 23577 w 25624"/>
                  <a:gd name="connsiteY9" fmla="*/ 12783 h 25653"/>
                  <a:gd name="connsiteX10" fmla="*/ 19219 w 25624"/>
                  <a:gd name="connsiteY10" fmla="*/ 19938 h 25653"/>
                  <a:gd name="connsiteX11" fmla="*/ 17127 w 25624"/>
                  <a:gd name="connsiteY11" fmla="*/ 19938 h 25653"/>
                  <a:gd name="connsiteX12" fmla="*/ 13030 w 25624"/>
                  <a:gd name="connsiteY12" fmla="*/ 13350 h 25653"/>
                  <a:gd name="connsiteX13" fmla="*/ 9805 w 25624"/>
                  <a:gd name="connsiteY13" fmla="*/ 13350 h 25653"/>
                  <a:gd name="connsiteX14" fmla="*/ 9805 w 25624"/>
                  <a:gd name="connsiteY14" fmla="*/ 19938 h 25653"/>
                  <a:gd name="connsiteX15" fmla="*/ 8062 w 25624"/>
                  <a:gd name="connsiteY15" fmla="*/ 19938 h 25653"/>
                  <a:gd name="connsiteX16" fmla="*/ 8062 w 25624"/>
                  <a:gd name="connsiteY16" fmla="*/ 5628 h 25653"/>
                  <a:gd name="connsiteX17" fmla="*/ 14338 w 25624"/>
                  <a:gd name="connsiteY17" fmla="*/ 5628 h 25653"/>
                  <a:gd name="connsiteX18" fmla="*/ 19393 w 25624"/>
                  <a:gd name="connsiteY18" fmla="*/ 9424 h 25653"/>
                  <a:gd name="connsiteX19" fmla="*/ 14904 w 25624"/>
                  <a:gd name="connsiteY19" fmla="*/ 13350 h 25653"/>
                  <a:gd name="connsiteX20" fmla="*/ 19219 w 25624"/>
                  <a:gd name="connsiteY20" fmla="*/ 19938 h 25653"/>
                  <a:gd name="connsiteX21" fmla="*/ 12507 w 25624"/>
                  <a:gd name="connsiteY21" fmla="*/ 11954 h 25653"/>
                  <a:gd name="connsiteX22" fmla="*/ 17519 w 25624"/>
                  <a:gd name="connsiteY22" fmla="*/ 9380 h 25653"/>
                  <a:gd name="connsiteX23" fmla="*/ 13946 w 25624"/>
                  <a:gd name="connsiteY23" fmla="*/ 6893 h 25653"/>
                  <a:gd name="connsiteX24" fmla="*/ 9849 w 25624"/>
                  <a:gd name="connsiteY24" fmla="*/ 6893 h 25653"/>
                  <a:gd name="connsiteX25" fmla="*/ 9849 w 25624"/>
                  <a:gd name="connsiteY25" fmla="*/ 11954 h 25653"/>
                  <a:gd name="connsiteX26" fmla="*/ 12507 w 25624"/>
                  <a:gd name="connsiteY26" fmla="*/ 11954 h 25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5624" h="25653">
                    <a:moveTo>
                      <a:pt x="0" y="12783"/>
                    </a:moveTo>
                    <a:cubicBezTo>
                      <a:pt x="0" y="5759"/>
                      <a:pt x="5753" y="0"/>
                      <a:pt x="12856" y="0"/>
                    </a:cubicBezTo>
                    <a:cubicBezTo>
                      <a:pt x="19959" y="0"/>
                      <a:pt x="25625" y="5759"/>
                      <a:pt x="25625" y="12783"/>
                    </a:cubicBezTo>
                    <a:cubicBezTo>
                      <a:pt x="25625" y="19807"/>
                      <a:pt x="19916" y="25653"/>
                      <a:pt x="12856" y="25653"/>
                    </a:cubicBezTo>
                    <a:cubicBezTo>
                      <a:pt x="5796" y="25653"/>
                      <a:pt x="0" y="19894"/>
                      <a:pt x="0" y="12783"/>
                    </a:cubicBezTo>
                    <a:close/>
                    <a:moveTo>
                      <a:pt x="23577" y="12783"/>
                    </a:moveTo>
                    <a:cubicBezTo>
                      <a:pt x="23577" y="6544"/>
                      <a:pt x="19044" y="1701"/>
                      <a:pt x="12856" y="1701"/>
                    </a:cubicBezTo>
                    <a:cubicBezTo>
                      <a:pt x="6668" y="1701"/>
                      <a:pt x="2048" y="6588"/>
                      <a:pt x="2048" y="12783"/>
                    </a:cubicBezTo>
                    <a:cubicBezTo>
                      <a:pt x="2048" y="18978"/>
                      <a:pt x="6624" y="23952"/>
                      <a:pt x="12856" y="23952"/>
                    </a:cubicBezTo>
                    <a:cubicBezTo>
                      <a:pt x="19088" y="23952"/>
                      <a:pt x="23577" y="19065"/>
                      <a:pt x="23577" y="12783"/>
                    </a:cubicBezTo>
                    <a:close/>
                    <a:moveTo>
                      <a:pt x="19219" y="19938"/>
                    </a:moveTo>
                    <a:lnTo>
                      <a:pt x="17127" y="19938"/>
                    </a:lnTo>
                    <a:lnTo>
                      <a:pt x="13030" y="13350"/>
                    </a:lnTo>
                    <a:lnTo>
                      <a:pt x="9805" y="13350"/>
                    </a:lnTo>
                    <a:lnTo>
                      <a:pt x="9805" y="19938"/>
                    </a:lnTo>
                    <a:lnTo>
                      <a:pt x="8062" y="19938"/>
                    </a:lnTo>
                    <a:lnTo>
                      <a:pt x="8062" y="5628"/>
                    </a:lnTo>
                    <a:lnTo>
                      <a:pt x="14338" y="5628"/>
                    </a:lnTo>
                    <a:cubicBezTo>
                      <a:pt x="18129" y="5628"/>
                      <a:pt x="19393" y="7068"/>
                      <a:pt x="19393" y="9424"/>
                    </a:cubicBezTo>
                    <a:cubicBezTo>
                      <a:pt x="19393" y="12216"/>
                      <a:pt x="17432" y="13263"/>
                      <a:pt x="14904" y="13350"/>
                    </a:cubicBezTo>
                    <a:lnTo>
                      <a:pt x="19219" y="19938"/>
                    </a:lnTo>
                    <a:close/>
                    <a:moveTo>
                      <a:pt x="12507" y="11954"/>
                    </a:moveTo>
                    <a:cubicBezTo>
                      <a:pt x="14556" y="11954"/>
                      <a:pt x="17519" y="12303"/>
                      <a:pt x="17519" y="9380"/>
                    </a:cubicBezTo>
                    <a:cubicBezTo>
                      <a:pt x="17519" y="7155"/>
                      <a:pt x="15689" y="6893"/>
                      <a:pt x="13946" y="6893"/>
                    </a:cubicBezTo>
                    <a:lnTo>
                      <a:pt x="9849" y="6893"/>
                    </a:lnTo>
                    <a:lnTo>
                      <a:pt x="9849" y="11954"/>
                    </a:lnTo>
                    <a:lnTo>
                      <a:pt x="12507" y="11954"/>
                    </a:lnTo>
                    <a:close/>
                  </a:path>
                </a:pathLst>
              </a:custGeom>
              <a:solidFill>
                <a:schemeClr val="bg1"/>
              </a:solidFill>
              <a:ln w="4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FC315605-5063-7C29-C984-2FF2B052EFBA}"/>
                </a:ext>
              </a:extLst>
            </p:cNvPr>
            <p:cNvSpPr/>
            <p:nvPr/>
          </p:nvSpPr>
          <p:spPr>
            <a:xfrm>
              <a:off x="10867024" y="582986"/>
              <a:ext cx="42490" cy="24824"/>
            </a:xfrm>
            <a:custGeom>
              <a:avLst/>
              <a:gdLst>
                <a:gd name="connsiteX0" fmla="*/ 9239 w 42490"/>
                <a:gd name="connsiteY0" fmla="*/ 2661 h 24824"/>
                <a:gd name="connsiteX1" fmla="*/ 5709 w 42490"/>
                <a:gd name="connsiteY1" fmla="*/ 4668 h 24824"/>
                <a:gd name="connsiteX2" fmla="*/ 2615 w 42490"/>
                <a:gd name="connsiteY2" fmla="*/ 7024 h 24824"/>
                <a:gd name="connsiteX3" fmla="*/ 1656 w 42490"/>
                <a:gd name="connsiteY3" fmla="*/ 9162 h 24824"/>
                <a:gd name="connsiteX4" fmla="*/ 392 w 42490"/>
                <a:gd name="connsiteY4" fmla="*/ 10994 h 24824"/>
                <a:gd name="connsiteX5" fmla="*/ 87 w 42490"/>
                <a:gd name="connsiteY5" fmla="*/ 11649 h 24824"/>
                <a:gd name="connsiteX6" fmla="*/ 0 w 42490"/>
                <a:gd name="connsiteY6" fmla="*/ 12303 h 24824"/>
                <a:gd name="connsiteX7" fmla="*/ 174 w 42490"/>
                <a:gd name="connsiteY7" fmla="*/ 13045 h 24824"/>
                <a:gd name="connsiteX8" fmla="*/ 1351 w 42490"/>
                <a:gd name="connsiteY8" fmla="*/ 16273 h 24824"/>
                <a:gd name="connsiteX9" fmla="*/ 3399 w 42490"/>
                <a:gd name="connsiteY9" fmla="*/ 17538 h 24824"/>
                <a:gd name="connsiteX10" fmla="*/ 5753 w 42490"/>
                <a:gd name="connsiteY10" fmla="*/ 20200 h 24824"/>
                <a:gd name="connsiteX11" fmla="*/ 7452 w 42490"/>
                <a:gd name="connsiteY11" fmla="*/ 21814 h 24824"/>
                <a:gd name="connsiteX12" fmla="*/ 9893 w 42490"/>
                <a:gd name="connsiteY12" fmla="*/ 22992 h 24824"/>
                <a:gd name="connsiteX13" fmla="*/ 12333 w 42490"/>
                <a:gd name="connsiteY13" fmla="*/ 23733 h 24824"/>
                <a:gd name="connsiteX14" fmla="*/ 15776 w 42490"/>
                <a:gd name="connsiteY14" fmla="*/ 23733 h 24824"/>
                <a:gd name="connsiteX15" fmla="*/ 18042 w 42490"/>
                <a:gd name="connsiteY15" fmla="*/ 24170 h 24824"/>
                <a:gd name="connsiteX16" fmla="*/ 20483 w 42490"/>
                <a:gd name="connsiteY16" fmla="*/ 24388 h 24824"/>
                <a:gd name="connsiteX17" fmla="*/ 23795 w 42490"/>
                <a:gd name="connsiteY17" fmla="*/ 24606 h 24824"/>
                <a:gd name="connsiteX18" fmla="*/ 26976 w 42490"/>
                <a:gd name="connsiteY18" fmla="*/ 24824 h 24824"/>
                <a:gd name="connsiteX19" fmla="*/ 30942 w 42490"/>
                <a:gd name="connsiteY19" fmla="*/ 24519 h 24824"/>
                <a:gd name="connsiteX20" fmla="*/ 33949 w 42490"/>
                <a:gd name="connsiteY20" fmla="*/ 23646 h 24824"/>
                <a:gd name="connsiteX21" fmla="*/ 37566 w 42490"/>
                <a:gd name="connsiteY21" fmla="*/ 22163 h 24824"/>
                <a:gd name="connsiteX22" fmla="*/ 39178 w 42490"/>
                <a:gd name="connsiteY22" fmla="*/ 20331 h 24824"/>
                <a:gd name="connsiteX23" fmla="*/ 41009 w 42490"/>
                <a:gd name="connsiteY23" fmla="*/ 18629 h 24824"/>
                <a:gd name="connsiteX24" fmla="*/ 42490 w 42490"/>
                <a:gd name="connsiteY24" fmla="*/ 16273 h 24824"/>
                <a:gd name="connsiteX25" fmla="*/ 42403 w 42490"/>
                <a:gd name="connsiteY25" fmla="*/ 13830 h 24824"/>
                <a:gd name="connsiteX26" fmla="*/ 41749 w 42490"/>
                <a:gd name="connsiteY26" fmla="*/ 10296 h 24824"/>
                <a:gd name="connsiteX27" fmla="*/ 37914 w 42490"/>
                <a:gd name="connsiteY27" fmla="*/ 4712 h 24824"/>
                <a:gd name="connsiteX28" fmla="*/ 34515 w 42490"/>
                <a:gd name="connsiteY28" fmla="*/ 2138 h 24824"/>
                <a:gd name="connsiteX29" fmla="*/ 32816 w 42490"/>
                <a:gd name="connsiteY29" fmla="*/ 1309 h 24824"/>
                <a:gd name="connsiteX30" fmla="*/ 31552 w 42490"/>
                <a:gd name="connsiteY30" fmla="*/ 829 h 24824"/>
                <a:gd name="connsiteX31" fmla="*/ 30332 w 42490"/>
                <a:gd name="connsiteY31" fmla="*/ 654 h 24824"/>
                <a:gd name="connsiteX32" fmla="*/ 26366 w 42490"/>
                <a:gd name="connsiteY32" fmla="*/ 960 h 24824"/>
                <a:gd name="connsiteX33" fmla="*/ 22400 w 42490"/>
                <a:gd name="connsiteY33" fmla="*/ 305 h 24824"/>
                <a:gd name="connsiteX34" fmla="*/ 20483 w 42490"/>
                <a:gd name="connsiteY34" fmla="*/ 0 h 24824"/>
                <a:gd name="connsiteX35" fmla="*/ 18042 w 42490"/>
                <a:gd name="connsiteY35" fmla="*/ 524 h 24824"/>
                <a:gd name="connsiteX36" fmla="*/ 14817 w 42490"/>
                <a:gd name="connsiteY36" fmla="*/ 960 h 24824"/>
                <a:gd name="connsiteX37" fmla="*/ 12769 w 42490"/>
                <a:gd name="connsiteY37" fmla="*/ 1701 h 24824"/>
                <a:gd name="connsiteX38" fmla="*/ 9239 w 42490"/>
                <a:gd name="connsiteY38" fmla="*/ 2661 h 24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2490" h="24824">
                  <a:moveTo>
                    <a:pt x="9239" y="2661"/>
                  </a:moveTo>
                  <a:lnTo>
                    <a:pt x="5709" y="4668"/>
                  </a:lnTo>
                  <a:lnTo>
                    <a:pt x="2615" y="7024"/>
                  </a:lnTo>
                  <a:lnTo>
                    <a:pt x="1656" y="9162"/>
                  </a:lnTo>
                  <a:lnTo>
                    <a:pt x="392" y="10994"/>
                  </a:lnTo>
                  <a:lnTo>
                    <a:pt x="87" y="11649"/>
                  </a:lnTo>
                  <a:lnTo>
                    <a:pt x="0" y="12303"/>
                  </a:lnTo>
                  <a:lnTo>
                    <a:pt x="174" y="13045"/>
                  </a:lnTo>
                  <a:lnTo>
                    <a:pt x="1351" y="16273"/>
                  </a:lnTo>
                  <a:lnTo>
                    <a:pt x="3399" y="17538"/>
                  </a:lnTo>
                  <a:lnTo>
                    <a:pt x="5753" y="20200"/>
                  </a:lnTo>
                  <a:lnTo>
                    <a:pt x="7452" y="21814"/>
                  </a:lnTo>
                  <a:lnTo>
                    <a:pt x="9893" y="22992"/>
                  </a:lnTo>
                  <a:lnTo>
                    <a:pt x="12333" y="23733"/>
                  </a:lnTo>
                  <a:lnTo>
                    <a:pt x="15776" y="23733"/>
                  </a:lnTo>
                  <a:lnTo>
                    <a:pt x="18042" y="24170"/>
                  </a:lnTo>
                  <a:lnTo>
                    <a:pt x="20483" y="24388"/>
                  </a:lnTo>
                  <a:lnTo>
                    <a:pt x="23795" y="24606"/>
                  </a:lnTo>
                  <a:lnTo>
                    <a:pt x="26976" y="24824"/>
                  </a:lnTo>
                  <a:lnTo>
                    <a:pt x="30942" y="24519"/>
                  </a:lnTo>
                  <a:lnTo>
                    <a:pt x="33949" y="23646"/>
                  </a:lnTo>
                  <a:lnTo>
                    <a:pt x="37566" y="22163"/>
                  </a:lnTo>
                  <a:lnTo>
                    <a:pt x="39178" y="20331"/>
                  </a:lnTo>
                  <a:lnTo>
                    <a:pt x="41009" y="18629"/>
                  </a:lnTo>
                  <a:lnTo>
                    <a:pt x="42490" y="16273"/>
                  </a:lnTo>
                  <a:lnTo>
                    <a:pt x="42403" y="13830"/>
                  </a:lnTo>
                  <a:lnTo>
                    <a:pt x="41749" y="10296"/>
                  </a:lnTo>
                  <a:lnTo>
                    <a:pt x="37914" y="4712"/>
                  </a:lnTo>
                  <a:lnTo>
                    <a:pt x="34515" y="2138"/>
                  </a:lnTo>
                  <a:lnTo>
                    <a:pt x="32816" y="1309"/>
                  </a:lnTo>
                  <a:lnTo>
                    <a:pt x="31552" y="829"/>
                  </a:lnTo>
                  <a:lnTo>
                    <a:pt x="30332" y="654"/>
                  </a:lnTo>
                  <a:lnTo>
                    <a:pt x="26366" y="960"/>
                  </a:lnTo>
                  <a:lnTo>
                    <a:pt x="22400" y="305"/>
                  </a:lnTo>
                  <a:lnTo>
                    <a:pt x="20483" y="0"/>
                  </a:lnTo>
                  <a:lnTo>
                    <a:pt x="18042" y="524"/>
                  </a:lnTo>
                  <a:lnTo>
                    <a:pt x="14817" y="960"/>
                  </a:lnTo>
                  <a:lnTo>
                    <a:pt x="12769" y="1701"/>
                  </a:lnTo>
                  <a:lnTo>
                    <a:pt x="9239" y="2661"/>
                  </a:lnTo>
                </a:path>
              </a:pathLst>
            </a:custGeom>
            <a:solidFill>
              <a:schemeClr val="bg1"/>
            </a:solidFill>
            <a:ln w="4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BD8BCDD1-090A-C6AE-70BB-B9864F5BB458}"/>
                </a:ext>
              </a:extLst>
            </p:cNvPr>
            <p:cNvSpPr/>
            <p:nvPr/>
          </p:nvSpPr>
          <p:spPr>
            <a:xfrm>
              <a:off x="10870467" y="643977"/>
              <a:ext cx="36258" cy="9641"/>
            </a:xfrm>
            <a:custGeom>
              <a:avLst/>
              <a:gdLst>
                <a:gd name="connsiteX0" fmla="*/ 741 w 36258"/>
                <a:gd name="connsiteY0" fmla="*/ 218 h 9641"/>
                <a:gd name="connsiteX1" fmla="*/ 19785 w 36258"/>
                <a:gd name="connsiteY1" fmla="*/ 654 h 9641"/>
                <a:gd name="connsiteX2" fmla="*/ 22618 w 36258"/>
                <a:gd name="connsiteY2" fmla="*/ 87 h 9641"/>
                <a:gd name="connsiteX3" fmla="*/ 26279 w 36258"/>
                <a:gd name="connsiteY3" fmla="*/ 0 h 9641"/>
                <a:gd name="connsiteX4" fmla="*/ 29939 w 36258"/>
                <a:gd name="connsiteY4" fmla="*/ 393 h 9641"/>
                <a:gd name="connsiteX5" fmla="*/ 32728 w 36258"/>
                <a:gd name="connsiteY5" fmla="*/ 1178 h 9641"/>
                <a:gd name="connsiteX6" fmla="*/ 34864 w 36258"/>
                <a:gd name="connsiteY6" fmla="*/ 2618 h 9641"/>
                <a:gd name="connsiteX7" fmla="*/ 35648 w 36258"/>
                <a:gd name="connsiteY7" fmla="*/ 3621 h 9641"/>
                <a:gd name="connsiteX8" fmla="*/ 36128 w 36258"/>
                <a:gd name="connsiteY8" fmla="*/ 4668 h 9641"/>
                <a:gd name="connsiteX9" fmla="*/ 36258 w 36258"/>
                <a:gd name="connsiteY9" fmla="*/ 5802 h 9641"/>
                <a:gd name="connsiteX10" fmla="*/ 35910 w 36258"/>
                <a:gd name="connsiteY10" fmla="*/ 6980 h 9641"/>
                <a:gd name="connsiteX11" fmla="*/ 35082 w 36258"/>
                <a:gd name="connsiteY11" fmla="*/ 8115 h 9641"/>
                <a:gd name="connsiteX12" fmla="*/ 33600 w 36258"/>
                <a:gd name="connsiteY12" fmla="*/ 9205 h 9641"/>
                <a:gd name="connsiteX13" fmla="*/ 31421 w 36258"/>
                <a:gd name="connsiteY13" fmla="*/ 9642 h 9641"/>
                <a:gd name="connsiteX14" fmla="*/ 27542 w 36258"/>
                <a:gd name="connsiteY14" fmla="*/ 9642 h 9641"/>
                <a:gd name="connsiteX15" fmla="*/ 17083 w 36258"/>
                <a:gd name="connsiteY15" fmla="*/ 8856 h 9641"/>
                <a:gd name="connsiteX16" fmla="*/ 1133 w 36258"/>
                <a:gd name="connsiteY16" fmla="*/ 7024 h 9641"/>
                <a:gd name="connsiteX17" fmla="*/ 523 w 36258"/>
                <a:gd name="connsiteY17" fmla="*/ 6762 h 9641"/>
                <a:gd name="connsiteX18" fmla="*/ 174 w 36258"/>
                <a:gd name="connsiteY18" fmla="*/ 6152 h 9641"/>
                <a:gd name="connsiteX19" fmla="*/ 0 w 36258"/>
                <a:gd name="connsiteY19" fmla="*/ 4188 h 9641"/>
                <a:gd name="connsiteX20" fmla="*/ 741 w 36258"/>
                <a:gd name="connsiteY20" fmla="*/ 218 h 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6258" h="9641">
                  <a:moveTo>
                    <a:pt x="741" y="218"/>
                  </a:moveTo>
                  <a:lnTo>
                    <a:pt x="19785" y="654"/>
                  </a:lnTo>
                  <a:lnTo>
                    <a:pt x="22618" y="87"/>
                  </a:lnTo>
                  <a:lnTo>
                    <a:pt x="26279" y="0"/>
                  </a:lnTo>
                  <a:lnTo>
                    <a:pt x="29939" y="393"/>
                  </a:lnTo>
                  <a:lnTo>
                    <a:pt x="32728" y="1178"/>
                  </a:lnTo>
                  <a:lnTo>
                    <a:pt x="34864" y="2618"/>
                  </a:lnTo>
                  <a:lnTo>
                    <a:pt x="35648" y="3621"/>
                  </a:lnTo>
                  <a:lnTo>
                    <a:pt x="36128" y="4668"/>
                  </a:lnTo>
                  <a:lnTo>
                    <a:pt x="36258" y="5802"/>
                  </a:lnTo>
                  <a:lnTo>
                    <a:pt x="35910" y="6980"/>
                  </a:lnTo>
                  <a:lnTo>
                    <a:pt x="35082" y="8115"/>
                  </a:lnTo>
                  <a:lnTo>
                    <a:pt x="33600" y="9205"/>
                  </a:lnTo>
                  <a:lnTo>
                    <a:pt x="31421" y="9642"/>
                  </a:lnTo>
                  <a:lnTo>
                    <a:pt x="27542" y="9642"/>
                  </a:lnTo>
                  <a:lnTo>
                    <a:pt x="17083" y="8856"/>
                  </a:lnTo>
                  <a:lnTo>
                    <a:pt x="1133" y="7024"/>
                  </a:lnTo>
                  <a:lnTo>
                    <a:pt x="523" y="6762"/>
                  </a:lnTo>
                  <a:lnTo>
                    <a:pt x="174" y="6152"/>
                  </a:lnTo>
                  <a:lnTo>
                    <a:pt x="0" y="4188"/>
                  </a:lnTo>
                  <a:lnTo>
                    <a:pt x="741" y="218"/>
                  </a:lnTo>
                </a:path>
              </a:pathLst>
            </a:custGeom>
            <a:solidFill>
              <a:schemeClr val="bg1"/>
            </a:solidFill>
            <a:ln w="4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C951F30A-5557-FC58-FE12-B976AE57996C}"/>
                </a:ext>
              </a:extLst>
            </p:cNvPr>
            <p:cNvSpPr/>
            <p:nvPr/>
          </p:nvSpPr>
          <p:spPr>
            <a:xfrm>
              <a:off x="10872297" y="661777"/>
              <a:ext cx="34950" cy="9467"/>
            </a:xfrm>
            <a:custGeom>
              <a:avLst/>
              <a:gdLst>
                <a:gd name="connsiteX0" fmla="*/ 4271 w 34950"/>
                <a:gd name="connsiteY0" fmla="*/ 0 h 9467"/>
                <a:gd name="connsiteX1" fmla="*/ 5927 w 34950"/>
                <a:gd name="connsiteY1" fmla="*/ 1003 h 9467"/>
                <a:gd name="connsiteX2" fmla="*/ 6973 w 34950"/>
                <a:gd name="connsiteY2" fmla="*/ 1614 h 9467"/>
                <a:gd name="connsiteX3" fmla="*/ 8149 w 34950"/>
                <a:gd name="connsiteY3" fmla="*/ 1920 h 9467"/>
                <a:gd name="connsiteX4" fmla="*/ 8977 w 34950"/>
                <a:gd name="connsiteY4" fmla="*/ 1745 h 9467"/>
                <a:gd name="connsiteX5" fmla="*/ 9936 w 34950"/>
                <a:gd name="connsiteY5" fmla="*/ 1309 h 9467"/>
                <a:gd name="connsiteX6" fmla="*/ 10895 w 34950"/>
                <a:gd name="connsiteY6" fmla="*/ 829 h 9467"/>
                <a:gd name="connsiteX7" fmla="*/ 11854 w 34950"/>
                <a:gd name="connsiteY7" fmla="*/ 611 h 9467"/>
                <a:gd name="connsiteX8" fmla="*/ 13510 w 34950"/>
                <a:gd name="connsiteY8" fmla="*/ 1222 h 9467"/>
                <a:gd name="connsiteX9" fmla="*/ 15297 w 34950"/>
                <a:gd name="connsiteY9" fmla="*/ 1832 h 9467"/>
                <a:gd name="connsiteX10" fmla="*/ 16778 w 34950"/>
                <a:gd name="connsiteY10" fmla="*/ 1352 h 9467"/>
                <a:gd name="connsiteX11" fmla="*/ 18304 w 34950"/>
                <a:gd name="connsiteY11" fmla="*/ 916 h 9467"/>
                <a:gd name="connsiteX12" fmla="*/ 20090 w 34950"/>
                <a:gd name="connsiteY12" fmla="*/ 1571 h 9467"/>
                <a:gd name="connsiteX13" fmla="*/ 20962 w 34950"/>
                <a:gd name="connsiteY13" fmla="*/ 1920 h 9467"/>
                <a:gd name="connsiteX14" fmla="*/ 21833 w 34950"/>
                <a:gd name="connsiteY14" fmla="*/ 1920 h 9467"/>
                <a:gd name="connsiteX15" fmla="*/ 27368 w 34950"/>
                <a:gd name="connsiteY15" fmla="*/ 1178 h 9467"/>
                <a:gd name="connsiteX16" fmla="*/ 31595 w 34950"/>
                <a:gd name="connsiteY16" fmla="*/ 1876 h 9467"/>
                <a:gd name="connsiteX17" fmla="*/ 31857 w 34950"/>
                <a:gd name="connsiteY17" fmla="*/ 2051 h 9467"/>
                <a:gd name="connsiteX18" fmla="*/ 31988 w 34950"/>
                <a:gd name="connsiteY18" fmla="*/ 2269 h 9467"/>
                <a:gd name="connsiteX19" fmla="*/ 31857 w 34950"/>
                <a:gd name="connsiteY19" fmla="*/ 2792 h 9467"/>
                <a:gd name="connsiteX20" fmla="*/ 31683 w 34950"/>
                <a:gd name="connsiteY20" fmla="*/ 3359 h 9467"/>
                <a:gd name="connsiteX21" fmla="*/ 31857 w 34950"/>
                <a:gd name="connsiteY21" fmla="*/ 3883 h 9467"/>
                <a:gd name="connsiteX22" fmla="*/ 32903 w 34950"/>
                <a:gd name="connsiteY22" fmla="*/ 4494 h 9467"/>
                <a:gd name="connsiteX23" fmla="*/ 34079 w 34950"/>
                <a:gd name="connsiteY23" fmla="*/ 4974 h 9467"/>
                <a:gd name="connsiteX24" fmla="*/ 34559 w 34950"/>
                <a:gd name="connsiteY24" fmla="*/ 5323 h 9467"/>
                <a:gd name="connsiteX25" fmla="*/ 34864 w 34950"/>
                <a:gd name="connsiteY25" fmla="*/ 5846 h 9467"/>
                <a:gd name="connsiteX26" fmla="*/ 34951 w 34950"/>
                <a:gd name="connsiteY26" fmla="*/ 6631 h 9467"/>
                <a:gd name="connsiteX27" fmla="*/ 34733 w 34950"/>
                <a:gd name="connsiteY27" fmla="*/ 7722 h 9467"/>
                <a:gd name="connsiteX28" fmla="*/ 34384 w 34950"/>
                <a:gd name="connsiteY28" fmla="*/ 8246 h 9467"/>
                <a:gd name="connsiteX29" fmla="*/ 33600 w 34950"/>
                <a:gd name="connsiteY29" fmla="*/ 8682 h 9467"/>
                <a:gd name="connsiteX30" fmla="*/ 31203 w 34950"/>
                <a:gd name="connsiteY30" fmla="*/ 9205 h 9467"/>
                <a:gd name="connsiteX31" fmla="*/ 23620 w 34950"/>
                <a:gd name="connsiteY31" fmla="*/ 9467 h 9467"/>
                <a:gd name="connsiteX32" fmla="*/ 12769 w 34950"/>
                <a:gd name="connsiteY32" fmla="*/ 8071 h 9467"/>
                <a:gd name="connsiteX33" fmla="*/ 3356 w 34950"/>
                <a:gd name="connsiteY33" fmla="*/ 6326 h 9467"/>
                <a:gd name="connsiteX34" fmla="*/ 1961 w 34950"/>
                <a:gd name="connsiteY34" fmla="*/ 5759 h 9467"/>
                <a:gd name="connsiteX35" fmla="*/ 915 w 34950"/>
                <a:gd name="connsiteY35" fmla="*/ 4494 h 9467"/>
                <a:gd name="connsiteX36" fmla="*/ 218 w 34950"/>
                <a:gd name="connsiteY36" fmla="*/ 3010 h 9467"/>
                <a:gd name="connsiteX37" fmla="*/ 0 w 34950"/>
                <a:gd name="connsiteY37" fmla="*/ 1701 h 9467"/>
                <a:gd name="connsiteX38" fmla="*/ 4271 w 34950"/>
                <a:gd name="connsiteY38" fmla="*/ 0 h 9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4950" h="9467">
                  <a:moveTo>
                    <a:pt x="4271" y="0"/>
                  </a:moveTo>
                  <a:lnTo>
                    <a:pt x="5927" y="1003"/>
                  </a:lnTo>
                  <a:lnTo>
                    <a:pt x="6973" y="1614"/>
                  </a:lnTo>
                  <a:lnTo>
                    <a:pt x="8149" y="1920"/>
                  </a:lnTo>
                  <a:lnTo>
                    <a:pt x="8977" y="1745"/>
                  </a:lnTo>
                  <a:lnTo>
                    <a:pt x="9936" y="1309"/>
                  </a:lnTo>
                  <a:lnTo>
                    <a:pt x="10895" y="829"/>
                  </a:lnTo>
                  <a:lnTo>
                    <a:pt x="11854" y="611"/>
                  </a:lnTo>
                  <a:lnTo>
                    <a:pt x="13510" y="1222"/>
                  </a:lnTo>
                  <a:lnTo>
                    <a:pt x="15297" y="1832"/>
                  </a:lnTo>
                  <a:lnTo>
                    <a:pt x="16778" y="1352"/>
                  </a:lnTo>
                  <a:lnTo>
                    <a:pt x="18304" y="916"/>
                  </a:lnTo>
                  <a:lnTo>
                    <a:pt x="20090" y="1571"/>
                  </a:lnTo>
                  <a:lnTo>
                    <a:pt x="20962" y="1920"/>
                  </a:lnTo>
                  <a:lnTo>
                    <a:pt x="21833" y="1920"/>
                  </a:lnTo>
                  <a:lnTo>
                    <a:pt x="27368" y="1178"/>
                  </a:lnTo>
                  <a:lnTo>
                    <a:pt x="31595" y="1876"/>
                  </a:lnTo>
                  <a:lnTo>
                    <a:pt x="31857" y="2051"/>
                  </a:lnTo>
                  <a:lnTo>
                    <a:pt x="31988" y="2269"/>
                  </a:lnTo>
                  <a:lnTo>
                    <a:pt x="31857" y="2792"/>
                  </a:lnTo>
                  <a:lnTo>
                    <a:pt x="31683" y="3359"/>
                  </a:lnTo>
                  <a:lnTo>
                    <a:pt x="31857" y="3883"/>
                  </a:lnTo>
                  <a:lnTo>
                    <a:pt x="32903" y="4494"/>
                  </a:lnTo>
                  <a:lnTo>
                    <a:pt x="34079" y="4974"/>
                  </a:lnTo>
                  <a:lnTo>
                    <a:pt x="34559" y="5323"/>
                  </a:lnTo>
                  <a:lnTo>
                    <a:pt x="34864" y="5846"/>
                  </a:lnTo>
                  <a:lnTo>
                    <a:pt x="34951" y="6631"/>
                  </a:lnTo>
                  <a:lnTo>
                    <a:pt x="34733" y="7722"/>
                  </a:lnTo>
                  <a:lnTo>
                    <a:pt x="34384" y="8246"/>
                  </a:lnTo>
                  <a:lnTo>
                    <a:pt x="33600" y="8682"/>
                  </a:lnTo>
                  <a:lnTo>
                    <a:pt x="31203" y="9205"/>
                  </a:lnTo>
                  <a:lnTo>
                    <a:pt x="23620" y="9467"/>
                  </a:lnTo>
                  <a:lnTo>
                    <a:pt x="12769" y="8071"/>
                  </a:lnTo>
                  <a:lnTo>
                    <a:pt x="3356" y="6326"/>
                  </a:lnTo>
                  <a:lnTo>
                    <a:pt x="1961" y="5759"/>
                  </a:lnTo>
                  <a:lnTo>
                    <a:pt x="915" y="4494"/>
                  </a:lnTo>
                  <a:lnTo>
                    <a:pt x="218" y="3010"/>
                  </a:lnTo>
                  <a:lnTo>
                    <a:pt x="0" y="1701"/>
                  </a:lnTo>
                  <a:lnTo>
                    <a:pt x="4271" y="0"/>
                  </a:lnTo>
                </a:path>
              </a:pathLst>
            </a:custGeom>
            <a:solidFill>
              <a:schemeClr val="bg1"/>
            </a:solidFill>
            <a:ln w="4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AEE981CA-9900-7995-E732-4A992E3728AC}"/>
                </a:ext>
              </a:extLst>
            </p:cNvPr>
            <p:cNvSpPr/>
            <p:nvPr/>
          </p:nvSpPr>
          <p:spPr>
            <a:xfrm>
              <a:off x="10870597" y="672030"/>
              <a:ext cx="36171" cy="10296"/>
            </a:xfrm>
            <a:custGeom>
              <a:avLst/>
              <a:gdLst>
                <a:gd name="connsiteX0" fmla="*/ 3399 w 36171"/>
                <a:gd name="connsiteY0" fmla="*/ 0 h 10296"/>
                <a:gd name="connsiteX1" fmla="*/ 6319 w 36171"/>
                <a:gd name="connsiteY1" fmla="*/ 1134 h 10296"/>
                <a:gd name="connsiteX2" fmla="*/ 7757 w 36171"/>
                <a:gd name="connsiteY2" fmla="*/ 1658 h 10296"/>
                <a:gd name="connsiteX3" fmla="*/ 9195 w 36171"/>
                <a:gd name="connsiteY3" fmla="*/ 1614 h 10296"/>
                <a:gd name="connsiteX4" fmla="*/ 22139 w 36171"/>
                <a:gd name="connsiteY4" fmla="*/ 1003 h 10296"/>
                <a:gd name="connsiteX5" fmla="*/ 27325 w 36171"/>
                <a:gd name="connsiteY5" fmla="*/ 1483 h 10296"/>
                <a:gd name="connsiteX6" fmla="*/ 31377 w 36171"/>
                <a:gd name="connsiteY6" fmla="*/ 2487 h 10296"/>
                <a:gd name="connsiteX7" fmla="*/ 33208 w 36171"/>
                <a:gd name="connsiteY7" fmla="*/ 2967 h 10296"/>
                <a:gd name="connsiteX8" fmla="*/ 34254 w 36171"/>
                <a:gd name="connsiteY8" fmla="*/ 3403 h 10296"/>
                <a:gd name="connsiteX9" fmla="*/ 35082 w 36171"/>
                <a:gd name="connsiteY9" fmla="*/ 4014 h 10296"/>
                <a:gd name="connsiteX10" fmla="*/ 35997 w 36171"/>
                <a:gd name="connsiteY10" fmla="*/ 5628 h 10296"/>
                <a:gd name="connsiteX11" fmla="*/ 36171 w 36171"/>
                <a:gd name="connsiteY11" fmla="*/ 7199 h 10296"/>
                <a:gd name="connsiteX12" fmla="*/ 35779 w 36171"/>
                <a:gd name="connsiteY12" fmla="*/ 8551 h 10296"/>
                <a:gd name="connsiteX13" fmla="*/ 35082 w 36171"/>
                <a:gd name="connsiteY13" fmla="*/ 9424 h 10296"/>
                <a:gd name="connsiteX14" fmla="*/ 35082 w 36171"/>
                <a:gd name="connsiteY14" fmla="*/ 10296 h 10296"/>
                <a:gd name="connsiteX15" fmla="*/ 22400 w 36171"/>
                <a:gd name="connsiteY15" fmla="*/ 10253 h 10296"/>
                <a:gd name="connsiteX16" fmla="*/ 18173 w 36171"/>
                <a:gd name="connsiteY16" fmla="*/ 10296 h 10296"/>
                <a:gd name="connsiteX17" fmla="*/ 13989 w 36171"/>
                <a:gd name="connsiteY17" fmla="*/ 9947 h 10296"/>
                <a:gd name="connsiteX18" fmla="*/ 9805 w 36171"/>
                <a:gd name="connsiteY18" fmla="*/ 9205 h 10296"/>
                <a:gd name="connsiteX19" fmla="*/ 6058 w 36171"/>
                <a:gd name="connsiteY19" fmla="*/ 8595 h 10296"/>
                <a:gd name="connsiteX20" fmla="*/ 3356 w 36171"/>
                <a:gd name="connsiteY20" fmla="*/ 8158 h 10296"/>
                <a:gd name="connsiteX21" fmla="*/ 2266 w 36171"/>
                <a:gd name="connsiteY21" fmla="*/ 7897 h 10296"/>
                <a:gd name="connsiteX22" fmla="*/ 1525 w 36171"/>
                <a:gd name="connsiteY22" fmla="*/ 7199 h 10296"/>
                <a:gd name="connsiteX23" fmla="*/ 479 w 36171"/>
                <a:gd name="connsiteY23" fmla="*/ 4974 h 10296"/>
                <a:gd name="connsiteX24" fmla="*/ 0 w 36171"/>
                <a:gd name="connsiteY24" fmla="*/ 2574 h 10296"/>
                <a:gd name="connsiteX25" fmla="*/ 3399 w 36171"/>
                <a:gd name="connsiteY25" fmla="*/ 0 h 1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171" h="10296">
                  <a:moveTo>
                    <a:pt x="3399" y="0"/>
                  </a:moveTo>
                  <a:lnTo>
                    <a:pt x="6319" y="1134"/>
                  </a:lnTo>
                  <a:lnTo>
                    <a:pt x="7757" y="1658"/>
                  </a:lnTo>
                  <a:lnTo>
                    <a:pt x="9195" y="1614"/>
                  </a:lnTo>
                  <a:lnTo>
                    <a:pt x="22139" y="1003"/>
                  </a:lnTo>
                  <a:lnTo>
                    <a:pt x="27325" y="1483"/>
                  </a:lnTo>
                  <a:lnTo>
                    <a:pt x="31377" y="2487"/>
                  </a:lnTo>
                  <a:lnTo>
                    <a:pt x="33208" y="2967"/>
                  </a:lnTo>
                  <a:lnTo>
                    <a:pt x="34254" y="3403"/>
                  </a:lnTo>
                  <a:lnTo>
                    <a:pt x="35082" y="4014"/>
                  </a:lnTo>
                  <a:lnTo>
                    <a:pt x="35997" y="5628"/>
                  </a:lnTo>
                  <a:lnTo>
                    <a:pt x="36171" y="7199"/>
                  </a:lnTo>
                  <a:lnTo>
                    <a:pt x="35779" y="8551"/>
                  </a:lnTo>
                  <a:lnTo>
                    <a:pt x="35082" y="9424"/>
                  </a:lnTo>
                  <a:lnTo>
                    <a:pt x="35082" y="10296"/>
                  </a:lnTo>
                  <a:lnTo>
                    <a:pt x="22400" y="10253"/>
                  </a:lnTo>
                  <a:lnTo>
                    <a:pt x="18173" y="10296"/>
                  </a:lnTo>
                  <a:lnTo>
                    <a:pt x="13989" y="9947"/>
                  </a:lnTo>
                  <a:lnTo>
                    <a:pt x="9805" y="9205"/>
                  </a:lnTo>
                  <a:lnTo>
                    <a:pt x="6058" y="8595"/>
                  </a:lnTo>
                  <a:lnTo>
                    <a:pt x="3356" y="8158"/>
                  </a:lnTo>
                  <a:lnTo>
                    <a:pt x="2266" y="7897"/>
                  </a:lnTo>
                  <a:lnTo>
                    <a:pt x="1525" y="7199"/>
                  </a:lnTo>
                  <a:lnTo>
                    <a:pt x="479" y="4974"/>
                  </a:lnTo>
                  <a:lnTo>
                    <a:pt x="0" y="2574"/>
                  </a:lnTo>
                  <a:lnTo>
                    <a:pt x="3399" y="0"/>
                  </a:lnTo>
                </a:path>
              </a:pathLst>
            </a:custGeom>
            <a:solidFill>
              <a:schemeClr val="bg1"/>
            </a:solidFill>
            <a:ln w="4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EE8FDB61-1110-B408-F0FD-2A29E2650D8D}"/>
                </a:ext>
              </a:extLst>
            </p:cNvPr>
            <p:cNvSpPr/>
            <p:nvPr/>
          </p:nvSpPr>
          <p:spPr>
            <a:xfrm>
              <a:off x="10870641" y="687169"/>
              <a:ext cx="36781" cy="16883"/>
            </a:xfrm>
            <a:custGeom>
              <a:avLst/>
              <a:gdLst>
                <a:gd name="connsiteX0" fmla="*/ 4314 w 36781"/>
                <a:gd name="connsiteY0" fmla="*/ 0 h 16883"/>
                <a:gd name="connsiteX1" fmla="*/ 10067 w 36781"/>
                <a:gd name="connsiteY1" fmla="*/ 742 h 16883"/>
                <a:gd name="connsiteX2" fmla="*/ 11984 w 36781"/>
                <a:gd name="connsiteY2" fmla="*/ 960 h 16883"/>
                <a:gd name="connsiteX3" fmla="*/ 13640 w 36781"/>
                <a:gd name="connsiteY3" fmla="*/ 654 h 16883"/>
                <a:gd name="connsiteX4" fmla="*/ 15863 w 36781"/>
                <a:gd name="connsiteY4" fmla="*/ 436 h 16883"/>
                <a:gd name="connsiteX5" fmla="*/ 19349 w 36781"/>
                <a:gd name="connsiteY5" fmla="*/ 698 h 16883"/>
                <a:gd name="connsiteX6" fmla="*/ 24361 w 36781"/>
                <a:gd name="connsiteY6" fmla="*/ 785 h 16883"/>
                <a:gd name="connsiteX7" fmla="*/ 29416 w 36781"/>
                <a:gd name="connsiteY7" fmla="*/ 524 h 16883"/>
                <a:gd name="connsiteX8" fmla="*/ 31160 w 36781"/>
                <a:gd name="connsiteY8" fmla="*/ 480 h 16883"/>
                <a:gd name="connsiteX9" fmla="*/ 32641 w 36781"/>
                <a:gd name="connsiteY9" fmla="*/ 1091 h 16883"/>
                <a:gd name="connsiteX10" fmla="*/ 35256 w 36781"/>
                <a:gd name="connsiteY10" fmla="*/ 3272 h 16883"/>
                <a:gd name="connsiteX11" fmla="*/ 36128 w 36781"/>
                <a:gd name="connsiteY11" fmla="*/ 4363 h 16883"/>
                <a:gd name="connsiteX12" fmla="*/ 36651 w 36781"/>
                <a:gd name="connsiteY12" fmla="*/ 5628 h 16883"/>
                <a:gd name="connsiteX13" fmla="*/ 36781 w 36781"/>
                <a:gd name="connsiteY13" fmla="*/ 7024 h 16883"/>
                <a:gd name="connsiteX14" fmla="*/ 36433 w 36781"/>
                <a:gd name="connsiteY14" fmla="*/ 8420 h 16883"/>
                <a:gd name="connsiteX15" fmla="*/ 34907 w 36781"/>
                <a:gd name="connsiteY15" fmla="*/ 12696 h 16883"/>
                <a:gd name="connsiteX16" fmla="*/ 34036 w 36781"/>
                <a:gd name="connsiteY16" fmla="*/ 14572 h 16883"/>
                <a:gd name="connsiteX17" fmla="*/ 32772 w 36781"/>
                <a:gd name="connsiteY17" fmla="*/ 16099 h 16883"/>
                <a:gd name="connsiteX18" fmla="*/ 32031 w 36781"/>
                <a:gd name="connsiteY18" fmla="*/ 16448 h 16883"/>
                <a:gd name="connsiteX19" fmla="*/ 31160 w 36781"/>
                <a:gd name="connsiteY19" fmla="*/ 16491 h 16883"/>
                <a:gd name="connsiteX20" fmla="*/ 29024 w 36781"/>
                <a:gd name="connsiteY20" fmla="*/ 16099 h 16883"/>
                <a:gd name="connsiteX21" fmla="*/ 26802 w 36781"/>
                <a:gd name="connsiteY21" fmla="*/ 15488 h 16883"/>
                <a:gd name="connsiteX22" fmla="*/ 24884 w 36781"/>
                <a:gd name="connsiteY22" fmla="*/ 15226 h 16883"/>
                <a:gd name="connsiteX23" fmla="*/ 23490 w 36781"/>
                <a:gd name="connsiteY23" fmla="*/ 15575 h 16883"/>
                <a:gd name="connsiteX24" fmla="*/ 22269 w 36781"/>
                <a:gd name="connsiteY24" fmla="*/ 16186 h 16883"/>
                <a:gd name="connsiteX25" fmla="*/ 21005 w 36781"/>
                <a:gd name="connsiteY25" fmla="*/ 16709 h 16883"/>
                <a:gd name="connsiteX26" fmla="*/ 19567 w 36781"/>
                <a:gd name="connsiteY26" fmla="*/ 16884 h 16883"/>
                <a:gd name="connsiteX27" fmla="*/ 15471 w 36781"/>
                <a:gd name="connsiteY27" fmla="*/ 15793 h 16883"/>
                <a:gd name="connsiteX28" fmla="*/ 13161 w 36781"/>
                <a:gd name="connsiteY28" fmla="*/ 15488 h 16883"/>
                <a:gd name="connsiteX29" fmla="*/ 10503 w 36781"/>
                <a:gd name="connsiteY29" fmla="*/ 15924 h 16883"/>
                <a:gd name="connsiteX30" fmla="*/ 9805 w 36781"/>
                <a:gd name="connsiteY30" fmla="*/ 16011 h 16883"/>
                <a:gd name="connsiteX31" fmla="*/ 9152 w 36781"/>
                <a:gd name="connsiteY31" fmla="*/ 15706 h 16883"/>
                <a:gd name="connsiteX32" fmla="*/ 8454 w 36781"/>
                <a:gd name="connsiteY32" fmla="*/ 15357 h 16883"/>
                <a:gd name="connsiteX33" fmla="*/ 7714 w 36781"/>
                <a:gd name="connsiteY33" fmla="*/ 15182 h 16883"/>
                <a:gd name="connsiteX34" fmla="*/ 6101 w 36781"/>
                <a:gd name="connsiteY34" fmla="*/ 15139 h 16883"/>
                <a:gd name="connsiteX35" fmla="*/ 5491 w 36781"/>
                <a:gd name="connsiteY35" fmla="*/ 14921 h 16883"/>
                <a:gd name="connsiteX36" fmla="*/ 5186 w 36781"/>
                <a:gd name="connsiteY36" fmla="*/ 14572 h 16883"/>
                <a:gd name="connsiteX37" fmla="*/ 3225 w 36781"/>
                <a:gd name="connsiteY37" fmla="*/ 11561 h 16883"/>
                <a:gd name="connsiteX38" fmla="*/ 1133 w 36781"/>
                <a:gd name="connsiteY38" fmla="*/ 9075 h 16883"/>
                <a:gd name="connsiteX39" fmla="*/ 261 w 36781"/>
                <a:gd name="connsiteY39" fmla="*/ 7940 h 16883"/>
                <a:gd name="connsiteX40" fmla="*/ 0 w 36781"/>
                <a:gd name="connsiteY40" fmla="*/ 6631 h 16883"/>
                <a:gd name="connsiteX41" fmla="*/ 479 w 36781"/>
                <a:gd name="connsiteY41" fmla="*/ 5061 h 16883"/>
                <a:gd name="connsiteX42" fmla="*/ 1612 w 36781"/>
                <a:gd name="connsiteY42" fmla="*/ 3403 h 16883"/>
                <a:gd name="connsiteX43" fmla="*/ 4314 w 36781"/>
                <a:gd name="connsiteY43" fmla="*/ 0 h 16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6781" h="16883">
                  <a:moveTo>
                    <a:pt x="4314" y="0"/>
                  </a:moveTo>
                  <a:lnTo>
                    <a:pt x="10067" y="742"/>
                  </a:lnTo>
                  <a:lnTo>
                    <a:pt x="11984" y="960"/>
                  </a:lnTo>
                  <a:lnTo>
                    <a:pt x="13640" y="654"/>
                  </a:lnTo>
                  <a:lnTo>
                    <a:pt x="15863" y="436"/>
                  </a:lnTo>
                  <a:lnTo>
                    <a:pt x="19349" y="698"/>
                  </a:lnTo>
                  <a:lnTo>
                    <a:pt x="24361" y="785"/>
                  </a:lnTo>
                  <a:lnTo>
                    <a:pt x="29416" y="524"/>
                  </a:lnTo>
                  <a:lnTo>
                    <a:pt x="31160" y="480"/>
                  </a:lnTo>
                  <a:lnTo>
                    <a:pt x="32641" y="1091"/>
                  </a:lnTo>
                  <a:lnTo>
                    <a:pt x="35256" y="3272"/>
                  </a:lnTo>
                  <a:lnTo>
                    <a:pt x="36128" y="4363"/>
                  </a:lnTo>
                  <a:lnTo>
                    <a:pt x="36651" y="5628"/>
                  </a:lnTo>
                  <a:lnTo>
                    <a:pt x="36781" y="7024"/>
                  </a:lnTo>
                  <a:lnTo>
                    <a:pt x="36433" y="8420"/>
                  </a:lnTo>
                  <a:lnTo>
                    <a:pt x="34907" y="12696"/>
                  </a:lnTo>
                  <a:lnTo>
                    <a:pt x="34036" y="14572"/>
                  </a:lnTo>
                  <a:lnTo>
                    <a:pt x="32772" y="16099"/>
                  </a:lnTo>
                  <a:lnTo>
                    <a:pt x="32031" y="16448"/>
                  </a:lnTo>
                  <a:lnTo>
                    <a:pt x="31160" y="16491"/>
                  </a:lnTo>
                  <a:lnTo>
                    <a:pt x="29024" y="16099"/>
                  </a:lnTo>
                  <a:lnTo>
                    <a:pt x="26802" y="15488"/>
                  </a:lnTo>
                  <a:lnTo>
                    <a:pt x="24884" y="15226"/>
                  </a:lnTo>
                  <a:lnTo>
                    <a:pt x="23490" y="15575"/>
                  </a:lnTo>
                  <a:lnTo>
                    <a:pt x="22269" y="16186"/>
                  </a:lnTo>
                  <a:lnTo>
                    <a:pt x="21005" y="16709"/>
                  </a:lnTo>
                  <a:lnTo>
                    <a:pt x="19567" y="16884"/>
                  </a:lnTo>
                  <a:lnTo>
                    <a:pt x="15471" y="15793"/>
                  </a:lnTo>
                  <a:lnTo>
                    <a:pt x="13161" y="15488"/>
                  </a:lnTo>
                  <a:lnTo>
                    <a:pt x="10503" y="15924"/>
                  </a:lnTo>
                  <a:lnTo>
                    <a:pt x="9805" y="16011"/>
                  </a:lnTo>
                  <a:lnTo>
                    <a:pt x="9152" y="15706"/>
                  </a:lnTo>
                  <a:lnTo>
                    <a:pt x="8454" y="15357"/>
                  </a:lnTo>
                  <a:lnTo>
                    <a:pt x="7714" y="15182"/>
                  </a:lnTo>
                  <a:lnTo>
                    <a:pt x="6101" y="15139"/>
                  </a:lnTo>
                  <a:lnTo>
                    <a:pt x="5491" y="14921"/>
                  </a:lnTo>
                  <a:lnTo>
                    <a:pt x="5186" y="14572"/>
                  </a:lnTo>
                  <a:lnTo>
                    <a:pt x="3225" y="11561"/>
                  </a:lnTo>
                  <a:lnTo>
                    <a:pt x="1133" y="9075"/>
                  </a:lnTo>
                  <a:lnTo>
                    <a:pt x="261" y="7940"/>
                  </a:lnTo>
                  <a:lnTo>
                    <a:pt x="0" y="6631"/>
                  </a:lnTo>
                  <a:lnTo>
                    <a:pt x="479" y="5061"/>
                  </a:lnTo>
                  <a:lnTo>
                    <a:pt x="1612" y="3403"/>
                  </a:lnTo>
                  <a:lnTo>
                    <a:pt x="4314" y="0"/>
                  </a:lnTo>
                </a:path>
              </a:pathLst>
            </a:custGeom>
            <a:solidFill>
              <a:schemeClr val="bg1"/>
            </a:solidFill>
            <a:ln w="4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9730C62D-06E3-CD1C-DA2B-2BD52FB0D87A}"/>
                </a:ext>
              </a:extLst>
            </p:cNvPr>
            <p:cNvSpPr/>
            <p:nvPr/>
          </p:nvSpPr>
          <p:spPr>
            <a:xfrm>
              <a:off x="10868070" y="716443"/>
              <a:ext cx="42098" cy="23907"/>
            </a:xfrm>
            <a:custGeom>
              <a:avLst/>
              <a:gdLst>
                <a:gd name="connsiteX0" fmla="*/ 13423 w 42098"/>
                <a:gd name="connsiteY0" fmla="*/ 131 h 23907"/>
                <a:gd name="connsiteX1" fmla="*/ 15558 w 42098"/>
                <a:gd name="connsiteY1" fmla="*/ 0 h 23907"/>
                <a:gd name="connsiteX2" fmla="*/ 17693 w 42098"/>
                <a:gd name="connsiteY2" fmla="*/ 218 h 23907"/>
                <a:gd name="connsiteX3" fmla="*/ 29983 w 42098"/>
                <a:gd name="connsiteY3" fmla="*/ 1440 h 23907"/>
                <a:gd name="connsiteX4" fmla="*/ 33426 w 42098"/>
                <a:gd name="connsiteY4" fmla="*/ 1963 h 23907"/>
                <a:gd name="connsiteX5" fmla="*/ 36694 w 42098"/>
                <a:gd name="connsiteY5" fmla="*/ 2879 h 23907"/>
                <a:gd name="connsiteX6" fmla="*/ 38176 w 42098"/>
                <a:gd name="connsiteY6" fmla="*/ 3796 h 23907"/>
                <a:gd name="connsiteX7" fmla="*/ 39483 w 42098"/>
                <a:gd name="connsiteY7" fmla="*/ 5104 h 23907"/>
                <a:gd name="connsiteX8" fmla="*/ 40573 w 42098"/>
                <a:gd name="connsiteY8" fmla="*/ 7068 h 23907"/>
                <a:gd name="connsiteX9" fmla="*/ 41444 w 42098"/>
                <a:gd name="connsiteY9" fmla="*/ 9685 h 23907"/>
                <a:gd name="connsiteX10" fmla="*/ 42098 w 42098"/>
                <a:gd name="connsiteY10" fmla="*/ 14135 h 23907"/>
                <a:gd name="connsiteX11" fmla="*/ 41880 w 42098"/>
                <a:gd name="connsiteY11" fmla="*/ 16360 h 23907"/>
                <a:gd name="connsiteX12" fmla="*/ 41052 w 42098"/>
                <a:gd name="connsiteY12" fmla="*/ 18411 h 23907"/>
                <a:gd name="connsiteX13" fmla="*/ 39919 w 42098"/>
                <a:gd name="connsiteY13" fmla="*/ 19720 h 23907"/>
                <a:gd name="connsiteX14" fmla="*/ 38437 w 42098"/>
                <a:gd name="connsiteY14" fmla="*/ 20854 h 23907"/>
                <a:gd name="connsiteX15" fmla="*/ 34472 w 42098"/>
                <a:gd name="connsiteY15" fmla="*/ 22556 h 23907"/>
                <a:gd name="connsiteX16" fmla="*/ 24056 w 42098"/>
                <a:gd name="connsiteY16" fmla="*/ 23908 h 23907"/>
                <a:gd name="connsiteX17" fmla="*/ 20744 w 42098"/>
                <a:gd name="connsiteY17" fmla="*/ 23472 h 23907"/>
                <a:gd name="connsiteX18" fmla="*/ 17563 w 42098"/>
                <a:gd name="connsiteY18" fmla="*/ 22556 h 23907"/>
                <a:gd name="connsiteX19" fmla="*/ 14381 w 42098"/>
                <a:gd name="connsiteY19" fmla="*/ 21683 h 23907"/>
                <a:gd name="connsiteX20" fmla="*/ 11287 w 42098"/>
                <a:gd name="connsiteY20" fmla="*/ 21334 h 23907"/>
                <a:gd name="connsiteX21" fmla="*/ 6929 w 42098"/>
                <a:gd name="connsiteY21" fmla="*/ 20810 h 23907"/>
                <a:gd name="connsiteX22" fmla="*/ 3661 w 42098"/>
                <a:gd name="connsiteY22" fmla="*/ 19196 h 23907"/>
                <a:gd name="connsiteX23" fmla="*/ 1482 w 42098"/>
                <a:gd name="connsiteY23" fmla="*/ 16884 h 23907"/>
                <a:gd name="connsiteX24" fmla="*/ 305 w 42098"/>
                <a:gd name="connsiteY24" fmla="*/ 14266 h 23907"/>
                <a:gd name="connsiteX25" fmla="*/ 0 w 42098"/>
                <a:gd name="connsiteY25" fmla="*/ 11387 h 23907"/>
                <a:gd name="connsiteX26" fmla="*/ 697 w 42098"/>
                <a:gd name="connsiteY26" fmla="*/ 8900 h 23907"/>
                <a:gd name="connsiteX27" fmla="*/ 2135 w 42098"/>
                <a:gd name="connsiteY27" fmla="*/ 6806 h 23907"/>
                <a:gd name="connsiteX28" fmla="*/ 4009 w 42098"/>
                <a:gd name="connsiteY28" fmla="*/ 5148 h 23907"/>
                <a:gd name="connsiteX29" fmla="*/ 8106 w 42098"/>
                <a:gd name="connsiteY29" fmla="*/ 2879 h 23907"/>
                <a:gd name="connsiteX30" fmla="*/ 10895 w 42098"/>
                <a:gd name="connsiteY30" fmla="*/ 1876 h 23907"/>
                <a:gd name="connsiteX31" fmla="*/ 11592 w 42098"/>
                <a:gd name="connsiteY31" fmla="*/ 1527 h 23907"/>
                <a:gd name="connsiteX32" fmla="*/ 12072 w 42098"/>
                <a:gd name="connsiteY32" fmla="*/ 1047 h 23907"/>
                <a:gd name="connsiteX33" fmla="*/ 12595 w 42098"/>
                <a:gd name="connsiteY33" fmla="*/ 524 h 23907"/>
                <a:gd name="connsiteX34" fmla="*/ 13423 w 42098"/>
                <a:gd name="connsiteY34" fmla="*/ 131 h 23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2098" h="23907">
                  <a:moveTo>
                    <a:pt x="13423" y="131"/>
                  </a:moveTo>
                  <a:lnTo>
                    <a:pt x="15558" y="0"/>
                  </a:lnTo>
                  <a:lnTo>
                    <a:pt x="17693" y="218"/>
                  </a:lnTo>
                  <a:lnTo>
                    <a:pt x="29983" y="1440"/>
                  </a:lnTo>
                  <a:lnTo>
                    <a:pt x="33426" y="1963"/>
                  </a:lnTo>
                  <a:lnTo>
                    <a:pt x="36694" y="2879"/>
                  </a:lnTo>
                  <a:lnTo>
                    <a:pt x="38176" y="3796"/>
                  </a:lnTo>
                  <a:lnTo>
                    <a:pt x="39483" y="5104"/>
                  </a:lnTo>
                  <a:lnTo>
                    <a:pt x="40573" y="7068"/>
                  </a:lnTo>
                  <a:lnTo>
                    <a:pt x="41444" y="9685"/>
                  </a:lnTo>
                  <a:lnTo>
                    <a:pt x="42098" y="14135"/>
                  </a:lnTo>
                  <a:lnTo>
                    <a:pt x="41880" y="16360"/>
                  </a:lnTo>
                  <a:lnTo>
                    <a:pt x="41052" y="18411"/>
                  </a:lnTo>
                  <a:lnTo>
                    <a:pt x="39919" y="19720"/>
                  </a:lnTo>
                  <a:lnTo>
                    <a:pt x="38437" y="20854"/>
                  </a:lnTo>
                  <a:lnTo>
                    <a:pt x="34472" y="22556"/>
                  </a:lnTo>
                  <a:lnTo>
                    <a:pt x="24056" y="23908"/>
                  </a:lnTo>
                  <a:lnTo>
                    <a:pt x="20744" y="23472"/>
                  </a:lnTo>
                  <a:lnTo>
                    <a:pt x="17563" y="22556"/>
                  </a:lnTo>
                  <a:lnTo>
                    <a:pt x="14381" y="21683"/>
                  </a:lnTo>
                  <a:lnTo>
                    <a:pt x="11287" y="21334"/>
                  </a:lnTo>
                  <a:lnTo>
                    <a:pt x="6929" y="20810"/>
                  </a:lnTo>
                  <a:lnTo>
                    <a:pt x="3661" y="19196"/>
                  </a:lnTo>
                  <a:lnTo>
                    <a:pt x="1482" y="16884"/>
                  </a:lnTo>
                  <a:lnTo>
                    <a:pt x="305" y="14266"/>
                  </a:lnTo>
                  <a:lnTo>
                    <a:pt x="0" y="11387"/>
                  </a:lnTo>
                  <a:lnTo>
                    <a:pt x="697" y="8900"/>
                  </a:lnTo>
                  <a:lnTo>
                    <a:pt x="2135" y="6806"/>
                  </a:lnTo>
                  <a:lnTo>
                    <a:pt x="4009" y="5148"/>
                  </a:lnTo>
                  <a:lnTo>
                    <a:pt x="8106" y="2879"/>
                  </a:lnTo>
                  <a:lnTo>
                    <a:pt x="10895" y="1876"/>
                  </a:lnTo>
                  <a:lnTo>
                    <a:pt x="11592" y="1527"/>
                  </a:lnTo>
                  <a:lnTo>
                    <a:pt x="12072" y="1047"/>
                  </a:lnTo>
                  <a:lnTo>
                    <a:pt x="12595" y="524"/>
                  </a:lnTo>
                  <a:lnTo>
                    <a:pt x="13423" y="131"/>
                  </a:lnTo>
                </a:path>
              </a:pathLst>
            </a:custGeom>
            <a:solidFill>
              <a:schemeClr val="bg1"/>
            </a:solidFill>
            <a:ln w="4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3717678B-119E-D6DB-9B0E-797D4ABD3176}"/>
                </a:ext>
              </a:extLst>
            </p:cNvPr>
            <p:cNvSpPr/>
            <p:nvPr/>
          </p:nvSpPr>
          <p:spPr>
            <a:xfrm>
              <a:off x="10871033" y="751040"/>
              <a:ext cx="35212" cy="23079"/>
            </a:xfrm>
            <a:custGeom>
              <a:avLst/>
              <a:gdLst>
                <a:gd name="connsiteX0" fmla="*/ 19872 w 35212"/>
                <a:gd name="connsiteY0" fmla="*/ 0 h 23079"/>
                <a:gd name="connsiteX1" fmla="*/ 23882 w 35212"/>
                <a:gd name="connsiteY1" fmla="*/ 349 h 23079"/>
                <a:gd name="connsiteX2" fmla="*/ 28065 w 35212"/>
                <a:gd name="connsiteY2" fmla="*/ 1876 h 23079"/>
                <a:gd name="connsiteX3" fmla="*/ 29286 w 35212"/>
                <a:gd name="connsiteY3" fmla="*/ 3054 h 23079"/>
                <a:gd name="connsiteX4" fmla="*/ 30288 w 35212"/>
                <a:gd name="connsiteY4" fmla="*/ 3970 h 23079"/>
                <a:gd name="connsiteX5" fmla="*/ 32380 w 35212"/>
                <a:gd name="connsiteY5" fmla="*/ 4406 h 23079"/>
                <a:gd name="connsiteX6" fmla="*/ 33382 w 35212"/>
                <a:gd name="connsiteY6" fmla="*/ 4712 h 23079"/>
                <a:gd name="connsiteX7" fmla="*/ 34036 w 35212"/>
                <a:gd name="connsiteY7" fmla="*/ 5279 h 23079"/>
                <a:gd name="connsiteX8" fmla="*/ 35125 w 35212"/>
                <a:gd name="connsiteY8" fmla="*/ 10078 h 23079"/>
                <a:gd name="connsiteX9" fmla="*/ 35212 w 35212"/>
                <a:gd name="connsiteY9" fmla="*/ 13132 h 23079"/>
                <a:gd name="connsiteX10" fmla="*/ 34733 w 35212"/>
                <a:gd name="connsiteY10" fmla="*/ 15662 h 23079"/>
                <a:gd name="connsiteX11" fmla="*/ 33818 w 35212"/>
                <a:gd name="connsiteY11" fmla="*/ 17233 h 23079"/>
                <a:gd name="connsiteX12" fmla="*/ 32511 w 35212"/>
                <a:gd name="connsiteY12" fmla="*/ 18629 h 23079"/>
                <a:gd name="connsiteX13" fmla="*/ 29068 w 35212"/>
                <a:gd name="connsiteY13" fmla="*/ 20810 h 23079"/>
                <a:gd name="connsiteX14" fmla="*/ 24753 w 35212"/>
                <a:gd name="connsiteY14" fmla="*/ 22250 h 23079"/>
                <a:gd name="connsiteX15" fmla="*/ 19916 w 35212"/>
                <a:gd name="connsiteY15" fmla="*/ 22992 h 23079"/>
                <a:gd name="connsiteX16" fmla="*/ 14948 w 35212"/>
                <a:gd name="connsiteY16" fmla="*/ 23079 h 23079"/>
                <a:gd name="connsiteX17" fmla="*/ 10198 w 35212"/>
                <a:gd name="connsiteY17" fmla="*/ 22512 h 23079"/>
                <a:gd name="connsiteX18" fmla="*/ 6014 w 35212"/>
                <a:gd name="connsiteY18" fmla="*/ 21421 h 23079"/>
                <a:gd name="connsiteX19" fmla="*/ 2833 w 35212"/>
                <a:gd name="connsiteY19" fmla="*/ 19807 h 23079"/>
                <a:gd name="connsiteX20" fmla="*/ 1830 w 35212"/>
                <a:gd name="connsiteY20" fmla="*/ 18847 h 23079"/>
                <a:gd name="connsiteX21" fmla="*/ 1133 w 35212"/>
                <a:gd name="connsiteY21" fmla="*/ 17713 h 23079"/>
                <a:gd name="connsiteX22" fmla="*/ 261 w 35212"/>
                <a:gd name="connsiteY22" fmla="*/ 15139 h 23079"/>
                <a:gd name="connsiteX23" fmla="*/ 0 w 35212"/>
                <a:gd name="connsiteY23" fmla="*/ 12303 h 23079"/>
                <a:gd name="connsiteX24" fmla="*/ 567 w 35212"/>
                <a:gd name="connsiteY24" fmla="*/ 9816 h 23079"/>
                <a:gd name="connsiteX25" fmla="*/ 1874 w 35212"/>
                <a:gd name="connsiteY25" fmla="*/ 7678 h 23079"/>
                <a:gd name="connsiteX26" fmla="*/ 3617 w 35212"/>
                <a:gd name="connsiteY26" fmla="*/ 5890 h 23079"/>
                <a:gd name="connsiteX27" fmla="*/ 7932 w 35212"/>
                <a:gd name="connsiteY27" fmla="*/ 3403 h 23079"/>
                <a:gd name="connsiteX28" fmla="*/ 11941 w 35212"/>
                <a:gd name="connsiteY28" fmla="*/ 2312 h 23079"/>
                <a:gd name="connsiteX29" fmla="*/ 15994 w 35212"/>
                <a:gd name="connsiteY29" fmla="*/ 1091 h 23079"/>
                <a:gd name="connsiteX30" fmla="*/ 19872 w 35212"/>
                <a:gd name="connsiteY30" fmla="*/ 0 h 23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5212" h="23079">
                  <a:moveTo>
                    <a:pt x="19872" y="0"/>
                  </a:moveTo>
                  <a:lnTo>
                    <a:pt x="23882" y="349"/>
                  </a:lnTo>
                  <a:lnTo>
                    <a:pt x="28065" y="1876"/>
                  </a:lnTo>
                  <a:lnTo>
                    <a:pt x="29286" y="3054"/>
                  </a:lnTo>
                  <a:lnTo>
                    <a:pt x="30288" y="3970"/>
                  </a:lnTo>
                  <a:lnTo>
                    <a:pt x="32380" y="4406"/>
                  </a:lnTo>
                  <a:lnTo>
                    <a:pt x="33382" y="4712"/>
                  </a:lnTo>
                  <a:lnTo>
                    <a:pt x="34036" y="5279"/>
                  </a:lnTo>
                  <a:lnTo>
                    <a:pt x="35125" y="10078"/>
                  </a:lnTo>
                  <a:lnTo>
                    <a:pt x="35212" y="13132"/>
                  </a:lnTo>
                  <a:lnTo>
                    <a:pt x="34733" y="15662"/>
                  </a:lnTo>
                  <a:lnTo>
                    <a:pt x="33818" y="17233"/>
                  </a:lnTo>
                  <a:lnTo>
                    <a:pt x="32511" y="18629"/>
                  </a:lnTo>
                  <a:lnTo>
                    <a:pt x="29068" y="20810"/>
                  </a:lnTo>
                  <a:lnTo>
                    <a:pt x="24753" y="22250"/>
                  </a:lnTo>
                  <a:lnTo>
                    <a:pt x="19916" y="22992"/>
                  </a:lnTo>
                  <a:lnTo>
                    <a:pt x="14948" y="23079"/>
                  </a:lnTo>
                  <a:lnTo>
                    <a:pt x="10198" y="22512"/>
                  </a:lnTo>
                  <a:lnTo>
                    <a:pt x="6014" y="21421"/>
                  </a:lnTo>
                  <a:lnTo>
                    <a:pt x="2833" y="19807"/>
                  </a:lnTo>
                  <a:lnTo>
                    <a:pt x="1830" y="18847"/>
                  </a:lnTo>
                  <a:lnTo>
                    <a:pt x="1133" y="17713"/>
                  </a:lnTo>
                  <a:lnTo>
                    <a:pt x="261" y="15139"/>
                  </a:lnTo>
                  <a:lnTo>
                    <a:pt x="0" y="12303"/>
                  </a:lnTo>
                  <a:lnTo>
                    <a:pt x="567" y="9816"/>
                  </a:lnTo>
                  <a:lnTo>
                    <a:pt x="1874" y="7678"/>
                  </a:lnTo>
                  <a:lnTo>
                    <a:pt x="3617" y="5890"/>
                  </a:lnTo>
                  <a:lnTo>
                    <a:pt x="7932" y="3403"/>
                  </a:lnTo>
                  <a:lnTo>
                    <a:pt x="11941" y="2312"/>
                  </a:lnTo>
                  <a:lnTo>
                    <a:pt x="15994" y="1091"/>
                  </a:lnTo>
                  <a:lnTo>
                    <a:pt x="19872" y="0"/>
                  </a:lnTo>
                </a:path>
              </a:pathLst>
            </a:custGeom>
            <a:solidFill>
              <a:schemeClr val="bg1"/>
            </a:solidFill>
            <a:ln w="4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" name="Oval 8">
            <a:extLst>
              <a:ext uri="{FF2B5EF4-FFF2-40B4-BE49-F238E27FC236}">
                <a16:creationId xmlns:a16="http://schemas.microsoft.com/office/drawing/2014/main" xmlns="" id="{9E4DBF94-3570-4622-076B-B494165426EB}"/>
              </a:ext>
            </a:extLst>
          </p:cNvPr>
          <p:cNvSpPr>
            <a:spLocks noChangeAspect="1"/>
          </p:cNvSpPr>
          <p:nvPr userDrawn="1"/>
        </p:nvSpPr>
        <p:spPr>
          <a:xfrm>
            <a:off x="10147177" y="880912"/>
            <a:ext cx="164592" cy="16459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547E2614-1CFE-9C38-3277-AB80C9715BE1}"/>
              </a:ext>
            </a:extLst>
          </p:cNvPr>
          <p:cNvSpPr>
            <a:spLocks noChangeAspect="1"/>
          </p:cNvSpPr>
          <p:nvPr userDrawn="1"/>
        </p:nvSpPr>
        <p:spPr>
          <a:xfrm>
            <a:off x="11453606" y="1819125"/>
            <a:ext cx="285296" cy="2852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xmlns="" id="{140F83BD-0830-B644-35E9-A62B9081E1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456" y="2061883"/>
            <a:ext cx="10875818" cy="402007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58025330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AA047BB1-079F-40F3-76B6-8DC20161519B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79839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aphic O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 with medium confidence">
            <a:extLst>
              <a:ext uri="{FF2B5EF4-FFF2-40B4-BE49-F238E27FC236}">
                <a16:creationId xmlns:a16="http://schemas.microsoft.com/office/drawing/2014/main" xmlns="" id="{DEF6014B-8DED-259B-3114-2170205FC5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30269DC-591D-B944-A479-80E360E756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4404" y="3834884"/>
            <a:ext cx="5133724" cy="658717"/>
          </a:xfrm>
        </p:spPr>
        <p:txBody>
          <a:bodyPr lIns="91440" tIns="45720" rIns="91440" bIns="45720">
            <a:noAutofit/>
          </a:bodyPr>
          <a:lstStyle>
            <a:lvl1pPr marL="0" indent="0" algn="r">
              <a:buNone/>
              <a:defRPr sz="2400" b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(Arial 24pt)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2F7201-0FDA-CE47-A9F3-7594A2B9A9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4404" y="2574295"/>
            <a:ext cx="5133724" cy="1237410"/>
          </a:xfrm>
        </p:spPr>
        <p:txBody>
          <a:bodyPr lIns="91440" tIns="45720" rIns="91440" bIns="45720" anchor="b">
            <a:noAutofit/>
          </a:bodyPr>
          <a:lstStyle>
            <a:lvl1pPr algn="r">
              <a:defRPr sz="4000" b="0" i="0"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40pt)</a:t>
            </a:r>
            <a:endParaRPr lang="x-none"/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xmlns="" id="{50195C38-5D76-935A-E5C2-4113D04702F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386888" y="3986212"/>
            <a:ext cx="2182812" cy="50292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Brand logo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92BD0AAE-2EDD-D5F4-DE29-D7B60DAAA184}"/>
              </a:ext>
            </a:extLst>
          </p:cNvPr>
          <p:cNvGrpSpPr/>
          <p:nvPr userDrawn="1"/>
        </p:nvGrpSpPr>
        <p:grpSpPr>
          <a:xfrm>
            <a:off x="9387557" y="3323005"/>
            <a:ext cx="2184530" cy="319082"/>
            <a:chOff x="9387557" y="3323005"/>
            <a:chExt cx="2184530" cy="319082"/>
          </a:xfrm>
        </p:grpSpPr>
        <p:grpSp>
          <p:nvGrpSpPr>
            <p:cNvPr id="11" name="Picture 7">
              <a:extLst>
                <a:ext uri="{FF2B5EF4-FFF2-40B4-BE49-F238E27FC236}">
                  <a16:creationId xmlns:a16="http://schemas.microsoft.com/office/drawing/2014/main" xmlns="" id="{CE06F52C-15DC-F105-E302-97B57035A3BB}"/>
                </a:ext>
              </a:extLst>
            </p:cNvPr>
            <p:cNvGrpSpPr/>
            <p:nvPr/>
          </p:nvGrpSpPr>
          <p:grpSpPr>
            <a:xfrm>
              <a:off x="9387557" y="3323005"/>
              <a:ext cx="2184530" cy="314756"/>
              <a:chOff x="9387557" y="3323005"/>
              <a:chExt cx="2184530" cy="314756"/>
            </a:xfrm>
            <a:solidFill>
              <a:srgbClr val="28509C"/>
            </a:solidFill>
          </p:grpSpPr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xmlns="" id="{08CC3093-E3D8-588A-8429-FF62FC8239E1}"/>
                  </a:ext>
                </a:extLst>
              </p:cNvPr>
              <p:cNvSpPr/>
              <p:nvPr/>
            </p:nvSpPr>
            <p:spPr>
              <a:xfrm>
                <a:off x="10500022" y="3323005"/>
                <a:ext cx="270122" cy="308340"/>
              </a:xfrm>
              <a:custGeom>
                <a:avLst/>
                <a:gdLst>
                  <a:gd name="connsiteX0" fmla="*/ 135025 w 270122"/>
                  <a:gd name="connsiteY0" fmla="*/ 0 h 308340"/>
                  <a:gd name="connsiteX1" fmla="*/ 0 w 270122"/>
                  <a:gd name="connsiteY1" fmla="*/ 308341 h 308340"/>
                  <a:gd name="connsiteX2" fmla="*/ 28949 w 270122"/>
                  <a:gd name="connsiteY2" fmla="*/ 308341 h 308340"/>
                  <a:gd name="connsiteX3" fmla="*/ 76262 w 270122"/>
                  <a:gd name="connsiteY3" fmla="*/ 200274 h 308340"/>
                  <a:gd name="connsiteX4" fmla="*/ 193933 w 270122"/>
                  <a:gd name="connsiteY4" fmla="*/ 200274 h 308340"/>
                  <a:gd name="connsiteX5" fmla="*/ 241533 w 270122"/>
                  <a:gd name="connsiteY5" fmla="*/ 308341 h 308340"/>
                  <a:gd name="connsiteX6" fmla="*/ 270123 w 270122"/>
                  <a:gd name="connsiteY6" fmla="*/ 308341 h 308340"/>
                  <a:gd name="connsiteX7" fmla="*/ 135025 w 270122"/>
                  <a:gd name="connsiteY7" fmla="*/ 0 h 308340"/>
                  <a:gd name="connsiteX8" fmla="*/ 87640 w 270122"/>
                  <a:gd name="connsiteY8" fmla="*/ 174104 h 308340"/>
                  <a:gd name="connsiteX9" fmla="*/ 134809 w 270122"/>
                  <a:gd name="connsiteY9" fmla="*/ 66181 h 308340"/>
                  <a:gd name="connsiteX10" fmla="*/ 182338 w 270122"/>
                  <a:gd name="connsiteY10" fmla="*/ 174104 h 308340"/>
                  <a:gd name="connsiteX11" fmla="*/ 87568 w 270122"/>
                  <a:gd name="connsiteY11" fmla="*/ 174104 h 30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0122" h="308340">
                    <a:moveTo>
                      <a:pt x="135025" y="0"/>
                    </a:moveTo>
                    <a:lnTo>
                      <a:pt x="0" y="308341"/>
                    </a:lnTo>
                    <a:lnTo>
                      <a:pt x="28949" y="308341"/>
                    </a:lnTo>
                    <a:lnTo>
                      <a:pt x="76262" y="200274"/>
                    </a:lnTo>
                    <a:lnTo>
                      <a:pt x="193933" y="200274"/>
                    </a:lnTo>
                    <a:lnTo>
                      <a:pt x="241533" y="308341"/>
                    </a:lnTo>
                    <a:lnTo>
                      <a:pt x="270123" y="308341"/>
                    </a:lnTo>
                    <a:lnTo>
                      <a:pt x="135025" y="0"/>
                    </a:lnTo>
                    <a:close/>
                    <a:moveTo>
                      <a:pt x="87640" y="174104"/>
                    </a:moveTo>
                    <a:lnTo>
                      <a:pt x="134809" y="66181"/>
                    </a:lnTo>
                    <a:lnTo>
                      <a:pt x="182338" y="174104"/>
                    </a:lnTo>
                    <a:lnTo>
                      <a:pt x="87568" y="174104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2B9C6BC0-7CF3-51C3-D463-4F3302F10579}"/>
                  </a:ext>
                </a:extLst>
              </p:cNvPr>
              <p:cNvSpPr/>
              <p:nvPr/>
            </p:nvSpPr>
            <p:spPr>
              <a:xfrm>
                <a:off x="11126107" y="3329421"/>
                <a:ext cx="26140" cy="301852"/>
              </a:xfrm>
              <a:custGeom>
                <a:avLst/>
                <a:gdLst>
                  <a:gd name="connsiteX0" fmla="*/ 0 w 26140"/>
                  <a:gd name="connsiteY0" fmla="*/ 0 h 301852"/>
                  <a:gd name="connsiteX1" fmla="*/ 26141 w 26140"/>
                  <a:gd name="connsiteY1" fmla="*/ 0 h 301852"/>
                  <a:gd name="connsiteX2" fmla="*/ 26141 w 26140"/>
                  <a:gd name="connsiteY2" fmla="*/ 301852 h 301852"/>
                  <a:gd name="connsiteX3" fmla="*/ 0 w 26140"/>
                  <a:gd name="connsiteY3" fmla="*/ 301852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40" h="301852">
                    <a:moveTo>
                      <a:pt x="0" y="0"/>
                    </a:moveTo>
                    <a:lnTo>
                      <a:pt x="26141" y="0"/>
                    </a:lnTo>
                    <a:lnTo>
                      <a:pt x="26141" y="301852"/>
                    </a:lnTo>
                    <a:lnTo>
                      <a:pt x="0" y="30185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9C4F6D0A-075F-AA08-7864-E16208A9F8AF}"/>
                  </a:ext>
                </a:extLst>
              </p:cNvPr>
              <p:cNvSpPr/>
              <p:nvPr/>
            </p:nvSpPr>
            <p:spPr>
              <a:xfrm>
                <a:off x="10168471" y="3323509"/>
                <a:ext cx="276820" cy="307763"/>
              </a:xfrm>
              <a:custGeom>
                <a:avLst/>
                <a:gdLst>
                  <a:gd name="connsiteX0" fmla="*/ 137762 w 276820"/>
                  <a:gd name="connsiteY0" fmla="*/ 139139 h 307763"/>
                  <a:gd name="connsiteX1" fmla="*/ 0 w 276820"/>
                  <a:gd name="connsiteY1" fmla="*/ 144 h 307763"/>
                  <a:gd name="connsiteX2" fmla="*/ 144 w 276820"/>
                  <a:gd name="connsiteY2" fmla="*/ 307764 h 307763"/>
                  <a:gd name="connsiteX3" fmla="*/ 26285 w 276820"/>
                  <a:gd name="connsiteY3" fmla="*/ 307764 h 307763"/>
                  <a:gd name="connsiteX4" fmla="*/ 26285 w 276820"/>
                  <a:gd name="connsiteY4" fmla="*/ 63946 h 307763"/>
                  <a:gd name="connsiteX5" fmla="*/ 137474 w 276820"/>
                  <a:gd name="connsiteY5" fmla="*/ 176555 h 307763"/>
                  <a:gd name="connsiteX6" fmla="*/ 250679 w 276820"/>
                  <a:gd name="connsiteY6" fmla="*/ 63370 h 307763"/>
                  <a:gd name="connsiteX7" fmla="*/ 250679 w 276820"/>
                  <a:gd name="connsiteY7" fmla="*/ 307764 h 307763"/>
                  <a:gd name="connsiteX8" fmla="*/ 276820 w 276820"/>
                  <a:gd name="connsiteY8" fmla="*/ 307764 h 307763"/>
                  <a:gd name="connsiteX9" fmla="*/ 276820 w 276820"/>
                  <a:gd name="connsiteY9" fmla="*/ 0 h 307763"/>
                  <a:gd name="connsiteX10" fmla="*/ 137762 w 276820"/>
                  <a:gd name="connsiteY10" fmla="*/ 139139 h 30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6820" h="307763">
                    <a:moveTo>
                      <a:pt x="137762" y="139139"/>
                    </a:moveTo>
                    <a:lnTo>
                      <a:pt x="0" y="144"/>
                    </a:lnTo>
                    <a:lnTo>
                      <a:pt x="144" y="307764"/>
                    </a:lnTo>
                    <a:lnTo>
                      <a:pt x="26285" y="307764"/>
                    </a:lnTo>
                    <a:lnTo>
                      <a:pt x="26285" y="63946"/>
                    </a:lnTo>
                    <a:lnTo>
                      <a:pt x="137474" y="176555"/>
                    </a:lnTo>
                    <a:lnTo>
                      <a:pt x="250679" y="63370"/>
                    </a:lnTo>
                    <a:lnTo>
                      <a:pt x="250679" y="307764"/>
                    </a:lnTo>
                    <a:lnTo>
                      <a:pt x="276820" y="307764"/>
                    </a:lnTo>
                    <a:lnTo>
                      <a:pt x="276820" y="0"/>
                    </a:lnTo>
                    <a:lnTo>
                      <a:pt x="137762" y="13913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04B71429-6B82-9BF7-D05D-2D8BD19D8B26}"/>
                  </a:ext>
                </a:extLst>
              </p:cNvPr>
              <p:cNvSpPr/>
              <p:nvPr/>
            </p:nvSpPr>
            <p:spPr>
              <a:xfrm>
                <a:off x="11259260" y="3324302"/>
                <a:ext cx="228210" cy="313459"/>
              </a:xfrm>
              <a:custGeom>
                <a:avLst/>
                <a:gdLst>
                  <a:gd name="connsiteX0" fmla="*/ 201998 w 228210"/>
                  <a:gd name="connsiteY0" fmla="*/ 5119 h 313459"/>
                  <a:gd name="connsiteX1" fmla="*/ 201998 w 228210"/>
                  <a:gd name="connsiteY1" fmla="*/ 240213 h 313459"/>
                  <a:gd name="connsiteX2" fmla="*/ 0 w 228210"/>
                  <a:gd name="connsiteY2" fmla="*/ 0 h 313459"/>
                  <a:gd name="connsiteX3" fmla="*/ 0 w 228210"/>
                  <a:gd name="connsiteY3" fmla="*/ 41814 h 313459"/>
                  <a:gd name="connsiteX4" fmla="*/ 0 w 228210"/>
                  <a:gd name="connsiteY4" fmla="*/ 306971 h 313459"/>
                  <a:gd name="connsiteX5" fmla="*/ 26141 w 228210"/>
                  <a:gd name="connsiteY5" fmla="*/ 306971 h 313459"/>
                  <a:gd name="connsiteX6" fmla="*/ 26141 w 228210"/>
                  <a:gd name="connsiteY6" fmla="*/ 72958 h 313459"/>
                  <a:gd name="connsiteX7" fmla="*/ 228211 w 228210"/>
                  <a:gd name="connsiteY7" fmla="*/ 313459 h 313459"/>
                  <a:gd name="connsiteX8" fmla="*/ 228211 w 228210"/>
                  <a:gd name="connsiteY8" fmla="*/ 5119 h 313459"/>
                  <a:gd name="connsiteX9" fmla="*/ 201998 w 228210"/>
                  <a:gd name="connsiteY9" fmla="*/ 5119 h 31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210" h="313459">
                    <a:moveTo>
                      <a:pt x="201998" y="5119"/>
                    </a:moveTo>
                    <a:lnTo>
                      <a:pt x="201998" y="240213"/>
                    </a:lnTo>
                    <a:lnTo>
                      <a:pt x="0" y="0"/>
                    </a:lnTo>
                    <a:lnTo>
                      <a:pt x="0" y="41814"/>
                    </a:lnTo>
                    <a:lnTo>
                      <a:pt x="0" y="306971"/>
                    </a:lnTo>
                    <a:lnTo>
                      <a:pt x="26141" y="306971"/>
                    </a:lnTo>
                    <a:lnTo>
                      <a:pt x="26141" y="72958"/>
                    </a:lnTo>
                    <a:lnTo>
                      <a:pt x="228211" y="313459"/>
                    </a:lnTo>
                    <a:lnTo>
                      <a:pt x="228211" y="5119"/>
                    </a:lnTo>
                    <a:lnTo>
                      <a:pt x="201998" y="5119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BB37870C-DCA2-1650-812A-209D17601343}"/>
                  </a:ext>
                </a:extLst>
              </p:cNvPr>
              <p:cNvSpPr/>
              <p:nvPr/>
            </p:nvSpPr>
            <p:spPr>
              <a:xfrm>
                <a:off x="10827179" y="3329637"/>
                <a:ext cx="218993" cy="301780"/>
              </a:xfrm>
              <a:custGeom>
                <a:avLst/>
                <a:gdLst>
                  <a:gd name="connsiteX0" fmla="*/ 189468 w 218993"/>
                  <a:gd name="connsiteY0" fmla="*/ 301780 h 301780"/>
                  <a:gd name="connsiteX1" fmla="*/ 218993 w 218993"/>
                  <a:gd name="connsiteY1" fmla="*/ 301780 h 301780"/>
                  <a:gd name="connsiteX2" fmla="*/ 146692 w 218993"/>
                  <a:gd name="connsiteY2" fmla="*/ 160478 h 301780"/>
                  <a:gd name="connsiteX3" fmla="*/ 206319 w 218993"/>
                  <a:gd name="connsiteY3" fmla="*/ 89467 h 301780"/>
                  <a:gd name="connsiteX4" fmla="*/ 206391 w 218993"/>
                  <a:gd name="connsiteY4" fmla="*/ 89467 h 301780"/>
                  <a:gd name="connsiteX5" fmla="*/ 206391 w 218993"/>
                  <a:gd name="connsiteY5" fmla="*/ 87809 h 301780"/>
                  <a:gd name="connsiteX6" fmla="*/ 206679 w 218993"/>
                  <a:gd name="connsiteY6" fmla="*/ 82979 h 301780"/>
                  <a:gd name="connsiteX7" fmla="*/ 206391 w 218993"/>
                  <a:gd name="connsiteY7" fmla="*/ 82979 h 301780"/>
                  <a:gd name="connsiteX8" fmla="*/ 206391 w 218993"/>
                  <a:gd name="connsiteY8" fmla="*/ 80167 h 301780"/>
                  <a:gd name="connsiteX9" fmla="*/ 206679 w 218993"/>
                  <a:gd name="connsiteY9" fmla="*/ 80167 h 301780"/>
                  <a:gd name="connsiteX10" fmla="*/ 206391 w 218993"/>
                  <a:gd name="connsiteY10" fmla="*/ 75265 h 301780"/>
                  <a:gd name="connsiteX11" fmla="*/ 206391 w 218993"/>
                  <a:gd name="connsiteY11" fmla="*/ 75265 h 301780"/>
                  <a:gd name="connsiteX12" fmla="*/ 126600 w 218993"/>
                  <a:gd name="connsiteY12" fmla="*/ 0 h 301780"/>
                  <a:gd name="connsiteX13" fmla="*/ 0 w 218993"/>
                  <a:gd name="connsiteY13" fmla="*/ 0 h 301780"/>
                  <a:gd name="connsiteX14" fmla="*/ 0 w 218993"/>
                  <a:gd name="connsiteY14" fmla="*/ 301708 h 301780"/>
                  <a:gd name="connsiteX15" fmla="*/ 26141 w 218993"/>
                  <a:gd name="connsiteY15" fmla="*/ 301708 h 301780"/>
                  <a:gd name="connsiteX16" fmla="*/ 26141 w 218993"/>
                  <a:gd name="connsiteY16" fmla="*/ 163002 h 301780"/>
                  <a:gd name="connsiteX17" fmla="*/ 118390 w 218993"/>
                  <a:gd name="connsiteY17" fmla="*/ 163002 h 301780"/>
                  <a:gd name="connsiteX18" fmla="*/ 189468 w 218993"/>
                  <a:gd name="connsiteY18" fmla="*/ 301780 h 301780"/>
                  <a:gd name="connsiteX19" fmla="*/ 26141 w 218993"/>
                  <a:gd name="connsiteY19" fmla="*/ 26242 h 301780"/>
                  <a:gd name="connsiteX20" fmla="*/ 126600 w 218993"/>
                  <a:gd name="connsiteY20" fmla="*/ 26242 h 301780"/>
                  <a:gd name="connsiteX21" fmla="*/ 180250 w 218993"/>
                  <a:gd name="connsiteY21" fmla="*/ 79014 h 301780"/>
                  <a:gd name="connsiteX22" fmla="*/ 180250 w 218993"/>
                  <a:gd name="connsiteY22" fmla="*/ 83988 h 301780"/>
                  <a:gd name="connsiteX23" fmla="*/ 126600 w 218993"/>
                  <a:gd name="connsiteY23" fmla="*/ 136688 h 301780"/>
                  <a:gd name="connsiteX24" fmla="*/ 126600 w 218993"/>
                  <a:gd name="connsiteY24" fmla="*/ 136688 h 301780"/>
                  <a:gd name="connsiteX25" fmla="*/ 26141 w 218993"/>
                  <a:gd name="connsiteY25" fmla="*/ 136760 h 301780"/>
                  <a:gd name="connsiteX26" fmla="*/ 26141 w 218993"/>
                  <a:gd name="connsiteY26" fmla="*/ 26242 h 301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8993" h="301780">
                    <a:moveTo>
                      <a:pt x="189468" y="301780"/>
                    </a:moveTo>
                    <a:lnTo>
                      <a:pt x="218993" y="301780"/>
                    </a:lnTo>
                    <a:cubicBezTo>
                      <a:pt x="218993" y="301780"/>
                      <a:pt x="146692" y="160478"/>
                      <a:pt x="146692" y="160478"/>
                    </a:cubicBezTo>
                    <a:cubicBezTo>
                      <a:pt x="179098" y="152044"/>
                      <a:pt x="203582" y="123855"/>
                      <a:pt x="206319" y="89467"/>
                    </a:cubicBezTo>
                    <a:lnTo>
                      <a:pt x="206391" y="89467"/>
                    </a:lnTo>
                    <a:lnTo>
                      <a:pt x="206391" y="87809"/>
                    </a:lnTo>
                    <a:cubicBezTo>
                      <a:pt x="206463" y="86223"/>
                      <a:pt x="206679" y="84565"/>
                      <a:pt x="206679" y="82979"/>
                    </a:cubicBezTo>
                    <a:lnTo>
                      <a:pt x="206391" y="82979"/>
                    </a:lnTo>
                    <a:lnTo>
                      <a:pt x="206391" y="80167"/>
                    </a:lnTo>
                    <a:lnTo>
                      <a:pt x="206679" y="80167"/>
                    </a:lnTo>
                    <a:cubicBezTo>
                      <a:pt x="206679" y="78509"/>
                      <a:pt x="206535" y="76923"/>
                      <a:pt x="206391" y="75265"/>
                    </a:cubicBezTo>
                    <a:lnTo>
                      <a:pt x="206391" y="75265"/>
                    </a:lnTo>
                    <a:cubicBezTo>
                      <a:pt x="203798" y="33235"/>
                      <a:pt x="169160" y="0"/>
                      <a:pt x="126600" y="0"/>
                    </a:cubicBezTo>
                    <a:lnTo>
                      <a:pt x="0" y="0"/>
                    </a:lnTo>
                    <a:lnTo>
                      <a:pt x="0" y="301708"/>
                    </a:lnTo>
                    <a:lnTo>
                      <a:pt x="26141" y="301708"/>
                    </a:lnTo>
                    <a:lnTo>
                      <a:pt x="26141" y="163002"/>
                    </a:lnTo>
                    <a:lnTo>
                      <a:pt x="118390" y="163002"/>
                    </a:lnTo>
                    <a:lnTo>
                      <a:pt x="189468" y="301780"/>
                    </a:lnTo>
                    <a:close/>
                    <a:moveTo>
                      <a:pt x="26141" y="26242"/>
                    </a:moveTo>
                    <a:lnTo>
                      <a:pt x="126600" y="26242"/>
                    </a:lnTo>
                    <a:cubicBezTo>
                      <a:pt x="155909" y="26242"/>
                      <a:pt x="179674" y="49816"/>
                      <a:pt x="180250" y="79014"/>
                    </a:cubicBezTo>
                    <a:lnTo>
                      <a:pt x="180250" y="83988"/>
                    </a:lnTo>
                    <a:cubicBezTo>
                      <a:pt x="179674" y="113186"/>
                      <a:pt x="155909" y="136688"/>
                      <a:pt x="126600" y="136688"/>
                    </a:cubicBezTo>
                    <a:lnTo>
                      <a:pt x="126600" y="136688"/>
                    </a:lnTo>
                    <a:cubicBezTo>
                      <a:pt x="126600" y="136688"/>
                      <a:pt x="26141" y="136760"/>
                      <a:pt x="26141" y="136760"/>
                    </a:cubicBezTo>
                    <a:lnTo>
                      <a:pt x="26141" y="26242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A6861236-975A-0EC6-B484-DC226E110490}"/>
                  </a:ext>
                </a:extLst>
              </p:cNvPr>
              <p:cNvSpPr/>
              <p:nvPr/>
            </p:nvSpPr>
            <p:spPr>
              <a:xfrm>
                <a:off x="9387557" y="3329493"/>
                <a:ext cx="212944" cy="301852"/>
              </a:xfrm>
              <a:custGeom>
                <a:avLst/>
                <a:gdLst>
                  <a:gd name="connsiteX0" fmla="*/ 212656 w 212944"/>
                  <a:gd name="connsiteY0" fmla="*/ 212818 h 301852"/>
                  <a:gd name="connsiteX1" fmla="*/ 201422 w 212944"/>
                  <a:gd name="connsiteY1" fmla="*/ 173455 h 301852"/>
                  <a:gd name="connsiteX2" fmla="*/ 174273 w 212944"/>
                  <a:gd name="connsiteY2" fmla="*/ 147358 h 301852"/>
                  <a:gd name="connsiteX3" fmla="*/ 206247 w 212944"/>
                  <a:gd name="connsiteY3" fmla="*/ 89539 h 301852"/>
                  <a:gd name="connsiteX4" fmla="*/ 206319 w 212944"/>
                  <a:gd name="connsiteY4" fmla="*/ 89539 h 301852"/>
                  <a:gd name="connsiteX5" fmla="*/ 206319 w 212944"/>
                  <a:gd name="connsiteY5" fmla="*/ 87881 h 301852"/>
                  <a:gd name="connsiteX6" fmla="*/ 206535 w 212944"/>
                  <a:gd name="connsiteY6" fmla="*/ 83051 h 301852"/>
                  <a:gd name="connsiteX7" fmla="*/ 206319 w 212944"/>
                  <a:gd name="connsiteY7" fmla="*/ 83051 h 301852"/>
                  <a:gd name="connsiteX8" fmla="*/ 206319 w 212944"/>
                  <a:gd name="connsiteY8" fmla="*/ 80239 h 301852"/>
                  <a:gd name="connsiteX9" fmla="*/ 206535 w 212944"/>
                  <a:gd name="connsiteY9" fmla="*/ 80239 h 301852"/>
                  <a:gd name="connsiteX10" fmla="*/ 206319 w 212944"/>
                  <a:gd name="connsiteY10" fmla="*/ 75337 h 301852"/>
                  <a:gd name="connsiteX11" fmla="*/ 206319 w 212944"/>
                  <a:gd name="connsiteY11" fmla="*/ 75337 h 301852"/>
                  <a:gd name="connsiteX12" fmla="*/ 206319 w 212944"/>
                  <a:gd name="connsiteY12" fmla="*/ 75265 h 301852"/>
                  <a:gd name="connsiteX13" fmla="*/ 126456 w 212944"/>
                  <a:gd name="connsiteY13" fmla="*/ 72 h 301852"/>
                  <a:gd name="connsiteX14" fmla="*/ 126456 w 212944"/>
                  <a:gd name="connsiteY14" fmla="*/ 216 h 301852"/>
                  <a:gd name="connsiteX15" fmla="*/ 0 w 212944"/>
                  <a:gd name="connsiteY15" fmla="*/ 0 h 301852"/>
                  <a:gd name="connsiteX16" fmla="*/ 0 w 212944"/>
                  <a:gd name="connsiteY16" fmla="*/ 301852 h 301852"/>
                  <a:gd name="connsiteX17" fmla="*/ 131425 w 212944"/>
                  <a:gd name="connsiteY17" fmla="*/ 301852 h 301852"/>
                  <a:gd name="connsiteX18" fmla="*/ 212800 w 212944"/>
                  <a:gd name="connsiteY18" fmla="*/ 221541 h 301852"/>
                  <a:gd name="connsiteX19" fmla="*/ 212944 w 212944"/>
                  <a:gd name="connsiteY19" fmla="*/ 221541 h 301852"/>
                  <a:gd name="connsiteX20" fmla="*/ 212944 w 212944"/>
                  <a:gd name="connsiteY20" fmla="*/ 212818 h 301852"/>
                  <a:gd name="connsiteX21" fmla="*/ 212800 w 212944"/>
                  <a:gd name="connsiteY21" fmla="*/ 212818 h 301852"/>
                  <a:gd name="connsiteX22" fmla="*/ 126528 w 212944"/>
                  <a:gd name="connsiteY22" fmla="*/ 26386 h 301852"/>
                  <a:gd name="connsiteX23" fmla="*/ 126528 w 212944"/>
                  <a:gd name="connsiteY23" fmla="*/ 26386 h 301852"/>
                  <a:gd name="connsiteX24" fmla="*/ 180250 w 212944"/>
                  <a:gd name="connsiteY24" fmla="*/ 79302 h 301852"/>
                  <a:gd name="connsiteX25" fmla="*/ 180250 w 212944"/>
                  <a:gd name="connsiteY25" fmla="*/ 83988 h 301852"/>
                  <a:gd name="connsiteX26" fmla="*/ 126528 w 212944"/>
                  <a:gd name="connsiteY26" fmla="*/ 137048 h 301852"/>
                  <a:gd name="connsiteX27" fmla="*/ 26141 w 212944"/>
                  <a:gd name="connsiteY27" fmla="*/ 137048 h 301852"/>
                  <a:gd name="connsiteX28" fmla="*/ 26141 w 212944"/>
                  <a:gd name="connsiteY28" fmla="*/ 26386 h 301852"/>
                  <a:gd name="connsiteX29" fmla="*/ 126528 w 212944"/>
                  <a:gd name="connsiteY29" fmla="*/ 26386 h 301852"/>
                  <a:gd name="connsiteX30" fmla="*/ 186659 w 212944"/>
                  <a:gd name="connsiteY30" fmla="*/ 220171 h 301852"/>
                  <a:gd name="connsiteX31" fmla="*/ 186443 w 212944"/>
                  <a:gd name="connsiteY31" fmla="*/ 220171 h 301852"/>
                  <a:gd name="connsiteX32" fmla="*/ 130921 w 212944"/>
                  <a:gd name="connsiteY32" fmla="*/ 275755 h 301852"/>
                  <a:gd name="connsiteX33" fmla="*/ 130921 w 212944"/>
                  <a:gd name="connsiteY33" fmla="*/ 275755 h 301852"/>
                  <a:gd name="connsiteX34" fmla="*/ 26141 w 212944"/>
                  <a:gd name="connsiteY34" fmla="*/ 275755 h 301852"/>
                  <a:gd name="connsiteX35" fmla="*/ 26141 w 212944"/>
                  <a:gd name="connsiteY35" fmla="*/ 163362 h 301852"/>
                  <a:gd name="connsiteX36" fmla="*/ 134593 w 212944"/>
                  <a:gd name="connsiteY36" fmla="*/ 163795 h 301852"/>
                  <a:gd name="connsiteX37" fmla="*/ 134593 w 212944"/>
                  <a:gd name="connsiteY37" fmla="*/ 163795 h 301852"/>
                  <a:gd name="connsiteX38" fmla="*/ 179458 w 212944"/>
                  <a:gd name="connsiteY38" fmla="*/ 187946 h 301852"/>
                  <a:gd name="connsiteX39" fmla="*/ 186515 w 212944"/>
                  <a:gd name="connsiteY39" fmla="*/ 214836 h 301852"/>
                  <a:gd name="connsiteX40" fmla="*/ 186731 w 212944"/>
                  <a:gd name="connsiteY40" fmla="*/ 214836 h 301852"/>
                  <a:gd name="connsiteX41" fmla="*/ 186731 w 212944"/>
                  <a:gd name="connsiteY41" fmla="*/ 220171 h 30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12944" h="301852">
                    <a:moveTo>
                      <a:pt x="212656" y="212818"/>
                    </a:moveTo>
                    <a:cubicBezTo>
                      <a:pt x="212296" y="198183"/>
                      <a:pt x="208623" y="185134"/>
                      <a:pt x="201422" y="173455"/>
                    </a:cubicBezTo>
                    <a:cubicBezTo>
                      <a:pt x="194509" y="162425"/>
                      <a:pt x="185219" y="153558"/>
                      <a:pt x="174273" y="147358"/>
                    </a:cubicBezTo>
                    <a:cubicBezTo>
                      <a:pt x="192204" y="133948"/>
                      <a:pt x="204374" y="113186"/>
                      <a:pt x="206247" y="89539"/>
                    </a:cubicBezTo>
                    <a:lnTo>
                      <a:pt x="206319" y="89539"/>
                    </a:lnTo>
                    <a:lnTo>
                      <a:pt x="206319" y="87881"/>
                    </a:lnTo>
                    <a:cubicBezTo>
                      <a:pt x="206391" y="86295"/>
                      <a:pt x="206535" y="84637"/>
                      <a:pt x="206535" y="83051"/>
                    </a:cubicBezTo>
                    <a:lnTo>
                      <a:pt x="206319" y="83051"/>
                    </a:lnTo>
                    <a:lnTo>
                      <a:pt x="206319" y="80239"/>
                    </a:lnTo>
                    <a:lnTo>
                      <a:pt x="206535" y="80239"/>
                    </a:lnTo>
                    <a:cubicBezTo>
                      <a:pt x="206535" y="78581"/>
                      <a:pt x="206391" y="76995"/>
                      <a:pt x="206319" y="75337"/>
                    </a:cubicBezTo>
                    <a:lnTo>
                      <a:pt x="206319" y="75337"/>
                    </a:lnTo>
                    <a:cubicBezTo>
                      <a:pt x="206319" y="75337"/>
                      <a:pt x="206319" y="75265"/>
                      <a:pt x="206319" y="75265"/>
                    </a:cubicBezTo>
                    <a:cubicBezTo>
                      <a:pt x="203726" y="33307"/>
                      <a:pt x="169016" y="72"/>
                      <a:pt x="126456" y="72"/>
                    </a:cubicBezTo>
                    <a:lnTo>
                      <a:pt x="126456" y="216"/>
                    </a:lnTo>
                    <a:lnTo>
                      <a:pt x="0" y="0"/>
                    </a:lnTo>
                    <a:lnTo>
                      <a:pt x="0" y="301852"/>
                    </a:lnTo>
                    <a:lnTo>
                      <a:pt x="131425" y="301852"/>
                    </a:lnTo>
                    <a:cubicBezTo>
                      <a:pt x="175857" y="301564"/>
                      <a:pt x="211864" y="265878"/>
                      <a:pt x="212800" y="221541"/>
                    </a:cubicBezTo>
                    <a:lnTo>
                      <a:pt x="212944" y="221541"/>
                    </a:lnTo>
                    <a:lnTo>
                      <a:pt x="212944" y="212818"/>
                    </a:lnTo>
                    <a:lnTo>
                      <a:pt x="212800" y="212818"/>
                    </a:lnTo>
                    <a:close/>
                    <a:moveTo>
                      <a:pt x="126528" y="26386"/>
                    </a:moveTo>
                    <a:lnTo>
                      <a:pt x="126528" y="26386"/>
                    </a:lnTo>
                    <a:cubicBezTo>
                      <a:pt x="155909" y="26386"/>
                      <a:pt x="179746" y="50032"/>
                      <a:pt x="180250" y="79302"/>
                    </a:cubicBezTo>
                    <a:lnTo>
                      <a:pt x="180250" y="83988"/>
                    </a:lnTo>
                    <a:cubicBezTo>
                      <a:pt x="179746" y="113258"/>
                      <a:pt x="155909" y="137048"/>
                      <a:pt x="126528" y="137048"/>
                    </a:cubicBezTo>
                    <a:lnTo>
                      <a:pt x="26141" y="137048"/>
                    </a:lnTo>
                    <a:lnTo>
                      <a:pt x="26141" y="26386"/>
                    </a:lnTo>
                    <a:lnTo>
                      <a:pt x="126528" y="26386"/>
                    </a:lnTo>
                    <a:close/>
                    <a:moveTo>
                      <a:pt x="186659" y="220171"/>
                    </a:moveTo>
                    <a:lnTo>
                      <a:pt x="186443" y="220171"/>
                    </a:lnTo>
                    <a:cubicBezTo>
                      <a:pt x="186443" y="250883"/>
                      <a:pt x="161598" y="275755"/>
                      <a:pt x="130921" y="275755"/>
                    </a:cubicBezTo>
                    <a:lnTo>
                      <a:pt x="130921" y="275755"/>
                    </a:lnTo>
                    <a:cubicBezTo>
                      <a:pt x="130921" y="275755"/>
                      <a:pt x="26141" y="275755"/>
                      <a:pt x="26141" y="275755"/>
                    </a:cubicBezTo>
                    <a:lnTo>
                      <a:pt x="26141" y="163362"/>
                    </a:lnTo>
                    <a:lnTo>
                      <a:pt x="134593" y="163795"/>
                    </a:lnTo>
                    <a:lnTo>
                      <a:pt x="134593" y="163795"/>
                    </a:lnTo>
                    <a:cubicBezTo>
                      <a:pt x="153461" y="163795"/>
                      <a:pt x="169880" y="173095"/>
                      <a:pt x="179458" y="187946"/>
                    </a:cubicBezTo>
                    <a:cubicBezTo>
                      <a:pt x="183490" y="196381"/>
                      <a:pt x="186515" y="204888"/>
                      <a:pt x="186515" y="214836"/>
                    </a:cubicBezTo>
                    <a:lnTo>
                      <a:pt x="186731" y="214836"/>
                    </a:lnTo>
                    <a:lnTo>
                      <a:pt x="186731" y="220171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3AD0D0D8-7CC7-7B2A-53F5-FA524BC86076}"/>
                  </a:ext>
                </a:extLst>
              </p:cNvPr>
              <p:cNvSpPr/>
              <p:nvPr/>
            </p:nvSpPr>
            <p:spPr>
              <a:xfrm>
                <a:off x="9791480" y="3324302"/>
                <a:ext cx="311818" cy="312017"/>
              </a:xfrm>
              <a:custGeom>
                <a:avLst/>
                <a:gdLst>
                  <a:gd name="connsiteX0" fmla="*/ 1368 w 311818"/>
                  <a:gd name="connsiteY0" fmla="*/ 175618 h 312017"/>
                  <a:gd name="connsiteX1" fmla="*/ 155981 w 311818"/>
                  <a:gd name="connsiteY1" fmla="*/ 312017 h 312017"/>
                  <a:gd name="connsiteX2" fmla="*/ 310594 w 311818"/>
                  <a:gd name="connsiteY2" fmla="*/ 175546 h 312017"/>
                  <a:gd name="connsiteX3" fmla="*/ 311819 w 311818"/>
                  <a:gd name="connsiteY3" fmla="*/ 156513 h 312017"/>
                  <a:gd name="connsiteX4" fmla="*/ 310954 w 311818"/>
                  <a:gd name="connsiteY4" fmla="*/ 139499 h 312017"/>
                  <a:gd name="connsiteX5" fmla="*/ 155981 w 311818"/>
                  <a:gd name="connsiteY5" fmla="*/ 0 h 312017"/>
                  <a:gd name="connsiteX6" fmla="*/ 1008 w 311818"/>
                  <a:gd name="connsiteY6" fmla="*/ 139499 h 312017"/>
                  <a:gd name="connsiteX7" fmla="*/ 864 w 311818"/>
                  <a:gd name="connsiteY7" fmla="*/ 139499 h 312017"/>
                  <a:gd name="connsiteX8" fmla="*/ 0 w 311818"/>
                  <a:gd name="connsiteY8" fmla="*/ 156513 h 312017"/>
                  <a:gd name="connsiteX9" fmla="*/ 1224 w 311818"/>
                  <a:gd name="connsiteY9" fmla="*/ 175546 h 312017"/>
                  <a:gd name="connsiteX10" fmla="*/ 155981 w 311818"/>
                  <a:gd name="connsiteY10" fmla="*/ 285487 h 312017"/>
                  <a:gd name="connsiteX11" fmla="*/ 28085 w 311818"/>
                  <a:gd name="connsiteY11" fmla="*/ 175618 h 312017"/>
                  <a:gd name="connsiteX12" fmla="*/ 27941 w 311818"/>
                  <a:gd name="connsiteY12" fmla="*/ 175618 h 312017"/>
                  <a:gd name="connsiteX13" fmla="*/ 26501 w 311818"/>
                  <a:gd name="connsiteY13" fmla="*/ 156513 h 312017"/>
                  <a:gd name="connsiteX14" fmla="*/ 27509 w 311818"/>
                  <a:gd name="connsiteY14" fmla="*/ 140004 h 312017"/>
                  <a:gd name="connsiteX15" fmla="*/ 27581 w 311818"/>
                  <a:gd name="connsiteY15" fmla="*/ 140004 h 312017"/>
                  <a:gd name="connsiteX16" fmla="*/ 155909 w 311818"/>
                  <a:gd name="connsiteY16" fmla="*/ 26530 h 312017"/>
                  <a:gd name="connsiteX17" fmla="*/ 284165 w 311818"/>
                  <a:gd name="connsiteY17" fmla="*/ 139788 h 312017"/>
                  <a:gd name="connsiteX18" fmla="*/ 285246 w 311818"/>
                  <a:gd name="connsiteY18" fmla="*/ 156585 h 312017"/>
                  <a:gd name="connsiteX19" fmla="*/ 283805 w 311818"/>
                  <a:gd name="connsiteY19" fmla="*/ 175906 h 312017"/>
                  <a:gd name="connsiteX20" fmla="*/ 155909 w 311818"/>
                  <a:gd name="connsiteY20" fmla="*/ 285559 h 312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1818" h="312017">
                    <a:moveTo>
                      <a:pt x="1368" y="175618"/>
                    </a:moveTo>
                    <a:cubicBezTo>
                      <a:pt x="11018" y="252541"/>
                      <a:pt x="76550" y="312017"/>
                      <a:pt x="155981" y="312017"/>
                    </a:cubicBezTo>
                    <a:cubicBezTo>
                      <a:pt x="235412" y="312017"/>
                      <a:pt x="300945" y="252469"/>
                      <a:pt x="310594" y="175546"/>
                    </a:cubicBezTo>
                    <a:cubicBezTo>
                      <a:pt x="311315" y="169346"/>
                      <a:pt x="311819" y="162930"/>
                      <a:pt x="311819" y="156513"/>
                    </a:cubicBezTo>
                    <a:cubicBezTo>
                      <a:pt x="311819" y="150602"/>
                      <a:pt x="311603" y="145267"/>
                      <a:pt x="310954" y="139499"/>
                    </a:cubicBezTo>
                    <a:cubicBezTo>
                      <a:pt x="302889" y="60846"/>
                      <a:pt x="236636" y="0"/>
                      <a:pt x="155981" y="0"/>
                    </a:cubicBezTo>
                    <a:cubicBezTo>
                      <a:pt x="75326" y="0"/>
                      <a:pt x="9218" y="61135"/>
                      <a:pt x="1008" y="139499"/>
                    </a:cubicBezTo>
                    <a:lnTo>
                      <a:pt x="864" y="139499"/>
                    </a:lnTo>
                    <a:cubicBezTo>
                      <a:pt x="216" y="145267"/>
                      <a:pt x="0" y="150602"/>
                      <a:pt x="0" y="156513"/>
                    </a:cubicBezTo>
                    <a:cubicBezTo>
                      <a:pt x="0" y="162930"/>
                      <a:pt x="432" y="169346"/>
                      <a:pt x="1224" y="175546"/>
                    </a:cubicBezTo>
                    <a:moveTo>
                      <a:pt x="155981" y="285487"/>
                    </a:moveTo>
                    <a:cubicBezTo>
                      <a:pt x="91169" y="285487"/>
                      <a:pt x="37519" y="237834"/>
                      <a:pt x="28085" y="175618"/>
                    </a:cubicBezTo>
                    <a:lnTo>
                      <a:pt x="27941" y="175618"/>
                    </a:lnTo>
                    <a:cubicBezTo>
                      <a:pt x="27005" y="169346"/>
                      <a:pt x="26501" y="163074"/>
                      <a:pt x="26501" y="156513"/>
                    </a:cubicBezTo>
                    <a:cubicBezTo>
                      <a:pt x="26501" y="150818"/>
                      <a:pt x="26789" y="145483"/>
                      <a:pt x="27509" y="140004"/>
                    </a:cubicBezTo>
                    <a:lnTo>
                      <a:pt x="27581" y="140004"/>
                    </a:lnTo>
                    <a:cubicBezTo>
                      <a:pt x="35431" y="76058"/>
                      <a:pt x="89873" y="26530"/>
                      <a:pt x="155909" y="26530"/>
                    </a:cubicBezTo>
                    <a:cubicBezTo>
                      <a:pt x="221946" y="26530"/>
                      <a:pt x="276316" y="75769"/>
                      <a:pt x="284165" y="139788"/>
                    </a:cubicBezTo>
                    <a:cubicBezTo>
                      <a:pt x="284886" y="145411"/>
                      <a:pt x="285246" y="150818"/>
                      <a:pt x="285246" y="156585"/>
                    </a:cubicBezTo>
                    <a:cubicBezTo>
                      <a:pt x="285246" y="163218"/>
                      <a:pt x="284741" y="169562"/>
                      <a:pt x="283805" y="175906"/>
                    </a:cubicBezTo>
                    <a:cubicBezTo>
                      <a:pt x="274372" y="238122"/>
                      <a:pt x="220721" y="285559"/>
                      <a:pt x="155909" y="285559"/>
                    </a:cubicBez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xmlns="" id="{86D3FA1C-0FE2-4B60-BB22-E4581E6544D3}"/>
                  </a:ext>
                </a:extLst>
              </p:cNvPr>
              <p:cNvSpPr/>
              <p:nvPr/>
            </p:nvSpPr>
            <p:spPr>
              <a:xfrm>
                <a:off x="11529743" y="3323653"/>
                <a:ext cx="42343" cy="42390"/>
              </a:xfrm>
              <a:custGeom>
                <a:avLst/>
                <a:gdLst>
                  <a:gd name="connsiteX0" fmla="*/ 0 w 42343"/>
                  <a:gd name="connsiteY0" fmla="*/ 21123 h 42390"/>
                  <a:gd name="connsiteX1" fmla="*/ 21244 w 42343"/>
                  <a:gd name="connsiteY1" fmla="*/ 0 h 42390"/>
                  <a:gd name="connsiteX2" fmla="*/ 42344 w 42343"/>
                  <a:gd name="connsiteY2" fmla="*/ 21123 h 42390"/>
                  <a:gd name="connsiteX3" fmla="*/ 21244 w 42343"/>
                  <a:gd name="connsiteY3" fmla="*/ 42391 h 42390"/>
                  <a:gd name="connsiteX4" fmla="*/ 0 w 42343"/>
                  <a:gd name="connsiteY4" fmla="*/ 21123 h 42390"/>
                  <a:gd name="connsiteX5" fmla="*/ 38959 w 42343"/>
                  <a:gd name="connsiteY5" fmla="*/ 21123 h 42390"/>
                  <a:gd name="connsiteX6" fmla="*/ 21244 w 42343"/>
                  <a:gd name="connsiteY6" fmla="*/ 2812 h 42390"/>
                  <a:gd name="connsiteX7" fmla="*/ 3385 w 42343"/>
                  <a:gd name="connsiteY7" fmla="*/ 21123 h 42390"/>
                  <a:gd name="connsiteX8" fmla="*/ 21244 w 42343"/>
                  <a:gd name="connsiteY8" fmla="*/ 39579 h 42390"/>
                  <a:gd name="connsiteX9" fmla="*/ 38959 w 42343"/>
                  <a:gd name="connsiteY9" fmla="*/ 21123 h 42390"/>
                  <a:gd name="connsiteX10" fmla="*/ 31758 w 42343"/>
                  <a:gd name="connsiteY10" fmla="*/ 32946 h 42390"/>
                  <a:gd name="connsiteX11" fmla="*/ 28301 w 42343"/>
                  <a:gd name="connsiteY11" fmla="*/ 32946 h 42390"/>
                  <a:gd name="connsiteX12" fmla="*/ 21532 w 42343"/>
                  <a:gd name="connsiteY12" fmla="*/ 22060 h 42390"/>
                  <a:gd name="connsiteX13" fmla="*/ 16203 w 42343"/>
                  <a:gd name="connsiteY13" fmla="*/ 22060 h 42390"/>
                  <a:gd name="connsiteX14" fmla="*/ 16203 w 42343"/>
                  <a:gd name="connsiteY14" fmla="*/ 32946 h 42390"/>
                  <a:gd name="connsiteX15" fmla="*/ 13323 w 42343"/>
                  <a:gd name="connsiteY15" fmla="*/ 32946 h 42390"/>
                  <a:gd name="connsiteX16" fmla="*/ 13323 w 42343"/>
                  <a:gd name="connsiteY16" fmla="*/ 9300 h 42390"/>
                  <a:gd name="connsiteX17" fmla="*/ 23693 w 42343"/>
                  <a:gd name="connsiteY17" fmla="*/ 9300 h 42390"/>
                  <a:gd name="connsiteX18" fmla="*/ 32046 w 42343"/>
                  <a:gd name="connsiteY18" fmla="*/ 15572 h 42390"/>
                  <a:gd name="connsiteX19" fmla="*/ 24629 w 42343"/>
                  <a:gd name="connsiteY19" fmla="*/ 22060 h 42390"/>
                  <a:gd name="connsiteX20" fmla="*/ 31758 w 42343"/>
                  <a:gd name="connsiteY20" fmla="*/ 32946 h 42390"/>
                  <a:gd name="connsiteX21" fmla="*/ 20668 w 42343"/>
                  <a:gd name="connsiteY21" fmla="*/ 19753 h 42390"/>
                  <a:gd name="connsiteX22" fmla="*/ 28949 w 42343"/>
                  <a:gd name="connsiteY22" fmla="*/ 15500 h 42390"/>
                  <a:gd name="connsiteX23" fmla="*/ 23044 w 42343"/>
                  <a:gd name="connsiteY23" fmla="*/ 11391 h 42390"/>
                  <a:gd name="connsiteX24" fmla="*/ 16275 w 42343"/>
                  <a:gd name="connsiteY24" fmla="*/ 11391 h 42390"/>
                  <a:gd name="connsiteX25" fmla="*/ 16275 w 42343"/>
                  <a:gd name="connsiteY25" fmla="*/ 19753 h 42390"/>
                  <a:gd name="connsiteX26" fmla="*/ 20668 w 42343"/>
                  <a:gd name="connsiteY26" fmla="*/ 19753 h 4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2343" h="42390">
                    <a:moveTo>
                      <a:pt x="0" y="21123"/>
                    </a:moveTo>
                    <a:cubicBezTo>
                      <a:pt x="0" y="9516"/>
                      <a:pt x="9506" y="0"/>
                      <a:pt x="21244" y="0"/>
                    </a:cubicBezTo>
                    <a:cubicBezTo>
                      <a:pt x="32982" y="0"/>
                      <a:pt x="42344" y="9516"/>
                      <a:pt x="42344" y="21123"/>
                    </a:cubicBezTo>
                    <a:cubicBezTo>
                      <a:pt x="42344" y="32730"/>
                      <a:pt x="32910" y="42391"/>
                      <a:pt x="21244" y="42391"/>
                    </a:cubicBezTo>
                    <a:cubicBezTo>
                      <a:pt x="9578" y="42391"/>
                      <a:pt x="0" y="32874"/>
                      <a:pt x="0" y="21123"/>
                    </a:cubicBezTo>
                    <a:close/>
                    <a:moveTo>
                      <a:pt x="38959" y="21123"/>
                    </a:moveTo>
                    <a:cubicBezTo>
                      <a:pt x="38959" y="10814"/>
                      <a:pt x="31470" y="2812"/>
                      <a:pt x="21244" y="2812"/>
                    </a:cubicBezTo>
                    <a:cubicBezTo>
                      <a:pt x="11018" y="2812"/>
                      <a:pt x="3385" y="10886"/>
                      <a:pt x="3385" y="21123"/>
                    </a:cubicBezTo>
                    <a:cubicBezTo>
                      <a:pt x="3385" y="31360"/>
                      <a:pt x="10946" y="39579"/>
                      <a:pt x="21244" y="39579"/>
                    </a:cubicBezTo>
                    <a:cubicBezTo>
                      <a:pt x="31542" y="39579"/>
                      <a:pt x="38959" y="31505"/>
                      <a:pt x="38959" y="21123"/>
                    </a:cubicBezTo>
                    <a:close/>
                    <a:moveTo>
                      <a:pt x="31758" y="32946"/>
                    </a:moveTo>
                    <a:lnTo>
                      <a:pt x="28301" y="32946"/>
                    </a:lnTo>
                    <a:lnTo>
                      <a:pt x="21532" y="22060"/>
                    </a:lnTo>
                    <a:lnTo>
                      <a:pt x="16203" y="22060"/>
                    </a:lnTo>
                    <a:lnTo>
                      <a:pt x="16203" y="32946"/>
                    </a:lnTo>
                    <a:lnTo>
                      <a:pt x="13323" y="32946"/>
                    </a:lnTo>
                    <a:lnTo>
                      <a:pt x="13323" y="9300"/>
                    </a:lnTo>
                    <a:lnTo>
                      <a:pt x="23693" y="9300"/>
                    </a:lnTo>
                    <a:cubicBezTo>
                      <a:pt x="29958" y="9300"/>
                      <a:pt x="32046" y="11679"/>
                      <a:pt x="32046" y="15572"/>
                    </a:cubicBezTo>
                    <a:cubicBezTo>
                      <a:pt x="32046" y="20186"/>
                      <a:pt x="28805" y="21916"/>
                      <a:pt x="24629" y="22060"/>
                    </a:cubicBezTo>
                    <a:lnTo>
                      <a:pt x="31758" y="32946"/>
                    </a:lnTo>
                    <a:close/>
                    <a:moveTo>
                      <a:pt x="20668" y="19753"/>
                    </a:moveTo>
                    <a:cubicBezTo>
                      <a:pt x="24052" y="19753"/>
                      <a:pt x="28949" y="20330"/>
                      <a:pt x="28949" y="15500"/>
                    </a:cubicBezTo>
                    <a:cubicBezTo>
                      <a:pt x="28949" y="11823"/>
                      <a:pt x="25925" y="11391"/>
                      <a:pt x="23044" y="11391"/>
                    </a:cubicBezTo>
                    <a:lnTo>
                      <a:pt x="16275" y="11391"/>
                    </a:lnTo>
                    <a:lnTo>
                      <a:pt x="16275" y="19753"/>
                    </a:lnTo>
                    <a:lnTo>
                      <a:pt x="20668" y="19753"/>
                    </a:lnTo>
                    <a:close/>
                  </a:path>
                </a:pathLst>
              </a:custGeom>
              <a:solidFill>
                <a:srgbClr val="28509C"/>
              </a:solidFill>
              <a:ln w="7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6E339596-C2F0-566F-3785-62C63D4F91A9}"/>
                </a:ext>
              </a:extLst>
            </p:cNvPr>
            <p:cNvSpPr/>
            <p:nvPr/>
          </p:nvSpPr>
          <p:spPr>
            <a:xfrm>
              <a:off x="9662576" y="3326249"/>
              <a:ext cx="70213" cy="41020"/>
            </a:xfrm>
            <a:custGeom>
              <a:avLst/>
              <a:gdLst>
                <a:gd name="connsiteX0" fmla="*/ 15267 w 70213"/>
                <a:gd name="connsiteY0" fmla="*/ 4398 h 41020"/>
                <a:gd name="connsiteX1" fmla="*/ 9434 w 70213"/>
                <a:gd name="connsiteY1" fmla="*/ 7714 h 41020"/>
                <a:gd name="connsiteX2" fmla="*/ 4321 w 70213"/>
                <a:gd name="connsiteY2" fmla="*/ 11607 h 41020"/>
                <a:gd name="connsiteX3" fmla="*/ 2737 w 70213"/>
                <a:gd name="connsiteY3" fmla="*/ 15139 h 41020"/>
                <a:gd name="connsiteX4" fmla="*/ 648 w 70213"/>
                <a:gd name="connsiteY4" fmla="*/ 18167 h 41020"/>
                <a:gd name="connsiteX5" fmla="*/ 144 w 70213"/>
                <a:gd name="connsiteY5" fmla="*/ 19249 h 41020"/>
                <a:gd name="connsiteX6" fmla="*/ 0 w 70213"/>
                <a:gd name="connsiteY6" fmla="*/ 20330 h 41020"/>
                <a:gd name="connsiteX7" fmla="*/ 288 w 70213"/>
                <a:gd name="connsiteY7" fmla="*/ 21556 h 41020"/>
                <a:gd name="connsiteX8" fmla="*/ 2232 w 70213"/>
                <a:gd name="connsiteY8" fmla="*/ 26891 h 41020"/>
                <a:gd name="connsiteX9" fmla="*/ 5617 w 70213"/>
                <a:gd name="connsiteY9" fmla="*/ 28981 h 41020"/>
                <a:gd name="connsiteX10" fmla="*/ 9506 w 70213"/>
                <a:gd name="connsiteY10" fmla="*/ 33379 h 41020"/>
                <a:gd name="connsiteX11" fmla="*/ 12314 w 70213"/>
                <a:gd name="connsiteY11" fmla="*/ 36046 h 41020"/>
                <a:gd name="connsiteX12" fmla="*/ 16347 w 70213"/>
                <a:gd name="connsiteY12" fmla="*/ 37993 h 41020"/>
                <a:gd name="connsiteX13" fmla="*/ 20380 w 70213"/>
                <a:gd name="connsiteY13" fmla="*/ 39218 h 41020"/>
                <a:gd name="connsiteX14" fmla="*/ 26069 w 70213"/>
                <a:gd name="connsiteY14" fmla="*/ 39218 h 41020"/>
                <a:gd name="connsiteX15" fmla="*/ 29814 w 70213"/>
                <a:gd name="connsiteY15" fmla="*/ 39939 h 41020"/>
                <a:gd name="connsiteX16" fmla="*/ 33846 w 70213"/>
                <a:gd name="connsiteY16" fmla="*/ 40300 h 41020"/>
                <a:gd name="connsiteX17" fmla="*/ 39319 w 70213"/>
                <a:gd name="connsiteY17" fmla="*/ 40660 h 41020"/>
                <a:gd name="connsiteX18" fmla="*/ 44576 w 70213"/>
                <a:gd name="connsiteY18" fmla="*/ 41021 h 41020"/>
                <a:gd name="connsiteX19" fmla="*/ 51130 w 70213"/>
                <a:gd name="connsiteY19" fmla="*/ 40516 h 41020"/>
                <a:gd name="connsiteX20" fmla="*/ 56099 w 70213"/>
                <a:gd name="connsiteY20" fmla="*/ 39074 h 41020"/>
                <a:gd name="connsiteX21" fmla="*/ 62076 w 70213"/>
                <a:gd name="connsiteY21" fmla="*/ 36623 h 41020"/>
                <a:gd name="connsiteX22" fmla="*/ 64740 w 70213"/>
                <a:gd name="connsiteY22" fmla="*/ 33595 h 41020"/>
                <a:gd name="connsiteX23" fmla="*/ 67765 w 70213"/>
                <a:gd name="connsiteY23" fmla="*/ 30784 h 41020"/>
                <a:gd name="connsiteX24" fmla="*/ 70213 w 70213"/>
                <a:gd name="connsiteY24" fmla="*/ 26891 h 41020"/>
                <a:gd name="connsiteX25" fmla="*/ 70069 w 70213"/>
                <a:gd name="connsiteY25" fmla="*/ 22853 h 41020"/>
                <a:gd name="connsiteX26" fmla="*/ 68989 w 70213"/>
                <a:gd name="connsiteY26" fmla="*/ 17014 h 41020"/>
                <a:gd name="connsiteX27" fmla="*/ 62652 w 70213"/>
                <a:gd name="connsiteY27" fmla="*/ 7786 h 41020"/>
                <a:gd name="connsiteX28" fmla="*/ 57035 w 70213"/>
                <a:gd name="connsiteY28" fmla="*/ 3533 h 41020"/>
                <a:gd name="connsiteX29" fmla="*/ 54226 w 70213"/>
                <a:gd name="connsiteY29" fmla="*/ 2163 h 41020"/>
                <a:gd name="connsiteX30" fmla="*/ 52138 w 70213"/>
                <a:gd name="connsiteY30" fmla="*/ 1370 h 41020"/>
                <a:gd name="connsiteX31" fmla="*/ 50121 w 70213"/>
                <a:gd name="connsiteY31" fmla="*/ 1081 h 41020"/>
                <a:gd name="connsiteX32" fmla="*/ 43568 w 70213"/>
                <a:gd name="connsiteY32" fmla="*/ 1586 h 41020"/>
                <a:gd name="connsiteX33" fmla="*/ 37015 w 70213"/>
                <a:gd name="connsiteY33" fmla="*/ 505 h 41020"/>
                <a:gd name="connsiteX34" fmla="*/ 33846 w 70213"/>
                <a:gd name="connsiteY34" fmla="*/ 0 h 41020"/>
                <a:gd name="connsiteX35" fmla="*/ 29814 w 70213"/>
                <a:gd name="connsiteY35" fmla="*/ 865 h 41020"/>
                <a:gd name="connsiteX36" fmla="*/ 24485 w 70213"/>
                <a:gd name="connsiteY36" fmla="*/ 1586 h 41020"/>
                <a:gd name="connsiteX37" fmla="*/ 21100 w 70213"/>
                <a:gd name="connsiteY37" fmla="*/ 2812 h 41020"/>
                <a:gd name="connsiteX38" fmla="*/ 15267 w 70213"/>
                <a:gd name="connsiteY38" fmla="*/ 4398 h 4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0213" h="41020">
                  <a:moveTo>
                    <a:pt x="15267" y="4398"/>
                  </a:moveTo>
                  <a:lnTo>
                    <a:pt x="9434" y="7714"/>
                  </a:lnTo>
                  <a:lnTo>
                    <a:pt x="4321" y="11607"/>
                  </a:lnTo>
                  <a:lnTo>
                    <a:pt x="2737" y="15139"/>
                  </a:lnTo>
                  <a:lnTo>
                    <a:pt x="648" y="18167"/>
                  </a:lnTo>
                  <a:lnTo>
                    <a:pt x="144" y="19249"/>
                  </a:lnTo>
                  <a:lnTo>
                    <a:pt x="0" y="20330"/>
                  </a:lnTo>
                  <a:lnTo>
                    <a:pt x="288" y="21556"/>
                  </a:lnTo>
                  <a:lnTo>
                    <a:pt x="2232" y="26891"/>
                  </a:lnTo>
                  <a:lnTo>
                    <a:pt x="5617" y="28981"/>
                  </a:lnTo>
                  <a:lnTo>
                    <a:pt x="9506" y="33379"/>
                  </a:lnTo>
                  <a:lnTo>
                    <a:pt x="12314" y="36046"/>
                  </a:lnTo>
                  <a:lnTo>
                    <a:pt x="16347" y="37993"/>
                  </a:lnTo>
                  <a:lnTo>
                    <a:pt x="20380" y="39218"/>
                  </a:lnTo>
                  <a:lnTo>
                    <a:pt x="26069" y="39218"/>
                  </a:lnTo>
                  <a:lnTo>
                    <a:pt x="29814" y="39939"/>
                  </a:lnTo>
                  <a:lnTo>
                    <a:pt x="33846" y="40300"/>
                  </a:lnTo>
                  <a:lnTo>
                    <a:pt x="39319" y="40660"/>
                  </a:lnTo>
                  <a:lnTo>
                    <a:pt x="44576" y="41021"/>
                  </a:lnTo>
                  <a:lnTo>
                    <a:pt x="51130" y="40516"/>
                  </a:lnTo>
                  <a:lnTo>
                    <a:pt x="56099" y="39074"/>
                  </a:lnTo>
                  <a:lnTo>
                    <a:pt x="62076" y="36623"/>
                  </a:lnTo>
                  <a:lnTo>
                    <a:pt x="64740" y="33595"/>
                  </a:lnTo>
                  <a:lnTo>
                    <a:pt x="67765" y="30784"/>
                  </a:lnTo>
                  <a:lnTo>
                    <a:pt x="70213" y="26891"/>
                  </a:lnTo>
                  <a:lnTo>
                    <a:pt x="70069" y="22853"/>
                  </a:lnTo>
                  <a:lnTo>
                    <a:pt x="68989" y="17014"/>
                  </a:lnTo>
                  <a:lnTo>
                    <a:pt x="62652" y="7786"/>
                  </a:lnTo>
                  <a:lnTo>
                    <a:pt x="57035" y="3533"/>
                  </a:lnTo>
                  <a:lnTo>
                    <a:pt x="54226" y="2163"/>
                  </a:lnTo>
                  <a:lnTo>
                    <a:pt x="52138" y="1370"/>
                  </a:lnTo>
                  <a:lnTo>
                    <a:pt x="50121" y="1081"/>
                  </a:lnTo>
                  <a:lnTo>
                    <a:pt x="43568" y="1586"/>
                  </a:lnTo>
                  <a:lnTo>
                    <a:pt x="37015" y="505"/>
                  </a:lnTo>
                  <a:lnTo>
                    <a:pt x="33846" y="0"/>
                  </a:lnTo>
                  <a:lnTo>
                    <a:pt x="29814" y="865"/>
                  </a:lnTo>
                  <a:lnTo>
                    <a:pt x="24485" y="1586"/>
                  </a:lnTo>
                  <a:lnTo>
                    <a:pt x="21100" y="2812"/>
                  </a:lnTo>
                  <a:lnTo>
                    <a:pt x="15267" y="4398"/>
                  </a:lnTo>
                </a:path>
              </a:pathLst>
            </a:custGeom>
            <a:solidFill>
              <a:srgbClr val="F26531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6448ADAB-8362-0442-7F83-D724CD4483C6}"/>
                </a:ext>
              </a:extLst>
            </p:cNvPr>
            <p:cNvSpPr/>
            <p:nvPr/>
          </p:nvSpPr>
          <p:spPr>
            <a:xfrm>
              <a:off x="9668265" y="3427034"/>
              <a:ext cx="59915" cy="15932"/>
            </a:xfrm>
            <a:custGeom>
              <a:avLst/>
              <a:gdLst>
                <a:gd name="connsiteX0" fmla="*/ 1224 w 59915"/>
                <a:gd name="connsiteY0" fmla="*/ 360 h 15932"/>
                <a:gd name="connsiteX1" fmla="*/ 32694 w 59915"/>
                <a:gd name="connsiteY1" fmla="*/ 1081 h 15932"/>
                <a:gd name="connsiteX2" fmla="*/ 37375 w 59915"/>
                <a:gd name="connsiteY2" fmla="*/ 144 h 15932"/>
                <a:gd name="connsiteX3" fmla="*/ 43424 w 59915"/>
                <a:gd name="connsiteY3" fmla="*/ 0 h 15932"/>
                <a:gd name="connsiteX4" fmla="*/ 49473 w 59915"/>
                <a:gd name="connsiteY4" fmla="*/ 649 h 15932"/>
                <a:gd name="connsiteX5" fmla="*/ 54082 w 59915"/>
                <a:gd name="connsiteY5" fmla="*/ 1947 h 15932"/>
                <a:gd name="connsiteX6" fmla="*/ 57611 w 59915"/>
                <a:gd name="connsiteY6" fmla="*/ 4326 h 15932"/>
                <a:gd name="connsiteX7" fmla="*/ 58907 w 59915"/>
                <a:gd name="connsiteY7" fmla="*/ 5984 h 15932"/>
                <a:gd name="connsiteX8" fmla="*/ 59699 w 59915"/>
                <a:gd name="connsiteY8" fmla="*/ 7714 h 15932"/>
                <a:gd name="connsiteX9" fmla="*/ 59915 w 59915"/>
                <a:gd name="connsiteY9" fmla="*/ 9588 h 15932"/>
                <a:gd name="connsiteX10" fmla="*/ 59339 w 59915"/>
                <a:gd name="connsiteY10" fmla="*/ 11535 h 15932"/>
                <a:gd name="connsiteX11" fmla="*/ 57971 w 59915"/>
                <a:gd name="connsiteY11" fmla="*/ 13409 h 15932"/>
                <a:gd name="connsiteX12" fmla="*/ 55522 w 59915"/>
                <a:gd name="connsiteY12" fmla="*/ 15212 h 15932"/>
                <a:gd name="connsiteX13" fmla="*/ 51922 w 59915"/>
                <a:gd name="connsiteY13" fmla="*/ 15932 h 15932"/>
                <a:gd name="connsiteX14" fmla="*/ 45513 w 59915"/>
                <a:gd name="connsiteY14" fmla="*/ 15932 h 15932"/>
                <a:gd name="connsiteX15" fmla="*/ 28229 w 59915"/>
                <a:gd name="connsiteY15" fmla="*/ 14635 h 15932"/>
                <a:gd name="connsiteX16" fmla="*/ 1872 w 59915"/>
                <a:gd name="connsiteY16" fmla="*/ 11607 h 15932"/>
                <a:gd name="connsiteX17" fmla="*/ 864 w 59915"/>
                <a:gd name="connsiteY17" fmla="*/ 11174 h 15932"/>
                <a:gd name="connsiteX18" fmla="*/ 288 w 59915"/>
                <a:gd name="connsiteY18" fmla="*/ 10165 h 15932"/>
                <a:gd name="connsiteX19" fmla="*/ 0 w 59915"/>
                <a:gd name="connsiteY19" fmla="*/ 6921 h 15932"/>
                <a:gd name="connsiteX20" fmla="*/ 1224 w 59915"/>
                <a:gd name="connsiteY20" fmla="*/ 360 h 1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9915" h="15932">
                  <a:moveTo>
                    <a:pt x="1224" y="360"/>
                  </a:moveTo>
                  <a:lnTo>
                    <a:pt x="32694" y="1081"/>
                  </a:lnTo>
                  <a:lnTo>
                    <a:pt x="37375" y="144"/>
                  </a:lnTo>
                  <a:lnTo>
                    <a:pt x="43424" y="0"/>
                  </a:lnTo>
                  <a:lnTo>
                    <a:pt x="49473" y="649"/>
                  </a:lnTo>
                  <a:lnTo>
                    <a:pt x="54082" y="1947"/>
                  </a:lnTo>
                  <a:lnTo>
                    <a:pt x="57611" y="4326"/>
                  </a:lnTo>
                  <a:lnTo>
                    <a:pt x="58907" y="5984"/>
                  </a:lnTo>
                  <a:lnTo>
                    <a:pt x="59699" y="7714"/>
                  </a:lnTo>
                  <a:lnTo>
                    <a:pt x="59915" y="9588"/>
                  </a:lnTo>
                  <a:lnTo>
                    <a:pt x="59339" y="11535"/>
                  </a:lnTo>
                  <a:lnTo>
                    <a:pt x="57971" y="13409"/>
                  </a:lnTo>
                  <a:lnTo>
                    <a:pt x="55522" y="15212"/>
                  </a:lnTo>
                  <a:lnTo>
                    <a:pt x="51922" y="15932"/>
                  </a:lnTo>
                  <a:lnTo>
                    <a:pt x="45513" y="15932"/>
                  </a:lnTo>
                  <a:lnTo>
                    <a:pt x="28229" y="14635"/>
                  </a:lnTo>
                  <a:lnTo>
                    <a:pt x="1872" y="11607"/>
                  </a:lnTo>
                  <a:lnTo>
                    <a:pt x="864" y="11174"/>
                  </a:lnTo>
                  <a:lnTo>
                    <a:pt x="288" y="10165"/>
                  </a:lnTo>
                  <a:lnTo>
                    <a:pt x="0" y="6921"/>
                  </a:lnTo>
                  <a:lnTo>
                    <a:pt x="1224" y="360"/>
                  </a:lnTo>
                </a:path>
              </a:pathLst>
            </a:custGeom>
            <a:solidFill>
              <a:srgbClr val="ED1849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9B6F4B49-81D2-359F-3D25-12776D02B67D}"/>
                </a:ext>
              </a:extLst>
            </p:cNvPr>
            <p:cNvSpPr/>
            <p:nvPr/>
          </p:nvSpPr>
          <p:spPr>
            <a:xfrm>
              <a:off x="9671290" y="3456448"/>
              <a:ext cx="57754" cy="15644"/>
            </a:xfrm>
            <a:custGeom>
              <a:avLst/>
              <a:gdLst>
                <a:gd name="connsiteX0" fmla="*/ 7057 w 57754"/>
                <a:gd name="connsiteY0" fmla="*/ 0 h 15644"/>
                <a:gd name="connsiteX1" fmla="*/ 9794 w 57754"/>
                <a:gd name="connsiteY1" fmla="*/ 1658 h 15644"/>
                <a:gd name="connsiteX2" fmla="*/ 11522 w 57754"/>
                <a:gd name="connsiteY2" fmla="*/ 2667 h 15644"/>
                <a:gd name="connsiteX3" fmla="*/ 13467 w 57754"/>
                <a:gd name="connsiteY3" fmla="*/ 3172 h 15644"/>
                <a:gd name="connsiteX4" fmla="*/ 14835 w 57754"/>
                <a:gd name="connsiteY4" fmla="*/ 2884 h 15644"/>
                <a:gd name="connsiteX5" fmla="*/ 16419 w 57754"/>
                <a:gd name="connsiteY5" fmla="*/ 2163 h 15644"/>
                <a:gd name="connsiteX6" fmla="*/ 18003 w 57754"/>
                <a:gd name="connsiteY6" fmla="*/ 1370 h 15644"/>
                <a:gd name="connsiteX7" fmla="*/ 19588 w 57754"/>
                <a:gd name="connsiteY7" fmla="*/ 1009 h 15644"/>
                <a:gd name="connsiteX8" fmla="*/ 22324 w 57754"/>
                <a:gd name="connsiteY8" fmla="*/ 2019 h 15644"/>
                <a:gd name="connsiteX9" fmla="*/ 25277 w 57754"/>
                <a:gd name="connsiteY9" fmla="*/ 3028 h 15644"/>
                <a:gd name="connsiteX10" fmla="*/ 27725 w 57754"/>
                <a:gd name="connsiteY10" fmla="*/ 2235 h 15644"/>
                <a:gd name="connsiteX11" fmla="*/ 30246 w 57754"/>
                <a:gd name="connsiteY11" fmla="*/ 1514 h 15644"/>
                <a:gd name="connsiteX12" fmla="*/ 33198 w 57754"/>
                <a:gd name="connsiteY12" fmla="*/ 2595 h 15644"/>
                <a:gd name="connsiteX13" fmla="*/ 34638 w 57754"/>
                <a:gd name="connsiteY13" fmla="*/ 3172 h 15644"/>
                <a:gd name="connsiteX14" fmla="*/ 36079 w 57754"/>
                <a:gd name="connsiteY14" fmla="*/ 3172 h 15644"/>
                <a:gd name="connsiteX15" fmla="*/ 45224 w 57754"/>
                <a:gd name="connsiteY15" fmla="*/ 1947 h 15644"/>
                <a:gd name="connsiteX16" fmla="*/ 52210 w 57754"/>
                <a:gd name="connsiteY16" fmla="*/ 3100 h 15644"/>
                <a:gd name="connsiteX17" fmla="*/ 52642 w 57754"/>
                <a:gd name="connsiteY17" fmla="*/ 3388 h 15644"/>
                <a:gd name="connsiteX18" fmla="*/ 52858 w 57754"/>
                <a:gd name="connsiteY18" fmla="*/ 3749 h 15644"/>
                <a:gd name="connsiteX19" fmla="*/ 52642 w 57754"/>
                <a:gd name="connsiteY19" fmla="*/ 4614 h 15644"/>
                <a:gd name="connsiteX20" fmla="*/ 52354 w 57754"/>
                <a:gd name="connsiteY20" fmla="*/ 5551 h 15644"/>
                <a:gd name="connsiteX21" fmla="*/ 52642 w 57754"/>
                <a:gd name="connsiteY21" fmla="*/ 6416 h 15644"/>
                <a:gd name="connsiteX22" fmla="*/ 54370 w 57754"/>
                <a:gd name="connsiteY22" fmla="*/ 7426 h 15644"/>
                <a:gd name="connsiteX23" fmla="*/ 56315 w 57754"/>
                <a:gd name="connsiteY23" fmla="*/ 8219 h 15644"/>
                <a:gd name="connsiteX24" fmla="*/ 57107 w 57754"/>
                <a:gd name="connsiteY24" fmla="*/ 8795 h 15644"/>
                <a:gd name="connsiteX25" fmla="*/ 57611 w 57754"/>
                <a:gd name="connsiteY25" fmla="*/ 9660 h 15644"/>
                <a:gd name="connsiteX26" fmla="*/ 57755 w 57754"/>
                <a:gd name="connsiteY26" fmla="*/ 10958 h 15644"/>
                <a:gd name="connsiteX27" fmla="*/ 57395 w 57754"/>
                <a:gd name="connsiteY27" fmla="*/ 12760 h 15644"/>
                <a:gd name="connsiteX28" fmla="*/ 56819 w 57754"/>
                <a:gd name="connsiteY28" fmla="*/ 13626 h 15644"/>
                <a:gd name="connsiteX29" fmla="*/ 55522 w 57754"/>
                <a:gd name="connsiteY29" fmla="*/ 14346 h 15644"/>
                <a:gd name="connsiteX30" fmla="*/ 51562 w 57754"/>
                <a:gd name="connsiteY30" fmla="*/ 15212 h 15644"/>
                <a:gd name="connsiteX31" fmla="*/ 39031 w 57754"/>
                <a:gd name="connsiteY31" fmla="*/ 15644 h 15644"/>
                <a:gd name="connsiteX32" fmla="*/ 21100 w 57754"/>
                <a:gd name="connsiteY32" fmla="*/ 13337 h 15644"/>
                <a:gd name="connsiteX33" fmla="*/ 5545 w 57754"/>
                <a:gd name="connsiteY33" fmla="*/ 10453 h 15644"/>
                <a:gd name="connsiteX34" fmla="*/ 3241 w 57754"/>
                <a:gd name="connsiteY34" fmla="*/ 9516 h 15644"/>
                <a:gd name="connsiteX35" fmla="*/ 1512 w 57754"/>
                <a:gd name="connsiteY35" fmla="*/ 7426 h 15644"/>
                <a:gd name="connsiteX36" fmla="*/ 360 w 57754"/>
                <a:gd name="connsiteY36" fmla="*/ 4974 h 15644"/>
                <a:gd name="connsiteX37" fmla="*/ 0 w 57754"/>
                <a:gd name="connsiteY37" fmla="*/ 2812 h 15644"/>
                <a:gd name="connsiteX38" fmla="*/ 7057 w 57754"/>
                <a:gd name="connsiteY38" fmla="*/ 0 h 1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754" h="15644">
                  <a:moveTo>
                    <a:pt x="7057" y="0"/>
                  </a:moveTo>
                  <a:lnTo>
                    <a:pt x="9794" y="1658"/>
                  </a:lnTo>
                  <a:lnTo>
                    <a:pt x="11522" y="2667"/>
                  </a:lnTo>
                  <a:lnTo>
                    <a:pt x="13467" y="3172"/>
                  </a:lnTo>
                  <a:lnTo>
                    <a:pt x="14835" y="2884"/>
                  </a:lnTo>
                  <a:lnTo>
                    <a:pt x="16419" y="2163"/>
                  </a:lnTo>
                  <a:lnTo>
                    <a:pt x="18003" y="1370"/>
                  </a:lnTo>
                  <a:lnTo>
                    <a:pt x="19588" y="1009"/>
                  </a:lnTo>
                  <a:lnTo>
                    <a:pt x="22324" y="2019"/>
                  </a:lnTo>
                  <a:lnTo>
                    <a:pt x="25277" y="3028"/>
                  </a:lnTo>
                  <a:lnTo>
                    <a:pt x="27725" y="2235"/>
                  </a:lnTo>
                  <a:lnTo>
                    <a:pt x="30246" y="1514"/>
                  </a:lnTo>
                  <a:lnTo>
                    <a:pt x="33198" y="2595"/>
                  </a:lnTo>
                  <a:lnTo>
                    <a:pt x="34638" y="3172"/>
                  </a:lnTo>
                  <a:lnTo>
                    <a:pt x="36079" y="3172"/>
                  </a:lnTo>
                  <a:lnTo>
                    <a:pt x="45224" y="1947"/>
                  </a:lnTo>
                  <a:lnTo>
                    <a:pt x="52210" y="3100"/>
                  </a:lnTo>
                  <a:lnTo>
                    <a:pt x="52642" y="3388"/>
                  </a:lnTo>
                  <a:lnTo>
                    <a:pt x="52858" y="3749"/>
                  </a:lnTo>
                  <a:lnTo>
                    <a:pt x="52642" y="4614"/>
                  </a:lnTo>
                  <a:lnTo>
                    <a:pt x="52354" y="5551"/>
                  </a:lnTo>
                  <a:lnTo>
                    <a:pt x="52642" y="6416"/>
                  </a:lnTo>
                  <a:lnTo>
                    <a:pt x="54370" y="7426"/>
                  </a:lnTo>
                  <a:lnTo>
                    <a:pt x="56315" y="8219"/>
                  </a:lnTo>
                  <a:lnTo>
                    <a:pt x="57107" y="8795"/>
                  </a:lnTo>
                  <a:lnTo>
                    <a:pt x="57611" y="9660"/>
                  </a:lnTo>
                  <a:lnTo>
                    <a:pt x="57755" y="10958"/>
                  </a:lnTo>
                  <a:lnTo>
                    <a:pt x="57395" y="12760"/>
                  </a:lnTo>
                  <a:lnTo>
                    <a:pt x="56819" y="13626"/>
                  </a:lnTo>
                  <a:lnTo>
                    <a:pt x="55522" y="14346"/>
                  </a:lnTo>
                  <a:lnTo>
                    <a:pt x="51562" y="15212"/>
                  </a:lnTo>
                  <a:lnTo>
                    <a:pt x="39031" y="15644"/>
                  </a:lnTo>
                  <a:lnTo>
                    <a:pt x="21100" y="13337"/>
                  </a:lnTo>
                  <a:lnTo>
                    <a:pt x="5545" y="10453"/>
                  </a:lnTo>
                  <a:lnTo>
                    <a:pt x="3241" y="9516"/>
                  </a:lnTo>
                  <a:lnTo>
                    <a:pt x="1512" y="7426"/>
                  </a:lnTo>
                  <a:lnTo>
                    <a:pt x="360" y="4974"/>
                  </a:lnTo>
                  <a:lnTo>
                    <a:pt x="0" y="2812"/>
                  </a:lnTo>
                  <a:lnTo>
                    <a:pt x="705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763ADC91-D85F-8054-B681-C4C69EDB725E}"/>
                </a:ext>
              </a:extLst>
            </p:cNvPr>
            <p:cNvSpPr/>
            <p:nvPr/>
          </p:nvSpPr>
          <p:spPr>
            <a:xfrm>
              <a:off x="9668481" y="3473390"/>
              <a:ext cx="59771" cy="17013"/>
            </a:xfrm>
            <a:custGeom>
              <a:avLst/>
              <a:gdLst>
                <a:gd name="connsiteX0" fmla="*/ 5617 w 59771"/>
                <a:gd name="connsiteY0" fmla="*/ 0 h 17013"/>
                <a:gd name="connsiteX1" fmla="*/ 10442 w 59771"/>
                <a:gd name="connsiteY1" fmla="*/ 1874 h 17013"/>
                <a:gd name="connsiteX2" fmla="*/ 12818 w 59771"/>
                <a:gd name="connsiteY2" fmla="*/ 2740 h 17013"/>
                <a:gd name="connsiteX3" fmla="*/ 15195 w 59771"/>
                <a:gd name="connsiteY3" fmla="*/ 2667 h 17013"/>
                <a:gd name="connsiteX4" fmla="*/ 36583 w 59771"/>
                <a:gd name="connsiteY4" fmla="*/ 1658 h 17013"/>
                <a:gd name="connsiteX5" fmla="*/ 45152 w 59771"/>
                <a:gd name="connsiteY5" fmla="*/ 2451 h 17013"/>
                <a:gd name="connsiteX6" fmla="*/ 51850 w 59771"/>
                <a:gd name="connsiteY6" fmla="*/ 4109 h 17013"/>
                <a:gd name="connsiteX7" fmla="*/ 54874 w 59771"/>
                <a:gd name="connsiteY7" fmla="*/ 4902 h 17013"/>
                <a:gd name="connsiteX8" fmla="*/ 56603 w 59771"/>
                <a:gd name="connsiteY8" fmla="*/ 5623 h 17013"/>
                <a:gd name="connsiteX9" fmla="*/ 57971 w 59771"/>
                <a:gd name="connsiteY9" fmla="*/ 6633 h 17013"/>
                <a:gd name="connsiteX10" fmla="*/ 59483 w 59771"/>
                <a:gd name="connsiteY10" fmla="*/ 9300 h 17013"/>
                <a:gd name="connsiteX11" fmla="*/ 59771 w 59771"/>
                <a:gd name="connsiteY11" fmla="*/ 11895 h 17013"/>
                <a:gd name="connsiteX12" fmla="*/ 59123 w 59771"/>
                <a:gd name="connsiteY12" fmla="*/ 14130 h 17013"/>
                <a:gd name="connsiteX13" fmla="*/ 57971 w 59771"/>
                <a:gd name="connsiteY13" fmla="*/ 15572 h 17013"/>
                <a:gd name="connsiteX14" fmla="*/ 57971 w 59771"/>
                <a:gd name="connsiteY14" fmla="*/ 17014 h 17013"/>
                <a:gd name="connsiteX15" fmla="*/ 37015 w 59771"/>
                <a:gd name="connsiteY15" fmla="*/ 16942 h 17013"/>
                <a:gd name="connsiteX16" fmla="*/ 30030 w 59771"/>
                <a:gd name="connsiteY16" fmla="*/ 17014 h 17013"/>
                <a:gd name="connsiteX17" fmla="*/ 23116 w 59771"/>
                <a:gd name="connsiteY17" fmla="*/ 16437 h 17013"/>
                <a:gd name="connsiteX18" fmla="*/ 16203 w 59771"/>
                <a:gd name="connsiteY18" fmla="*/ 15212 h 17013"/>
                <a:gd name="connsiteX19" fmla="*/ 10010 w 59771"/>
                <a:gd name="connsiteY19" fmla="*/ 14202 h 17013"/>
                <a:gd name="connsiteX20" fmla="*/ 5545 w 59771"/>
                <a:gd name="connsiteY20" fmla="*/ 13481 h 17013"/>
                <a:gd name="connsiteX21" fmla="*/ 3745 w 59771"/>
                <a:gd name="connsiteY21" fmla="*/ 13049 h 17013"/>
                <a:gd name="connsiteX22" fmla="*/ 2520 w 59771"/>
                <a:gd name="connsiteY22" fmla="*/ 11895 h 17013"/>
                <a:gd name="connsiteX23" fmla="*/ 792 w 59771"/>
                <a:gd name="connsiteY23" fmla="*/ 8219 h 17013"/>
                <a:gd name="connsiteX24" fmla="*/ 0 w 59771"/>
                <a:gd name="connsiteY24" fmla="*/ 4253 h 17013"/>
                <a:gd name="connsiteX25" fmla="*/ 5617 w 59771"/>
                <a:gd name="connsiteY25" fmla="*/ 0 h 17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9771" h="17013">
                  <a:moveTo>
                    <a:pt x="5617" y="0"/>
                  </a:moveTo>
                  <a:lnTo>
                    <a:pt x="10442" y="1874"/>
                  </a:lnTo>
                  <a:lnTo>
                    <a:pt x="12818" y="2740"/>
                  </a:lnTo>
                  <a:lnTo>
                    <a:pt x="15195" y="2667"/>
                  </a:lnTo>
                  <a:lnTo>
                    <a:pt x="36583" y="1658"/>
                  </a:lnTo>
                  <a:lnTo>
                    <a:pt x="45152" y="2451"/>
                  </a:lnTo>
                  <a:lnTo>
                    <a:pt x="51850" y="4109"/>
                  </a:lnTo>
                  <a:lnTo>
                    <a:pt x="54874" y="4902"/>
                  </a:lnTo>
                  <a:lnTo>
                    <a:pt x="56603" y="5623"/>
                  </a:lnTo>
                  <a:lnTo>
                    <a:pt x="57971" y="6633"/>
                  </a:lnTo>
                  <a:lnTo>
                    <a:pt x="59483" y="9300"/>
                  </a:lnTo>
                  <a:lnTo>
                    <a:pt x="59771" y="11895"/>
                  </a:lnTo>
                  <a:lnTo>
                    <a:pt x="59123" y="14130"/>
                  </a:lnTo>
                  <a:lnTo>
                    <a:pt x="57971" y="15572"/>
                  </a:lnTo>
                  <a:lnTo>
                    <a:pt x="57971" y="17014"/>
                  </a:lnTo>
                  <a:lnTo>
                    <a:pt x="37015" y="16942"/>
                  </a:lnTo>
                  <a:lnTo>
                    <a:pt x="30030" y="17014"/>
                  </a:lnTo>
                  <a:lnTo>
                    <a:pt x="23116" y="16437"/>
                  </a:lnTo>
                  <a:lnTo>
                    <a:pt x="16203" y="15212"/>
                  </a:lnTo>
                  <a:lnTo>
                    <a:pt x="10010" y="14202"/>
                  </a:lnTo>
                  <a:lnTo>
                    <a:pt x="5545" y="13481"/>
                  </a:lnTo>
                  <a:lnTo>
                    <a:pt x="3745" y="13049"/>
                  </a:lnTo>
                  <a:lnTo>
                    <a:pt x="2520" y="11895"/>
                  </a:lnTo>
                  <a:lnTo>
                    <a:pt x="792" y="8219"/>
                  </a:lnTo>
                  <a:lnTo>
                    <a:pt x="0" y="4253"/>
                  </a:lnTo>
                  <a:lnTo>
                    <a:pt x="5617" y="0"/>
                  </a:lnTo>
                </a:path>
              </a:pathLst>
            </a:custGeom>
            <a:solidFill>
              <a:srgbClr val="ED037C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59460F7F-D15D-4193-723D-163F76751E67}"/>
                </a:ext>
              </a:extLst>
            </p:cNvPr>
            <p:cNvSpPr/>
            <p:nvPr/>
          </p:nvSpPr>
          <p:spPr>
            <a:xfrm>
              <a:off x="9668553" y="3498406"/>
              <a:ext cx="60779" cy="27899"/>
            </a:xfrm>
            <a:custGeom>
              <a:avLst/>
              <a:gdLst>
                <a:gd name="connsiteX0" fmla="*/ 7129 w 60779"/>
                <a:gd name="connsiteY0" fmla="*/ 0 h 27899"/>
                <a:gd name="connsiteX1" fmla="*/ 16635 w 60779"/>
                <a:gd name="connsiteY1" fmla="*/ 1226 h 27899"/>
                <a:gd name="connsiteX2" fmla="*/ 19804 w 60779"/>
                <a:gd name="connsiteY2" fmla="*/ 1586 h 27899"/>
                <a:gd name="connsiteX3" fmla="*/ 22540 w 60779"/>
                <a:gd name="connsiteY3" fmla="*/ 1081 h 27899"/>
                <a:gd name="connsiteX4" fmla="*/ 26213 w 60779"/>
                <a:gd name="connsiteY4" fmla="*/ 721 h 27899"/>
                <a:gd name="connsiteX5" fmla="*/ 31974 w 60779"/>
                <a:gd name="connsiteY5" fmla="*/ 1153 h 27899"/>
                <a:gd name="connsiteX6" fmla="*/ 40256 w 60779"/>
                <a:gd name="connsiteY6" fmla="*/ 1298 h 27899"/>
                <a:gd name="connsiteX7" fmla="*/ 48609 w 60779"/>
                <a:gd name="connsiteY7" fmla="*/ 865 h 27899"/>
                <a:gd name="connsiteX8" fmla="*/ 51490 w 60779"/>
                <a:gd name="connsiteY8" fmla="*/ 793 h 27899"/>
                <a:gd name="connsiteX9" fmla="*/ 53938 w 60779"/>
                <a:gd name="connsiteY9" fmla="*/ 1802 h 27899"/>
                <a:gd name="connsiteX10" fmla="*/ 58259 w 60779"/>
                <a:gd name="connsiteY10" fmla="*/ 5407 h 27899"/>
                <a:gd name="connsiteX11" fmla="*/ 59699 w 60779"/>
                <a:gd name="connsiteY11" fmla="*/ 7209 h 27899"/>
                <a:gd name="connsiteX12" fmla="*/ 60563 w 60779"/>
                <a:gd name="connsiteY12" fmla="*/ 9300 h 27899"/>
                <a:gd name="connsiteX13" fmla="*/ 60779 w 60779"/>
                <a:gd name="connsiteY13" fmla="*/ 11607 h 27899"/>
                <a:gd name="connsiteX14" fmla="*/ 60203 w 60779"/>
                <a:gd name="connsiteY14" fmla="*/ 13914 h 27899"/>
                <a:gd name="connsiteX15" fmla="*/ 57683 w 60779"/>
                <a:gd name="connsiteY15" fmla="*/ 20979 h 27899"/>
                <a:gd name="connsiteX16" fmla="*/ 56243 w 60779"/>
                <a:gd name="connsiteY16" fmla="*/ 24079 h 27899"/>
                <a:gd name="connsiteX17" fmla="*/ 54154 w 60779"/>
                <a:gd name="connsiteY17" fmla="*/ 26602 h 27899"/>
                <a:gd name="connsiteX18" fmla="*/ 52930 w 60779"/>
                <a:gd name="connsiteY18" fmla="*/ 27179 h 27899"/>
                <a:gd name="connsiteX19" fmla="*/ 51490 w 60779"/>
                <a:gd name="connsiteY19" fmla="*/ 27251 h 27899"/>
                <a:gd name="connsiteX20" fmla="*/ 47961 w 60779"/>
                <a:gd name="connsiteY20" fmla="*/ 26602 h 27899"/>
                <a:gd name="connsiteX21" fmla="*/ 44288 w 60779"/>
                <a:gd name="connsiteY21" fmla="*/ 25593 h 27899"/>
                <a:gd name="connsiteX22" fmla="*/ 41120 w 60779"/>
                <a:gd name="connsiteY22" fmla="*/ 25160 h 27899"/>
                <a:gd name="connsiteX23" fmla="*/ 38815 w 60779"/>
                <a:gd name="connsiteY23" fmla="*/ 25737 h 27899"/>
                <a:gd name="connsiteX24" fmla="*/ 36799 w 60779"/>
                <a:gd name="connsiteY24" fmla="*/ 26746 h 27899"/>
                <a:gd name="connsiteX25" fmla="*/ 34711 w 60779"/>
                <a:gd name="connsiteY25" fmla="*/ 27612 h 27899"/>
                <a:gd name="connsiteX26" fmla="*/ 32334 w 60779"/>
                <a:gd name="connsiteY26" fmla="*/ 27900 h 27899"/>
                <a:gd name="connsiteX27" fmla="*/ 25565 w 60779"/>
                <a:gd name="connsiteY27" fmla="*/ 26098 h 27899"/>
                <a:gd name="connsiteX28" fmla="*/ 21748 w 60779"/>
                <a:gd name="connsiteY28" fmla="*/ 25593 h 27899"/>
                <a:gd name="connsiteX29" fmla="*/ 17355 w 60779"/>
                <a:gd name="connsiteY29" fmla="*/ 26314 h 27899"/>
                <a:gd name="connsiteX30" fmla="*/ 16203 w 60779"/>
                <a:gd name="connsiteY30" fmla="*/ 26458 h 27899"/>
                <a:gd name="connsiteX31" fmla="*/ 15123 w 60779"/>
                <a:gd name="connsiteY31" fmla="*/ 25953 h 27899"/>
                <a:gd name="connsiteX32" fmla="*/ 13971 w 60779"/>
                <a:gd name="connsiteY32" fmla="*/ 25377 h 27899"/>
                <a:gd name="connsiteX33" fmla="*/ 12746 w 60779"/>
                <a:gd name="connsiteY33" fmla="*/ 25088 h 27899"/>
                <a:gd name="connsiteX34" fmla="*/ 10082 w 60779"/>
                <a:gd name="connsiteY34" fmla="*/ 25016 h 27899"/>
                <a:gd name="connsiteX35" fmla="*/ 9074 w 60779"/>
                <a:gd name="connsiteY35" fmla="*/ 24656 h 27899"/>
                <a:gd name="connsiteX36" fmla="*/ 8570 w 60779"/>
                <a:gd name="connsiteY36" fmla="*/ 24079 h 27899"/>
                <a:gd name="connsiteX37" fmla="*/ 5329 w 60779"/>
                <a:gd name="connsiteY37" fmla="*/ 19105 h 27899"/>
                <a:gd name="connsiteX38" fmla="*/ 1872 w 60779"/>
                <a:gd name="connsiteY38" fmla="*/ 14995 h 27899"/>
                <a:gd name="connsiteX39" fmla="*/ 432 w 60779"/>
                <a:gd name="connsiteY39" fmla="*/ 13121 h 27899"/>
                <a:gd name="connsiteX40" fmla="*/ 0 w 60779"/>
                <a:gd name="connsiteY40" fmla="*/ 10958 h 27899"/>
                <a:gd name="connsiteX41" fmla="*/ 792 w 60779"/>
                <a:gd name="connsiteY41" fmla="*/ 8363 h 27899"/>
                <a:gd name="connsiteX42" fmla="*/ 2664 w 60779"/>
                <a:gd name="connsiteY42" fmla="*/ 5623 h 27899"/>
                <a:gd name="connsiteX43" fmla="*/ 7129 w 60779"/>
                <a:gd name="connsiteY43" fmla="*/ 0 h 27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0779" h="27899">
                  <a:moveTo>
                    <a:pt x="7129" y="0"/>
                  </a:moveTo>
                  <a:lnTo>
                    <a:pt x="16635" y="1226"/>
                  </a:lnTo>
                  <a:lnTo>
                    <a:pt x="19804" y="1586"/>
                  </a:lnTo>
                  <a:lnTo>
                    <a:pt x="22540" y="1081"/>
                  </a:lnTo>
                  <a:lnTo>
                    <a:pt x="26213" y="721"/>
                  </a:lnTo>
                  <a:lnTo>
                    <a:pt x="31974" y="1153"/>
                  </a:lnTo>
                  <a:lnTo>
                    <a:pt x="40256" y="1298"/>
                  </a:lnTo>
                  <a:lnTo>
                    <a:pt x="48609" y="865"/>
                  </a:lnTo>
                  <a:lnTo>
                    <a:pt x="51490" y="793"/>
                  </a:lnTo>
                  <a:lnTo>
                    <a:pt x="53938" y="1802"/>
                  </a:lnTo>
                  <a:lnTo>
                    <a:pt x="58259" y="5407"/>
                  </a:lnTo>
                  <a:lnTo>
                    <a:pt x="59699" y="7209"/>
                  </a:lnTo>
                  <a:lnTo>
                    <a:pt x="60563" y="9300"/>
                  </a:lnTo>
                  <a:lnTo>
                    <a:pt x="60779" y="11607"/>
                  </a:lnTo>
                  <a:lnTo>
                    <a:pt x="60203" y="13914"/>
                  </a:lnTo>
                  <a:lnTo>
                    <a:pt x="57683" y="20979"/>
                  </a:lnTo>
                  <a:lnTo>
                    <a:pt x="56243" y="24079"/>
                  </a:lnTo>
                  <a:lnTo>
                    <a:pt x="54154" y="26602"/>
                  </a:lnTo>
                  <a:lnTo>
                    <a:pt x="52930" y="27179"/>
                  </a:lnTo>
                  <a:lnTo>
                    <a:pt x="51490" y="27251"/>
                  </a:lnTo>
                  <a:lnTo>
                    <a:pt x="47961" y="26602"/>
                  </a:lnTo>
                  <a:lnTo>
                    <a:pt x="44288" y="25593"/>
                  </a:lnTo>
                  <a:lnTo>
                    <a:pt x="41120" y="25160"/>
                  </a:lnTo>
                  <a:lnTo>
                    <a:pt x="38815" y="25737"/>
                  </a:lnTo>
                  <a:lnTo>
                    <a:pt x="36799" y="26746"/>
                  </a:lnTo>
                  <a:lnTo>
                    <a:pt x="34711" y="27612"/>
                  </a:lnTo>
                  <a:lnTo>
                    <a:pt x="32334" y="27900"/>
                  </a:lnTo>
                  <a:lnTo>
                    <a:pt x="25565" y="26098"/>
                  </a:lnTo>
                  <a:lnTo>
                    <a:pt x="21748" y="25593"/>
                  </a:lnTo>
                  <a:lnTo>
                    <a:pt x="17355" y="26314"/>
                  </a:lnTo>
                  <a:lnTo>
                    <a:pt x="16203" y="26458"/>
                  </a:lnTo>
                  <a:lnTo>
                    <a:pt x="15123" y="25953"/>
                  </a:lnTo>
                  <a:lnTo>
                    <a:pt x="13971" y="25377"/>
                  </a:lnTo>
                  <a:lnTo>
                    <a:pt x="12746" y="25088"/>
                  </a:lnTo>
                  <a:lnTo>
                    <a:pt x="10082" y="25016"/>
                  </a:lnTo>
                  <a:lnTo>
                    <a:pt x="9074" y="24656"/>
                  </a:lnTo>
                  <a:lnTo>
                    <a:pt x="8570" y="24079"/>
                  </a:lnTo>
                  <a:lnTo>
                    <a:pt x="5329" y="19105"/>
                  </a:lnTo>
                  <a:lnTo>
                    <a:pt x="1872" y="14995"/>
                  </a:lnTo>
                  <a:lnTo>
                    <a:pt x="432" y="13121"/>
                  </a:lnTo>
                  <a:lnTo>
                    <a:pt x="0" y="10958"/>
                  </a:lnTo>
                  <a:lnTo>
                    <a:pt x="792" y="8363"/>
                  </a:lnTo>
                  <a:lnTo>
                    <a:pt x="2664" y="5623"/>
                  </a:lnTo>
                  <a:lnTo>
                    <a:pt x="7129" y="0"/>
                  </a:lnTo>
                </a:path>
              </a:pathLst>
            </a:custGeom>
            <a:solidFill>
              <a:srgbClr val="A9218E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1A7FCC67-7511-27F0-4330-44C43A341242}"/>
                </a:ext>
              </a:extLst>
            </p:cNvPr>
            <p:cNvSpPr/>
            <p:nvPr/>
          </p:nvSpPr>
          <p:spPr>
            <a:xfrm>
              <a:off x="9664305" y="3546780"/>
              <a:ext cx="69565" cy="39506"/>
            </a:xfrm>
            <a:custGeom>
              <a:avLst/>
              <a:gdLst>
                <a:gd name="connsiteX0" fmla="*/ 22180 w 69565"/>
                <a:gd name="connsiteY0" fmla="*/ 216 h 39506"/>
                <a:gd name="connsiteX1" fmla="*/ 25709 w 69565"/>
                <a:gd name="connsiteY1" fmla="*/ 0 h 39506"/>
                <a:gd name="connsiteX2" fmla="*/ 29238 w 69565"/>
                <a:gd name="connsiteY2" fmla="*/ 360 h 39506"/>
                <a:gd name="connsiteX3" fmla="*/ 49545 w 69565"/>
                <a:gd name="connsiteY3" fmla="*/ 2379 h 39506"/>
                <a:gd name="connsiteX4" fmla="*/ 55234 w 69565"/>
                <a:gd name="connsiteY4" fmla="*/ 3244 h 39506"/>
                <a:gd name="connsiteX5" fmla="*/ 60635 w 69565"/>
                <a:gd name="connsiteY5" fmla="*/ 4758 h 39506"/>
                <a:gd name="connsiteX6" fmla="*/ 63084 w 69565"/>
                <a:gd name="connsiteY6" fmla="*/ 6272 h 39506"/>
                <a:gd name="connsiteX7" fmla="*/ 65244 w 69565"/>
                <a:gd name="connsiteY7" fmla="*/ 8435 h 39506"/>
                <a:gd name="connsiteX8" fmla="*/ 67045 w 69565"/>
                <a:gd name="connsiteY8" fmla="*/ 11679 h 39506"/>
                <a:gd name="connsiteX9" fmla="*/ 68485 w 69565"/>
                <a:gd name="connsiteY9" fmla="*/ 16005 h 39506"/>
                <a:gd name="connsiteX10" fmla="*/ 69565 w 69565"/>
                <a:gd name="connsiteY10" fmla="*/ 23358 h 39506"/>
                <a:gd name="connsiteX11" fmla="*/ 69205 w 69565"/>
                <a:gd name="connsiteY11" fmla="*/ 27035 h 39506"/>
                <a:gd name="connsiteX12" fmla="*/ 67837 w 69565"/>
                <a:gd name="connsiteY12" fmla="*/ 30423 h 39506"/>
                <a:gd name="connsiteX13" fmla="*/ 65964 w 69565"/>
                <a:gd name="connsiteY13" fmla="*/ 32586 h 39506"/>
                <a:gd name="connsiteX14" fmla="*/ 63516 w 69565"/>
                <a:gd name="connsiteY14" fmla="*/ 34460 h 39506"/>
                <a:gd name="connsiteX15" fmla="*/ 56963 w 69565"/>
                <a:gd name="connsiteY15" fmla="*/ 37272 h 39506"/>
                <a:gd name="connsiteX16" fmla="*/ 39751 w 69565"/>
                <a:gd name="connsiteY16" fmla="*/ 39507 h 39506"/>
                <a:gd name="connsiteX17" fmla="*/ 34278 w 69565"/>
                <a:gd name="connsiteY17" fmla="*/ 38786 h 39506"/>
                <a:gd name="connsiteX18" fmla="*/ 29021 w 69565"/>
                <a:gd name="connsiteY18" fmla="*/ 37272 h 39506"/>
                <a:gd name="connsiteX19" fmla="*/ 23764 w 69565"/>
                <a:gd name="connsiteY19" fmla="*/ 35830 h 39506"/>
                <a:gd name="connsiteX20" fmla="*/ 18652 w 69565"/>
                <a:gd name="connsiteY20" fmla="*/ 35253 h 39506"/>
                <a:gd name="connsiteX21" fmla="*/ 11450 w 69565"/>
                <a:gd name="connsiteY21" fmla="*/ 34388 h 39506"/>
                <a:gd name="connsiteX22" fmla="*/ 6049 w 69565"/>
                <a:gd name="connsiteY22" fmla="*/ 31721 h 39506"/>
                <a:gd name="connsiteX23" fmla="*/ 2448 w 69565"/>
                <a:gd name="connsiteY23" fmla="*/ 27900 h 39506"/>
                <a:gd name="connsiteX24" fmla="*/ 504 w 69565"/>
                <a:gd name="connsiteY24" fmla="*/ 23574 h 39506"/>
                <a:gd name="connsiteX25" fmla="*/ 0 w 69565"/>
                <a:gd name="connsiteY25" fmla="*/ 18816 h 39506"/>
                <a:gd name="connsiteX26" fmla="*/ 1152 w 69565"/>
                <a:gd name="connsiteY26" fmla="*/ 14707 h 39506"/>
                <a:gd name="connsiteX27" fmla="*/ 3529 w 69565"/>
                <a:gd name="connsiteY27" fmla="*/ 11246 h 39506"/>
                <a:gd name="connsiteX28" fmla="*/ 6625 w 69565"/>
                <a:gd name="connsiteY28" fmla="*/ 8507 h 39506"/>
                <a:gd name="connsiteX29" fmla="*/ 13395 w 69565"/>
                <a:gd name="connsiteY29" fmla="*/ 4758 h 39506"/>
                <a:gd name="connsiteX30" fmla="*/ 18003 w 69565"/>
                <a:gd name="connsiteY30" fmla="*/ 3100 h 39506"/>
                <a:gd name="connsiteX31" fmla="*/ 19156 w 69565"/>
                <a:gd name="connsiteY31" fmla="*/ 2523 h 39506"/>
                <a:gd name="connsiteX32" fmla="*/ 19948 w 69565"/>
                <a:gd name="connsiteY32" fmla="*/ 1730 h 39506"/>
                <a:gd name="connsiteX33" fmla="*/ 20812 w 69565"/>
                <a:gd name="connsiteY33" fmla="*/ 865 h 39506"/>
                <a:gd name="connsiteX34" fmla="*/ 22180 w 69565"/>
                <a:gd name="connsiteY34" fmla="*/ 216 h 3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9565" h="39506">
                  <a:moveTo>
                    <a:pt x="22180" y="216"/>
                  </a:moveTo>
                  <a:lnTo>
                    <a:pt x="25709" y="0"/>
                  </a:lnTo>
                  <a:lnTo>
                    <a:pt x="29238" y="360"/>
                  </a:lnTo>
                  <a:lnTo>
                    <a:pt x="49545" y="2379"/>
                  </a:lnTo>
                  <a:lnTo>
                    <a:pt x="55234" y="3244"/>
                  </a:lnTo>
                  <a:lnTo>
                    <a:pt x="60635" y="4758"/>
                  </a:lnTo>
                  <a:lnTo>
                    <a:pt x="63084" y="6272"/>
                  </a:lnTo>
                  <a:lnTo>
                    <a:pt x="65244" y="8435"/>
                  </a:lnTo>
                  <a:lnTo>
                    <a:pt x="67045" y="11679"/>
                  </a:lnTo>
                  <a:lnTo>
                    <a:pt x="68485" y="16005"/>
                  </a:lnTo>
                  <a:lnTo>
                    <a:pt x="69565" y="23358"/>
                  </a:lnTo>
                  <a:lnTo>
                    <a:pt x="69205" y="27035"/>
                  </a:lnTo>
                  <a:lnTo>
                    <a:pt x="67837" y="30423"/>
                  </a:lnTo>
                  <a:lnTo>
                    <a:pt x="65964" y="32586"/>
                  </a:lnTo>
                  <a:lnTo>
                    <a:pt x="63516" y="34460"/>
                  </a:lnTo>
                  <a:lnTo>
                    <a:pt x="56963" y="37272"/>
                  </a:lnTo>
                  <a:lnTo>
                    <a:pt x="39751" y="39507"/>
                  </a:lnTo>
                  <a:lnTo>
                    <a:pt x="34278" y="38786"/>
                  </a:lnTo>
                  <a:lnTo>
                    <a:pt x="29021" y="37272"/>
                  </a:lnTo>
                  <a:lnTo>
                    <a:pt x="23764" y="35830"/>
                  </a:lnTo>
                  <a:lnTo>
                    <a:pt x="18652" y="35253"/>
                  </a:lnTo>
                  <a:lnTo>
                    <a:pt x="11450" y="34388"/>
                  </a:lnTo>
                  <a:lnTo>
                    <a:pt x="6049" y="31721"/>
                  </a:lnTo>
                  <a:lnTo>
                    <a:pt x="2448" y="27900"/>
                  </a:lnTo>
                  <a:lnTo>
                    <a:pt x="504" y="23574"/>
                  </a:lnTo>
                  <a:lnTo>
                    <a:pt x="0" y="18816"/>
                  </a:lnTo>
                  <a:lnTo>
                    <a:pt x="1152" y="14707"/>
                  </a:lnTo>
                  <a:lnTo>
                    <a:pt x="3529" y="11246"/>
                  </a:lnTo>
                  <a:lnTo>
                    <a:pt x="6625" y="8507"/>
                  </a:lnTo>
                  <a:lnTo>
                    <a:pt x="13395" y="4758"/>
                  </a:lnTo>
                  <a:lnTo>
                    <a:pt x="18003" y="3100"/>
                  </a:lnTo>
                  <a:lnTo>
                    <a:pt x="19156" y="2523"/>
                  </a:lnTo>
                  <a:lnTo>
                    <a:pt x="19948" y="1730"/>
                  </a:lnTo>
                  <a:lnTo>
                    <a:pt x="20812" y="865"/>
                  </a:lnTo>
                  <a:lnTo>
                    <a:pt x="22180" y="216"/>
                  </a:lnTo>
                </a:path>
              </a:pathLst>
            </a:custGeom>
            <a:solidFill>
              <a:srgbClr val="353D98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xmlns="" id="{F8A5A7E5-DEDE-2073-CC2D-FAB26C9B9928}"/>
                </a:ext>
              </a:extLst>
            </p:cNvPr>
            <p:cNvSpPr/>
            <p:nvPr/>
          </p:nvSpPr>
          <p:spPr>
            <a:xfrm>
              <a:off x="9669201" y="3603950"/>
              <a:ext cx="58186" cy="38137"/>
            </a:xfrm>
            <a:custGeom>
              <a:avLst/>
              <a:gdLst>
                <a:gd name="connsiteX0" fmla="*/ 32838 w 58186"/>
                <a:gd name="connsiteY0" fmla="*/ 0 h 38137"/>
                <a:gd name="connsiteX1" fmla="*/ 39463 w 58186"/>
                <a:gd name="connsiteY1" fmla="*/ 577 h 38137"/>
                <a:gd name="connsiteX2" fmla="*/ 46377 w 58186"/>
                <a:gd name="connsiteY2" fmla="*/ 3100 h 38137"/>
                <a:gd name="connsiteX3" fmla="*/ 48393 w 58186"/>
                <a:gd name="connsiteY3" fmla="*/ 5046 h 38137"/>
                <a:gd name="connsiteX4" fmla="*/ 50049 w 58186"/>
                <a:gd name="connsiteY4" fmla="*/ 6560 h 38137"/>
                <a:gd name="connsiteX5" fmla="*/ 53506 w 58186"/>
                <a:gd name="connsiteY5" fmla="*/ 7281 h 38137"/>
                <a:gd name="connsiteX6" fmla="*/ 55162 w 58186"/>
                <a:gd name="connsiteY6" fmla="*/ 7786 h 38137"/>
                <a:gd name="connsiteX7" fmla="*/ 56243 w 58186"/>
                <a:gd name="connsiteY7" fmla="*/ 8723 h 38137"/>
                <a:gd name="connsiteX8" fmla="*/ 58043 w 58186"/>
                <a:gd name="connsiteY8" fmla="*/ 16653 h 38137"/>
                <a:gd name="connsiteX9" fmla="*/ 58187 w 58186"/>
                <a:gd name="connsiteY9" fmla="*/ 21700 h 38137"/>
                <a:gd name="connsiteX10" fmla="*/ 57395 w 58186"/>
                <a:gd name="connsiteY10" fmla="*/ 25881 h 38137"/>
                <a:gd name="connsiteX11" fmla="*/ 55882 w 58186"/>
                <a:gd name="connsiteY11" fmla="*/ 28477 h 38137"/>
                <a:gd name="connsiteX12" fmla="*/ 53722 w 58186"/>
                <a:gd name="connsiteY12" fmla="*/ 30784 h 38137"/>
                <a:gd name="connsiteX13" fmla="*/ 48033 w 58186"/>
                <a:gd name="connsiteY13" fmla="*/ 34388 h 38137"/>
                <a:gd name="connsiteX14" fmla="*/ 40904 w 58186"/>
                <a:gd name="connsiteY14" fmla="*/ 36767 h 38137"/>
                <a:gd name="connsiteX15" fmla="*/ 32910 w 58186"/>
                <a:gd name="connsiteY15" fmla="*/ 37993 h 38137"/>
                <a:gd name="connsiteX16" fmla="*/ 24701 w 58186"/>
                <a:gd name="connsiteY16" fmla="*/ 38137 h 38137"/>
                <a:gd name="connsiteX17" fmla="*/ 16851 w 58186"/>
                <a:gd name="connsiteY17" fmla="*/ 37200 h 38137"/>
                <a:gd name="connsiteX18" fmla="*/ 9938 w 58186"/>
                <a:gd name="connsiteY18" fmla="*/ 35398 h 38137"/>
                <a:gd name="connsiteX19" fmla="*/ 4681 w 58186"/>
                <a:gd name="connsiteY19" fmla="*/ 32730 h 38137"/>
                <a:gd name="connsiteX20" fmla="*/ 3025 w 58186"/>
                <a:gd name="connsiteY20" fmla="*/ 31144 h 38137"/>
                <a:gd name="connsiteX21" fmla="*/ 1872 w 58186"/>
                <a:gd name="connsiteY21" fmla="*/ 29270 h 38137"/>
                <a:gd name="connsiteX22" fmla="*/ 432 w 58186"/>
                <a:gd name="connsiteY22" fmla="*/ 25016 h 38137"/>
                <a:gd name="connsiteX23" fmla="*/ 0 w 58186"/>
                <a:gd name="connsiteY23" fmla="*/ 20330 h 38137"/>
                <a:gd name="connsiteX24" fmla="*/ 936 w 58186"/>
                <a:gd name="connsiteY24" fmla="*/ 16221 h 38137"/>
                <a:gd name="connsiteX25" fmla="*/ 3097 w 58186"/>
                <a:gd name="connsiteY25" fmla="*/ 12688 h 38137"/>
                <a:gd name="connsiteX26" fmla="*/ 5977 w 58186"/>
                <a:gd name="connsiteY26" fmla="*/ 9733 h 38137"/>
                <a:gd name="connsiteX27" fmla="*/ 13106 w 58186"/>
                <a:gd name="connsiteY27" fmla="*/ 5623 h 38137"/>
                <a:gd name="connsiteX28" fmla="*/ 19732 w 58186"/>
                <a:gd name="connsiteY28" fmla="*/ 3821 h 38137"/>
                <a:gd name="connsiteX29" fmla="*/ 26429 w 58186"/>
                <a:gd name="connsiteY29" fmla="*/ 1802 h 38137"/>
                <a:gd name="connsiteX30" fmla="*/ 32838 w 58186"/>
                <a:gd name="connsiteY30" fmla="*/ 0 h 3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8186" h="38137">
                  <a:moveTo>
                    <a:pt x="32838" y="0"/>
                  </a:moveTo>
                  <a:lnTo>
                    <a:pt x="39463" y="577"/>
                  </a:lnTo>
                  <a:lnTo>
                    <a:pt x="46377" y="3100"/>
                  </a:lnTo>
                  <a:lnTo>
                    <a:pt x="48393" y="5046"/>
                  </a:lnTo>
                  <a:lnTo>
                    <a:pt x="50049" y="6560"/>
                  </a:lnTo>
                  <a:lnTo>
                    <a:pt x="53506" y="7281"/>
                  </a:lnTo>
                  <a:lnTo>
                    <a:pt x="55162" y="7786"/>
                  </a:lnTo>
                  <a:lnTo>
                    <a:pt x="56243" y="8723"/>
                  </a:lnTo>
                  <a:lnTo>
                    <a:pt x="58043" y="16653"/>
                  </a:lnTo>
                  <a:lnTo>
                    <a:pt x="58187" y="21700"/>
                  </a:lnTo>
                  <a:lnTo>
                    <a:pt x="57395" y="25881"/>
                  </a:lnTo>
                  <a:lnTo>
                    <a:pt x="55882" y="28477"/>
                  </a:lnTo>
                  <a:lnTo>
                    <a:pt x="53722" y="30784"/>
                  </a:lnTo>
                  <a:lnTo>
                    <a:pt x="48033" y="34388"/>
                  </a:lnTo>
                  <a:lnTo>
                    <a:pt x="40904" y="36767"/>
                  </a:lnTo>
                  <a:lnTo>
                    <a:pt x="32910" y="37993"/>
                  </a:lnTo>
                  <a:lnTo>
                    <a:pt x="24701" y="38137"/>
                  </a:lnTo>
                  <a:lnTo>
                    <a:pt x="16851" y="37200"/>
                  </a:lnTo>
                  <a:lnTo>
                    <a:pt x="9938" y="35398"/>
                  </a:lnTo>
                  <a:lnTo>
                    <a:pt x="4681" y="32730"/>
                  </a:lnTo>
                  <a:lnTo>
                    <a:pt x="3025" y="31144"/>
                  </a:lnTo>
                  <a:lnTo>
                    <a:pt x="1872" y="29270"/>
                  </a:lnTo>
                  <a:lnTo>
                    <a:pt x="432" y="25016"/>
                  </a:lnTo>
                  <a:lnTo>
                    <a:pt x="0" y="20330"/>
                  </a:lnTo>
                  <a:lnTo>
                    <a:pt x="936" y="16221"/>
                  </a:lnTo>
                  <a:lnTo>
                    <a:pt x="3097" y="12688"/>
                  </a:lnTo>
                  <a:lnTo>
                    <a:pt x="5977" y="9733"/>
                  </a:lnTo>
                  <a:lnTo>
                    <a:pt x="13106" y="5623"/>
                  </a:lnTo>
                  <a:lnTo>
                    <a:pt x="19732" y="3821"/>
                  </a:lnTo>
                  <a:lnTo>
                    <a:pt x="26429" y="1802"/>
                  </a:lnTo>
                  <a:lnTo>
                    <a:pt x="32838" y="0"/>
                  </a:lnTo>
                </a:path>
              </a:pathLst>
            </a:custGeom>
            <a:solidFill>
              <a:srgbClr val="002E56"/>
            </a:solidFill>
            <a:ln w="7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0550801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E1CB956B-EF6F-9C92-99BE-3F75F7751562}"/>
              </a:ext>
            </a:extLst>
          </p:cNvPr>
          <p:cNvSpPr/>
          <p:nvPr userDrawn="1"/>
        </p:nvSpPr>
        <p:spPr>
          <a:xfrm>
            <a:off x="0" y="5788325"/>
            <a:ext cx="12192000" cy="106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91870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-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white rectangle with a black border&#10;&#10;Description automatically generated with low confidence">
            <a:extLst>
              <a:ext uri="{FF2B5EF4-FFF2-40B4-BE49-F238E27FC236}">
                <a16:creationId xmlns:a16="http://schemas.microsoft.com/office/drawing/2014/main" xmlns="" id="{6489B832-A84A-AB45-8E66-A4E2EA3E24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Content Placeholder 2">
            <a:extLst>
              <a:ext uri="{FF2B5EF4-FFF2-40B4-BE49-F238E27FC236}">
                <a16:creationId xmlns:a16="http://schemas.microsoft.com/office/drawing/2014/main" xmlns="" id="{5E37E9AF-CEC2-E5D1-F244-F843E3B68841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>
          <a:xfrm>
            <a:off x="1240200" y="4778917"/>
            <a:ext cx="2643640" cy="572746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tx2"/>
                </a:solidFill>
              </a:defRPr>
            </a:lvl1pPr>
            <a:lvl2pPr marL="7938" indent="0" algn="ctr">
              <a:buNone/>
              <a:tabLst/>
              <a:defRPr sz="1400"/>
            </a:lvl2pPr>
            <a:lvl3pPr marL="115888" indent="-107950" algn="ctr">
              <a:buFont typeface="Arial" panose="020B0604020202020204" pitchFamily="34" charset="0"/>
              <a:buChar char="•"/>
              <a:tabLst/>
              <a:defRPr sz="1200"/>
            </a:lvl3pPr>
            <a:lvl4pPr marL="231775" indent="-115888" algn="ctr">
              <a:buFont typeface="System Font Regular"/>
              <a:buChar char="–"/>
              <a:tabLst/>
              <a:defRPr sz="1100"/>
            </a:lvl4pPr>
            <a:lvl5pPr marL="347663" indent="-115888" algn="ctr">
              <a:buFont typeface="Arial" panose="020B0604020202020204" pitchFamily="34" charset="0"/>
              <a:buChar char="•"/>
              <a:tabLst/>
              <a:defRPr sz="1100"/>
            </a:lvl5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8" name="Footer Placeholder 4">
            <a:extLst>
              <a:ext uri="{FF2B5EF4-FFF2-40B4-BE49-F238E27FC236}">
                <a16:creationId xmlns:a16="http://schemas.microsoft.com/office/drawing/2014/main" xmlns="" id="{7E4BCAFF-FF7F-7F23-FD0F-6D7FC65A36DB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28CA799C-2688-607F-E545-C8AEEB1D0976}"/>
              </a:ext>
            </a:extLst>
          </p:cNvPr>
          <p:cNvGrpSpPr/>
          <p:nvPr userDrawn="1"/>
        </p:nvGrpSpPr>
        <p:grpSpPr>
          <a:xfrm>
            <a:off x="847335" y="1345140"/>
            <a:ext cx="3410900" cy="3410900"/>
            <a:chOff x="1193885" y="849275"/>
            <a:chExt cx="2717800" cy="2717800"/>
          </a:xfrm>
        </p:grpSpPr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xmlns="" id="{4EC4FDF3-EBEB-0A48-9909-F130D289DDF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 rot="15929528">
              <a:off x="1193885" y="849275"/>
              <a:ext cx="2717800" cy="2717800"/>
            </a:xfrm>
            <a:prstGeom prst="rect">
              <a:avLst/>
            </a:prstGeom>
          </p:spPr>
        </p:pic>
        <p:sp>
          <p:nvSpPr>
            <p:cNvPr id="2" name="Oval 1">
              <a:extLst>
                <a:ext uri="{FF2B5EF4-FFF2-40B4-BE49-F238E27FC236}">
                  <a16:creationId xmlns:a16="http://schemas.microsoft.com/office/drawing/2014/main" xmlns="" id="{40203BEB-425F-5FE0-1FCD-1D8E51EE71EE}"/>
                </a:ext>
              </a:extLst>
            </p:cNvPr>
            <p:cNvSpPr/>
            <p:nvPr userDrawn="1"/>
          </p:nvSpPr>
          <p:spPr>
            <a:xfrm>
              <a:off x="3079255" y="3248696"/>
              <a:ext cx="180304" cy="18030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xmlns="" id="{D8FFC12D-81B3-A9C3-04E5-4028097899BF}"/>
                </a:ext>
              </a:extLst>
            </p:cNvPr>
            <p:cNvSpPr/>
            <p:nvPr userDrawn="1"/>
          </p:nvSpPr>
          <p:spPr>
            <a:xfrm>
              <a:off x="3613367" y="1496875"/>
              <a:ext cx="122825" cy="12282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60224E1-4893-F79B-A8E7-BB9C29FB4DE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775036" y="459045"/>
            <a:ext cx="6525768" cy="5622916"/>
          </a:xfrm>
        </p:spPr>
        <p:txBody>
          <a:bodyPr anchor="ctr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xmlns="" id="{7292AAE4-5A9C-D927-B82D-D3EA5D97382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305073" y="1796172"/>
            <a:ext cx="2513892" cy="2513890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F05B15B8-6F79-1914-6B20-BCD98A72DD06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7" name="Picture 7">
              <a:extLst>
                <a:ext uri="{FF2B5EF4-FFF2-40B4-BE49-F238E27FC236}">
                  <a16:creationId xmlns:a16="http://schemas.microsoft.com/office/drawing/2014/main" xmlns="" id="{8626545B-B9FE-C65E-397B-AB6E10A00C2B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4F82FCDA-FF00-A06F-CBFD-CABB922857AB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19426E39-1F7F-19C7-79C0-482FD591141B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2AD88D53-1B25-F49F-1C69-1F4E116F835E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CC826B75-2BD2-8936-7E04-BF2D54F38249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xmlns="" id="{2B37190C-4248-2B1E-230D-E7DFA5FCF89F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9D9B82B2-7041-1D72-0E38-55680605E38F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xmlns="" id="{4A8755D4-9498-6826-5EBE-DC9910C61970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xmlns="" id="{C1E90EF2-3CCA-6D55-D9EC-583D58C6D6CF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91477F4A-77B9-49A4-998B-5F56A19CBE88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41FF4F04-B5AE-31B9-4E8F-0D581FD2D1A4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DEADB02C-4BE7-1D96-2B88-4CB3C2D7AF5F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DF46B23B-2C31-4EB2-9A4E-01ED2457840F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4F173F2A-6444-3B85-918F-DCC219702F3C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BD8A625F-7774-D4EC-2881-D5DCAF7C7030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BEA96241-709C-B7E9-40B5-7C8720457C6A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11602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8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- 3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white rectangle with a black border&#10;&#10;Description automatically generated with low confidence">
            <a:extLst>
              <a:ext uri="{FF2B5EF4-FFF2-40B4-BE49-F238E27FC236}">
                <a16:creationId xmlns:a16="http://schemas.microsoft.com/office/drawing/2014/main" xmlns="" id="{6489B832-A84A-AB45-8E66-A4E2EA3E24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xmlns="" id="{4142F66E-982E-685B-5E1D-252880E2CD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 rot="3495799">
            <a:off x="9232966" y="867212"/>
            <a:ext cx="2717800" cy="27178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xmlns="" id="{C36C4232-EF3B-39A8-FFA9-E3F6E050CB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66767" y="867504"/>
            <a:ext cx="2717800" cy="27178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xmlns="" id="{4EC4FDF3-EBEB-0A48-9909-F130D289DD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 rot="15929528">
            <a:off x="3485119" y="849275"/>
            <a:ext cx="2717800" cy="2717800"/>
          </a:xfrm>
          <a:prstGeom prst="rect">
            <a:avLst/>
          </a:prstGeom>
        </p:spPr>
      </p:pic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xmlns="" id="{7292AAE4-5A9C-D927-B82D-D3EA5D97382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63152" y="1220601"/>
            <a:ext cx="1980202" cy="1980201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2" name="Picture Placeholder 30">
            <a:extLst>
              <a:ext uri="{FF2B5EF4-FFF2-40B4-BE49-F238E27FC236}">
                <a16:creationId xmlns:a16="http://schemas.microsoft.com/office/drawing/2014/main" xmlns="" id="{D7F55144-19C1-C8A2-F4EB-C71952B8C335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>
          <a:xfrm>
            <a:off x="6725105" y="1220601"/>
            <a:ext cx="1980202" cy="1980201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3" name="Picture Placeholder 30">
            <a:extLst>
              <a:ext uri="{FF2B5EF4-FFF2-40B4-BE49-F238E27FC236}">
                <a16:creationId xmlns:a16="http://schemas.microsoft.com/office/drawing/2014/main" xmlns="" id="{E72C79D9-8423-197B-47C4-2EDA3EE3B2DD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>
          <a:xfrm>
            <a:off x="9587058" y="1220601"/>
            <a:ext cx="1980202" cy="1980201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xmlns="" id="{18014C37-C68D-BAC4-CA21-43EB740F7FC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90620" y="1068414"/>
            <a:ext cx="2993848" cy="1048494"/>
          </a:xfrm>
        </p:spPr>
        <p:txBody>
          <a:bodyPr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gradFill flip="none" rotWithShape="1">
                  <a:gsLst>
                    <a:gs pos="100000">
                      <a:schemeClr val="accent5"/>
                    </a:gs>
                    <a:gs pos="0">
                      <a:schemeClr val="accent1"/>
                    </a:gs>
                  </a:gsLst>
                  <a:lin ang="10800000" scaled="1"/>
                  <a:tileRect/>
                </a:gra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xmlns="" id="{5E37E9AF-CEC2-E5D1-F244-F843E3B68841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>
          <a:xfrm>
            <a:off x="3726545" y="3936501"/>
            <a:ext cx="2253417" cy="2058273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7938" indent="0">
              <a:buNone/>
              <a:tabLst/>
              <a:defRPr sz="1400"/>
            </a:lvl2pPr>
            <a:lvl3pPr marL="115888" indent="-107950">
              <a:buFont typeface="Arial" panose="020B0604020202020204" pitchFamily="34" charset="0"/>
              <a:buChar char="•"/>
              <a:tabLst/>
              <a:defRPr sz="1200"/>
            </a:lvl3pPr>
            <a:lvl4pPr marL="231775" indent="-115888">
              <a:buFont typeface="System Font Regular"/>
              <a:buChar char="–"/>
              <a:tabLst/>
              <a:defRPr sz="1100"/>
            </a:lvl4pPr>
            <a:lvl5pPr marL="347663" indent="-115888">
              <a:buFont typeface="Arial" panose="020B0604020202020204" pitchFamily="34" charset="0"/>
              <a:buChar char="•"/>
              <a:tabLst/>
              <a:defRPr sz="1100"/>
            </a:lvl5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xmlns="" id="{A98281A5-E7E9-CBF5-A85C-70A47A0E905D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90620" y="2229941"/>
            <a:ext cx="2993848" cy="769305"/>
          </a:xfr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(Arial Bold 16pt)</a:t>
            </a:r>
          </a:p>
        </p:txBody>
      </p:sp>
      <p:sp>
        <p:nvSpPr>
          <p:cNvPr id="38" name="Footer Placeholder 4">
            <a:extLst>
              <a:ext uri="{FF2B5EF4-FFF2-40B4-BE49-F238E27FC236}">
                <a16:creationId xmlns:a16="http://schemas.microsoft.com/office/drawing/2014/main" xmlns="" id="{7E4BCAFF-FF7F-7F23-FD0F-6D7FC65A36DB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xmlns="" id="{83051F05-B755-AC5D-7346-36A63C60A0A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598837" y="3936501"/>
            <a:ext cx="2253417" cy="2058273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7938" indent="0">
              <a:buNone/>
              <a:tabLst/>
              <a:defRPr sz="1400"/>
            </a:lvl2pPr>
            <a:lvl3pPr marL="115888" indent="-107950">
              <a:buFont typeface="Arial" panose="020B0604020202020204" pitchFamily="34" charset="0"/>
              <a:buChar char="•"/>
              <a:tabLst/>
              <a:defRPr sz="1200"/>
            </a:lvl3pPr>
            <a:lvl4pPr marL="231775" indent="-115888">
              <a:buFont typeface="System Font Regular"/>
              <a:buChar char="–"/>
              <a:tabLst/>
              <a:defRPr sz="1100"/>
            </a:lvl4pPr>
            <a:lvl5pPr marL="347663" indent="-115888">
              <a:buFont typeface="Arial" panose="020B0604020202020204" pitchFamily="34" charset="0"/>
              <a:buChar char="•"/>
              <a:tabLst/>
              <a:defRPr sz="1100"/>
            </a:lvl5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xmlns="" id="{A657938F-50DB-7E54-99B3-076BA0C851E3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9450451" y="3936501"/>
            <a:ext cx="2253417" cy="2058273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7938" indent="0">
              <a:buNone/>
              <a:tabLst/>
              <a:defRPr sz="1400"/>
            </a:lvl2pPr>
            <a:lvl3pPr marL="115888" indent="-107950">
              <a:buFont typeface="Arial" panose="020B0604020202020204" pitchFamily="34" charset="0"/>
              <a:buChar char="•"/>
              <a:tabLst/>
              <a:defRPr sz="1200"/>
            </a:lvl3pPr>
            <a:lvl4pPr marL="231775" indent="-115888">
              <a:buFont typeface="System Font Regular"/>
              <a:buChar char="–"/>
              <a:tabLst/>
              <a:defRPr sz="1100"/>
            </a:lvl4pPr>
            <a:lvl5pPr marL="347663" indent="-115888">
              <a:buFont typeface="Arial" panose="020B0604020202020204" pitchFamily="34" charset="0"/>
              <a:buChar char="•"/>
              <a:tabLst/>
              <a:defRPr sz="1100"/>
            </a:lvl5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xmlns="" id="{40203BEB-425F-5FE0-1FCD-1D8E51EE71EE}"/>
              </a:ext>
            </a:extLst>
          </p:cNvPr>
          <p:cNvSpPr/>
          <p:nvPr userDrawn="1"/>
        </p:nvSpPr>
        <p:spPr>
          <a:xfrm>
            <a:off x="5370489" y="3248696"/>
            <a:ext cx="180304" cy="18030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xmlns="" id="{D8FFC12D-81B3-A9C3-04E5-4028097899BF}"/>
              </a:ext>
            </a:extLst>
          </p:cNvPr>
          <p:cNvSpPr/>
          <p:nvPr userDrawn="1"/>
        </p:nvSpPr>
        <p:spPr>
          <a:xfrm>
            <a:off x="5904601" y="1496875"/>
            <a:ext cx="122825" cy="12282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xmlns="" id="{6D660B1B-D355-897A-5CD1-92FD4950E9DE}"/>
              </a:ext>
            </a:extLst>
          </p:cNvPr>
          <p:cNvSpPr/>
          <p:nvPr userDrawn="1"/>
        </p:nvSpPr>
        <p:spPr>
          <a:xfrm>
            <a:off x="6529594" y="2776436"/>
            <a:ext cx="180304" cy="18030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xmlns="" id="{C8E0834E-F62B-3691-BB0B-23636E8B0405}"/>
              </a:ext>
            </a:extLst>
          </p:cNvPr>
          <p:cNvSpPr/>
          <p:nvPr userDrawn="1"/>
        </p:nvSpPr>
        <p:spPr>
          <a:xfrm>
            <a:off x="8339360" y="3313035"/>
            <a:ext cx="122825" cy="12282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B271C4F9-D553-45EF-21D5-602E9B038002}"/>
              </a:ext>
            </a:extLst>
          </p:cNvPr>
          <p:cNvSpPr/>
          <p:nvPr userDrawn="1"/>
        </p:nvSpPr>
        <p:spPr>
          <a:xfrm>
            <a:off x="9260200" y="2553182"/>
            <a:ext cx="122825" cy="12282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xmlns="" id="{E69562DB-4C73-3E35-21C4-33E2DE1FB808}"/>
              </a:ext>
            </a:extLst>
          </p:cNvPr>
          <p:cNvSpPr/>
          <p:nvPr userDrawn="1"/>
        </p:nvSpPr>
        <p:spPr>
          <a:xfrm>
            <a:off x="10180755" y="915795"/>
            <a:ext cx="180304" cy="18030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7C49B943-3736-347D-D429-7F57F9ABD1F2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5" name="Picture 7">
              <a:extLst>
                <a:ext uri="{FF2B5EF4-FFF2-40B4-BE49-F238E27FC236}">
                  <a16:creationId xmlns:a16="http://schemas.microsoft.com/office/drawing/2014/main" xmlns="" id="{942AE755-2D3F-A118-2A63-BFCA89391533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4F04E8A3-F7C1-FA3D-2BD7-6E5DD0EB7706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862708F5-68D7-105A-314B-0513DC3B992A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613D159C-A724-9300-2374-9064964E661F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8186C584-0F00-CE76-5955-06A88CA2C19A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E4FC0CE1-EF0D-FED1-86A0-314E0634554C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AE5512FE-6A68-5388-0E65-8504270C20B5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xmlns="" id="{238152A3-FD1A-FBD7-F207-CE31CCF81316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8CF428FF-71FC-998A-B132-4394D4A33416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E1304376-5462-E263-C244-ECD5E4E433F8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07CA283C-21A7-36F6-DE94-7801FC218DEF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E44B19A5-1913-2246-1BA1-630A896AFDB1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CCE16151-124A-C691-58FB-6CC4E74FF8DB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F9C7C1FD-9987-633D-701F-66417884E84A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2F6F9F92-A51B-22C9-A6F0-5D9F54FEE86D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026523E4-126B-9813-CCAB-1B1066190A13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29316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8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- 4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white rectangle with a black border&#10;&#10;Description automatically generated with low confidence">
            <a:extLst>
              <a:ext uri="{FF2B5EF4-FFF2-40B4-BE49-F238E27FC236}">
                <a16:creationId xmlns:a16="http://schemas.microsoft.com/office/drawing/2014/main" xmlns="" id="{6489B832-A84A-AB45-8E66-A4E2EA3E24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xmlns="" id="{255F93C0-980D-DED3-4115-02F082056EFA}"/>
              </a:ext>
            </a:extLst>
          </p:cNvPr>
          <p:cNvGrpSpPr/>
          <p:nvPr userDrawn="1"/>
        </p:nvGrpSpPr>
        <p:grpSpPr>
          <a:xfrm rot="2718117">
            <a:off x="9023648" y="1397893"/>
            <a:ext cx="2717800" cy="2717800"/>
            <a:chOff x="4474557" y="-2888317"/>
            <a:chExt cx="2717800" cy="2717800"/>
          </a:xfrm>
        </p:grpSpPr>
        <p:pic>
          <p:nvPicPr>
            <p:cNvPr id="47" name="Graphic 46">
              <a:extLst>
                <a:ext uri="{FF2B5EF4-FFF2-40B4-BE49-F238E27FC236}">
                  <a16:creationId xmlns:a16="http://schemas.microsoft.com/office/drawing/2014/main" xmlns="" id="{4CDA0360-C376-A529-9B16-6F07477E879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 rot="3495799">
              <a:off x="4474557" y="-2888317"/>
              <a:ext cx="2717800" cy="2717800"/>
            </a:xfrm>
            <a:prstGeom prst="rect">
              <a:avLst/>
            </a:prstGeom>
          </p:spPr>
        </p:pic>
        <p:sp>
          <p:nvSpPr>
            <p:cNvPr id="48" name="Oval 47">
              <a:extLst>
                <a:ext uri="{FF2B5EF4-FFF2-40B4-BE49-F238E27FC236}">
                  <a16:creationId xmlns:a16="http://schemas.microsoft.com/office/drawing/2014/main" xmlns="" id="{BE9B82D0-B319-61E1-6C67-DBE69489F568}"/>
                </a:ext>
              </a:extLst>
            </p:cNvPr>
            <p:cNvSpPr/>
            <p:nvPr userDrawn="1"/>
          </p:nvSpPr>
          <p:spPr>
            <a:xfrm>
              <a:off x="4501791" y="-1202347"/>
              <a:ext cx="122825" cy="12282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xmlns="" id="{B023F12D-798B-6E61-EEC3-1D4C7B341BD7}"/>
                </a:ext>
              </a:extLst>
            </p:cNvPr>
            <p:cNvSpPr/>
            <p:nvPr userDrawn="1"/>
          </p:nvSpPr>
          <p:spPr>
            <a:xfrm>
              <a:off x="5422346" y="-2839734"/>
              <a:ext cx="180304" cy="18030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037FF5E6-EA15-EEA8-9BF5-490547DD610D}"/>
              </a:ext>
            </a:extLst>
          </p:cNvPr>
          <p:cNvGrpSpPr/>
          <p:nvPr userDrawn="1"/>
        </p:nvGrpSpPr>
        <p:grpSpPr>
          <a:xfrm>
            <a:off x="482363" y="1371489"/>
            <a:ext cx="2717800" cy="2717800"/>
            <a:chOff x="-1273290" y="-2906254"/>
            <a:chExt cx="2717800" cy="2717800"/>
          </a:xfrm>
        </p:grpSpPr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xmlns="" id="{80FAD26A-C4EB-EE6D-620C-B653280B4DC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 rot="15929528">
              <a:off x="-1273290" y="-2906254"/>
              <a:ext cx="2717800" cy="2717800"/>
            </a:xfrm>
            <a:prstGeom prst="rect">
              <a:avLst/>
            </a:prstGeom>
          </p:spPr>
        </p:pic>
        <p:sp>
          <p:nvSpPr>
            <p:cNvPr id="29" name="Oval 28">
              <a:extLst>
                <a:ext uri="{FF2B5EF4-FFF2-40B4-BE49-F238E27FC236}">
                  <a16:creationId xmlns:a16="http://schemas.microsoft.com/office/drawing/2014/main" xmlns="" id="{862BE809-00BD-2FB7-F5AA-EA89D1552EAC}"/>
                </a:ext>
              </a:extLst>
            </p:cNvPr>
            <p:cNvSpPr/>
            <p:nvPr userDrawn="1"/>
          </p:nvSpPr>
          <p:spPr>
            <a:xfrm>
              <a:off x="612080" y="-506833"/>
              <a:ext cx="180304" cy="18030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xmlns="" id="{9F78BB74-DF91-2DEC-ABD1-46FDBBF8A6CA}"/>
                </a:ext>
              </a:extLst>
            </p:cNvPr>
            <p:cNvSpPr/>
            <p:nvPr userDrawn="1"/>
          </p:nvSpPr>
          <p:spPr>
            <a:xfrm>
              <a:off x="1146192" y="-2258654"/>
              <a:ext cx="122825" cy="12282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64FE2779-F63D-B065-4E90-AF1160F69C59}"/>
              </a:ext>
            </a:extLst>
          </p:cNvPr>
          <p:cNvGrpSpPr/>
          <p:nvPr userDrawn="1"/>
        </p:nvGrpSpPr>
        <p:grpSpPr>
          <a:xfrm>
            <a:off x="3356228" y="1382904"/>
            <a:ext cx="2717800" cy="2717800"/>
            <a:chOff x="1608358" y="-2888025"/>
            <a:chExt cx="2717800" cy="2717800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xmlns="" id="{0A80303C-155C-7B80-04DE-9F4744C86CE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608358" y="-2888025"/>
              <a:ext cx="2717800" cy="2717800"/>
            </a:xfrm>
            <a:prstGeom prst="rect">
              <a:avLst/>
            </a:prstGeom>
          </p:spPr>
        </p:pic>
        <p:sp>
          <p:nvSpPr>
            <p:cNvPr id="39" name="Oval 38">
              <a:extLst>
                <a:ext uri="{FF2B5EF4-FFF2-40B4-BE49-F238E27FC236}">
                  <a16:creationId xmlns:a16="http://schemas.microsoft.com/office/drawing/2014/main" xmlns="" id="{B7D89B36-641F-57C9-D035-C058D3A0CE9D}"/>
                </a:ext>
              </a:extLst>
            </p:cNvPr>
            <p:cNvSpPr/>
            <p:nvPr userDrawn="1"/>
          </p:nvSpPr>
          <p:spPr>
            <a:xfrm>
              <a:off x="1771185" y="-979093"/>
              <a:ext cx="180304" cy="18030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xmlns="" id="{C93304A4-38E7-A045-9677-F9D4E2F53422}"/>
                </a:ext>
              </a:extLst>
            </p:cNvPr>
            <p:cNvSpPr/>
            <p:nvPr userDrawn="1"/>
          </p:nvSpPr>
          <p:spPr>
            <a:xfrm>
              <a:off x="3580951" y="-442494"/>
              <a:ext cx="122825" cy="12282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9E94007D-57D4-6375-2AAD-A4BBC88F25F8}"/>
              </a:ext>
            </a:extLst>
          </p:cNvPr>
          <p:cNvGrpSpPr/>
          <p:nvPr userDrawn="1"/>
        </p:nvGrpSpPr>
        <p:grpSpPr>
          <a:xfrm>
            <a:off x="6150753" y="1397893"/>
            <a:ext cx="2717800" cy="2717800"/>
            <a:chOff x="4474557" y="-2888317"/>
            <a:chExt cx="2717800" cy="2717800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xmlns="" id="{A88B107E-2DE6-4E3E-4061-BD542D261B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 rot="3495799">
              <a:off x="4474557" y="-2888317"/>
              <a:ext cx="2717800" cy="2717800"/>
            </a:xfrm>
            <a:prstGeom prst="rect">
              <a:avLst/>
            </a:prstGeom>
          </p:spPr>
        </p:pic>
        <p:sp>
          <p:nvSpPr>
            <p:cNvPr id="44" name="Oval 43">
              <a:extLst>
                <a:ext uri="{FF2B5EF4-FFF2-40B4-BE49-F238E27FC236}">
                  <a16:creationId xmlns:a16="http://schemas.microsoft.com/office/drawing/2014/main" xmlns="" id="{5713B26C-BA22-123C-C5B7-B864B32A8613}"/>
                </a:ext>
              </a:extLst>
            </p:cNvPr>
            <p:cNvSpPr/>
            <p:nvPr userDrawn="1"/>
          </p:nvSpPr>
          <p:spPr>
            <a:xfrm>
              <a:off x="4501791" y="-1202347"/>
              <a:ext cx="122825" cy="12282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xmlns="" id="{90696342-64A9-63B5-AB74-E5616368E6BC}"/>
                </a:ext>
              </a:extLst>
            </p:cNvPr>
            <p:cNvSpPr/>
            <p:nvPr userDrawn="1"/>
          </p:nvSpPr>
          <p:spPr>
            <a:xfrm>
              <a:off x="5422346" y="-2839734"/>
              <a:ext cx="180304" cy="18030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xmlns="" id="{7292AAE4-5A9C-D927-B82D-D3EA5D973826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849926" y="1755295"/>
            <a:ext cx="1980202" cy="1980201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2" name="Picture Placeholder 30">
            <a:extLst>
              <a:ext uri="{FF2B5EF4-FFF2-40B4-BE49-F238E27FC236}">
                <a16:creationId xmlns:a16="http://schemas.microsoft.com/office/drawing/2014/main" xmlns="" id="{D7F55144-19C1-C8A2-F4EB-C71952B8C335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>
          <a:xfrm>
            <a:off x="3704483" y="1755295"/>
            <a:ext cx="1980202" cy="1980201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3" name="Picture Placeholder 30">
            <a:extLst>
              <a:ext uri="{FF2B5EF4-FFF2-40B4-BE49-F238E27FC236}">
                <a16:creationId xmlns:a16="http://schemas.microsoft.com/office/drawing/2014/main" xmlns="" id="{E72C79D9-8423-197B-47C4-2EDA3EE3B2DD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>
          <a:xfrm>
            <a:off x="6511085" y="1755295"/>
            <a:ext cx="1980202" cy="1980201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xmlns="" id="{18014C37-C68D-BAC4-CA21-43EB740F7FC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58091" y="261257"/>
            <a:ext cx="10875818" cy="713528"/>
          </a:xfrm>
        </p:spPr>
        <p:txBody>
          <a:bodyPr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gradFill flip="none" rotWithShape="1">
                  <a:gsLst>
                    <a:gs pos="100000">
                      <a:schemeClr val="accent5"/>
                    </a:gs>
                    <a:gs pos="0">
                      <a:schemeClr val="accent1"/>
                    </a:gs>
                  </a:gsLst>
                  <a:lin ang="10800000" scaled="1"/>
                  <a:tileRect/>
                </a:gra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pPr algn="ctr"/>
            <a:r>
              <a:rPr lang="en-US"/>
              <a:t>Click to edit (Arial 32pt)</a:t>
            </a:r>
          </a:p>
        </p:txBody>
      </p:sp>
      <p:sp>
        <p:nvSpPr>
          <p:cNvPr id="30" name="Picture Placeholder 30">
            <a:extLst>
              <a:ext uri="{FF2B5EF4-FFF2-40B4-BE49-F238E27FC236}">
                <a16:creationId xmlns:a16="http://schemas.microsoft.com/office/drawing/2014/main" xmlns="" id="{00953D33-B21B-762A-BF47-96EE7BEA83B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96834" y="1755294"/>
            <a:ext cx="1980202" cy="1980201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xmlns="" id="{00F43BDF-308D-FB5C-4569-1B572B1792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9892" y="1029435"/>
            <a:ext cx="10872216" cy="313932"/>
          </a:xfrm>
        </p:spPr>
        <p:txBody>
          <a:bodyPr lIns="91440" tIns="45720" rIns="91440" bIns="45720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Bold 14pt)</a:t>
            </a:r>
          </a:p>
        </p:txBody>
      </p:sp>
      <p:sp>
        <p:nvSpPr>
          <p:cNvPr id="42" name="Footer Placeholder 4">
            <a:extLst>
              <a:ext uri="{FF2B5EF4-FFF2-40B4-BE49-F238E27FC236}">
                <a16:creationId xmlns:a16="http://schemas.microsoft.com/office/drawing/2014/main" xmlns="" id="{D75C6A4C-B4AA-D247-6A19-78FE9F9EC3C0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xmlns="" id="{37C2DAAD-99E3-A1C8-AB72-2CD0B3410DE2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713319" y="4140663"/>
            <a:ext cx="2253417" cy="1777512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7938" indent="0">
              <a:buNone/>
              <a:tabLst/>
              <a:defRPr sz="1400"/>
            </a:lvl2pPr>
            <a:lvl3pPr marL="115888" indent="-107950">
              <a:buFont typeface="Arial" panose="020B0604020202020204" pitchFamily="34" charset="0"/>
              <a:buChar char="•"/>
              <a:tabLst/>
              <a:defRPr sz="1200"/>
            </a:lvl3pPr>
            <a:lvl4pPr marL="231775" indent="-115888">
              <a:buFont typeface="System Font Regular"/>
              <a:buChar char="–"/>
              <a:tabLst/>
              <a:defRPr sz="1100"/>
            </a:lvl4pPr>
            <a:lvl5pPr marL="347663" indent="-115888">
              <a:buFont typeface="Arial" panose="020B0604020202020204" pitchFamily="34" charset="0"/>
              <a:buChar char="•"/>
              <a:tabLst/>
              <a:defRPr sz="1100"/>
            </a:lvl5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xmlns="" id="{CBB68814-0441-C7DA-6250-82F1251FBE37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67876" y="4140663"/>
            <a:ext cx="2253417" cy="1777512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7938" indent="0">
              <a:buNone/>
              <a:tabLst/>
              <a:defRPr sz="1400"/>
            </a:lvl2pPr>
            <a:lvl3pPr marL="115888" indent="-107950">
              <a:buFont typeface="Arial" panose="020B0604020202020204" pitchFamily="34" charset="0"/>
              <a:buChar char="•"/>
              <a:tabLst/>
              <a:defRPr sz="1200"/>
            </a:lvl3pPr>
            <a:lvl4pPr marL="231775" indent="-115888">
              <a:buFont typeface="System Font Regular"/>
              <a:buChar char="–"/>
              <a:tabLst/>
              <a:defRPr sz="1100"/>
            </a:lvl4pPr>
            <a:lvl5pPr marL="347663" indent="-115888">
              <a:buFont typeface="Arial" panose="020B0604020202020204" pitchFamily="34" charset="0"/>
              <a:buChar char="•"/>
              <a:tabLst/>
              <a:defRPr sz="1100"/>
            </a:lvl5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xmlns="" id="{8B9E795B-9447-A095-9CA9-F2D80F1C282E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404947" y="4140663"/>
            <a:ext cx="2253417" cy="1777512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7938" indent="0">
              <a:buNone/>
              <a:tabLst/>
              <a:defRPr sz="1400"/>
            </a:lvl2pPr>
            <a:lvl3pPr marL="115888" indent="-107950">
              <a:buFont typeface="Arial" panose="020B0604020202020204" pitchFamily="34" charset="0"/>
              <a:buChar char="•"/>
              <a:tabLst/>
              <a:defRPr sz="1200"/>
            </a:lvl3pPr>
            <a:lvl4pPr marL="231775" indent="-115888">
              <a:buFont typeface="System Font Regular"/>
              <a:buChar char="–"/>
              <a:tabLst/>
              <a:defRPr sz="1100"/>
            </a:lvl4pPr>
            <a:lvl5pPr marL="347663" indent="-115888">
              <a:buFont typeface="Arial" panose="020B0604020202020204" pitchFamily="34" charset="0"/>
              <a:buChar char="•"/>
              <a:tabLst/>
              <a:defRPr sz="1100"/>
            </a:lvl5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xmlns="" id="{1AEB473C-95BC-FAF4-440A-CE1D82BC65EA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9260227" y="4140663"/>
            <a:ext cx="2253417" cy="1777512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7938" indent="0">
              <a:buNone/>
              <a:tabLst/>
              <a:defRPr sz="1400"/>
            </a:lvl2pPr>
            <a:lvl3pPr marL="115888" indent="-107950">
              <a:buFont typeface="Arial" panose="020B0604020202020204" pitchFamily="34" charset="0"/>
              <a:buChar char="•"/>
              <a:tabLst/>
              <a:defRPr sz="1200"/>
            </a:lvl3pPr>
            <a:lvl4pPr marL="231775" indent="-115888">
              <a:buFont typeface="System Font Regular"/>
              <a:buChar char="–"/>
              <a:tabLst/>
              <a:defRPr sz="1100"/>
            </a:lvl4pPr>
            <a:lvl5pPr marL="347663" indent="-115888">
              <a:buFont typeface="Arial" panose="020B0604020202020204" pitchFamily="34" charset="0"/>
              <a:buChar char="•"/>
              <a:tabLst/>
              <a:defRPr sz="1100"/>
            </a:lvl5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FBEA84FE-65FA-D5D9-678A-8F7F61FBD522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7" name="Picture 7">
              <a:extLst>
                <a:ext uri="{FF2B5EF4-FFF2-40B4-BE49-F238E27FC236}">
                  <a16:creationId xmlns:a16="http://schemas.microsoft.com/office/drawing/2014/main" xmlns="" id="{01E41B51-BFB2-07E0-2940-5663B2573678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908F6E77-F953-6CAA-46FF-27E4952BAD8B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EB61B41D-4395-BA95-E1EF-36844ED43D56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1BBA8D16-3972-511E-A8C3-5D68D7B58EE8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E963B2CF-FC39-4C25-2A1A-50DE42D5DE09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xmlns="" id="{940097FB-05B6-7A20-ACB1-997E2292D13F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D3CE8346-0DAC-C3F6-D00C-6B97B63C1F64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xmlns="" id="{7E21FD2B-244B-EB51-C738-F33DAEE346AD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xmlns="" id="{29BCA652-EA12-777C-E891-F584B65B4B75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482F4134-79D4-3C84-CDA3-89F82D25896B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B19D9DA4-947E-3D17-7F02-38E5E4F8327E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73A12C88-6616-5FFE-BF35-0B94083B3E2A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7379E9A4-1BC0-B296-3CDA-D520592F3813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191E6D91-D37F-EE48-F299-42C0CF5F49A5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A3798E27-94E0-7A89-7908-C16179BC8597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54359242-F040-ACA4-8B02-FC322058F5D4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35344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72">
          <p15:clr>
            <a:srgbClr val="FBAE40"/>
          </p15:clr>
        </p15:guide>
        <p15:guide id="2" pos="432">
          <p15:clr>
            <a:srgbClr val="FBAE40"/>
          </p15:clr>
        </p15:guide>
        <p15:guide id="3" pos="7272">
          <p15:clr>
            <a:srgbClr val="FBAE40"/>
          </p15:clr>
        </p15:guide>
        <p15:guide id="4" orient="horz" pos="249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Shape, circle&#10;&#10;Description automatically generated">
            <a:extLst>
              <a:ext uri="{FF2B5EF4-FFF2-40B4-BE49-F238E27FC236}">
                <a16:creationId xmlns:a16="http://schemas.microsoft.com/office/drawing/2014/main" xmlns="" id="{F3308DA1-82B3-5605-F059-77C2B43D1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725232" y="0"/>
            <a:ext cx="8720910" cy="231394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xmlns="" id="{8306019C-5539-2A51-4CC8-3A7F9C609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35448" y="255174"/>
            <a:ext cx="7521104" cy="1048494"/>
          </a:xfrm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18E6FA75-AFFB-E2A6-D951-16C14E3C46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457" y="4631695"/>
            <a:ext cx="2584099" cy="1363456"/>
          </a:xfrm>
        </p:spPr>
        <p:txBody>
          <a:bodyPr>
            <a:noAutofit/>
          </a:bodyPr>
          <a:lstStyle>
            <a:lvl1pPr marL="14288" indent="0" algn="ctr">
              <a:buNone/>
              <a:tabLst/>
              <a:defRPr sz="1600" b="1">
                <a:solidFill>
                  <a:schemeClr val="tx2"/>
                </a:solidFill>
              </a:defRPr>
            </a:lvl1pPr>
            <a:lvl2pPr marL="14288" indent="0" algn="ctr">
              <a:buNone/>
              <a:tabLst/>
              <a:defRPr sz="1400"/>
            </a:lvl2pPr>
            <a:lvl3pPr marL="14288" indent="0" algn="ctr">
              <a:buNone/>
              <a:tabLst/>
              <a:defRPr sz="1200"/>
            </a:lvl3pPr>
            <a:lvl4pPr marL="14288" indent="0" algn="ctr">
              <a:buNone/>
              <a:tabLst/>
              <a:defRPr sz="1100"/>
            </a:lvl4pPr>
            <a:lvl5pPr marL="14288" indent="0" algn="ctr">
              <a:buNone/>
              <a:tabLst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7F0BA483-841A-AD1E-89F6-BA7D225B4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9892" y="2503761"/>
            <a:ext cx="10872216" cy="231854"/>
          </a:xfrm>
        </p:spPr>
        <p:txBody>
          <a:bodyPr lIns="91440" tIns="45720" rIns="91440" bIns="45720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16pt)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5449A724-F820-4031-AE54-C7DE0A0E39E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398309" y="4631695"/>
            <a:ext cx="2584098" cy="1363456"/>
          </a:xfrm>
        </p:spPr>
        <p:txBody>
          <a:bodyPr>
            <a:noAutofit/>
          </a:bodyPr>
          <a:lstStyle>
            <a:lvl1pPr marL="14288" indent="0" algn="ctr">
              <a:buNone/>
              <a:tabLst/>
              <a:defRPr sz="1600" b="1">
                <a:solidFill>
                  <a:schemeClr val="accent1"/>
                </a:solidFill>
              </a:defRPr>
            </a:lvl1pPr>
            <a:lvl2pPr marL="14288" indent="0" algn="ctr">
              <a:buNone/>
              <a:tabLst/>
              <a:defRPr sz="1400"/>
            </a:lvl2pPr>
            <a:lvl3pPr marL="14288" indent="0" algn="ctr">
              <a:buNone/>
              <a:tabLst/>
              <a:defRPr sz="1200"/>
            </a:lvl3pPr>
            <a:lvl4pPr marL="14288" indent="0" algn="ctr">
              <a:buNone/>
              <a:tabLst/>
              <a:defRPr sz="1100"/>
            </a:lvl4pPr>
            <a:lvl5pPr marL="14288" indent="0" algn="ctr">
              <a:buNone/>
              <a:tabLst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C462C91B-D41F-ABD9-59B2-A3A4ABB50EB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173160" y="4631695"/>
            <a:ext cx="2584098" cy="1363456"/>
          </a:xfrm>
        </p:spPr>
        <p:txBody>
          <a:bodyPr>
            <a:noAutofit/>
          </a:bodyPr>
          <a:lstStyle>
            <a:lvl1pPr marL="14288" indent="0" algn="ctr">
              <a:buNone/>
              <a:tabLst/>
              <a:defRPr sz="1600" b="1">
                <a:solidFill>
                  <a:schemeClr val="accent2"/>
                </a:solidFill>
              </a:defRPr>
            </a:lvl1pPr>
            <a:lvl2pPr marL="14288" indent="0" algn="ctr">
              <a:buNone/>
              <a:tabLst/>
              <a:defRPr sz="1400"/>
            </a:lvl2pPr>
            <a:lvl3pPr marL="14288" indent="0" algn="ctr">
              <a:buNone/>
              <a:tabLst/>
              <a:defRPr sz="1200"/>
            </a:lvl3pPr>
            <a:lvl4pPr marL="14288" indent="0" algn="ctr">
              <a:buNone/>
              <a:tabLst/>
              <a:defRPr sz="1100"/>
            </a:lvl4pPr>
            <a:lvl5pPr marL="14288" indent="0" algn="ctr">
              <a:buNone/>
              <a:tabLst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xmlns="" id="{A130C222-0307-F2AB-CCA6-2E358E1A69DE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xmlns="" id="{232DB846-8260-60EA-D0E7-6C016AFB7912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948010" y="4631695"/>
            <a:ext cx="2584098" cy="1363456"/>
          </a:xfrm>
        </p:spPr>
        <p:txBody>
          <a:bodyPr>
            <a:noAutofit/>
          </a:bodyPr>
          <a:lstStyle>
            <a:lvl1pPr marL="14288" indent="0" algn="ctr">
              <a:buNone/>
              <a:tabLst/>
              <a:defRPr sz="1600" b="1">
                <a:solidFill>
                  <a:schemeClr val="accent3"/>
                </a:solidFill>
              </a:defRPr>
            </a:lvl1pPr>
            <a:lvl2pPr marL="14288" indent="0" algn="ctr">
              <a:buNone/>
              <a:tabLst/>
              <a:defRPr sz="1400"/>
            </a:lvl2pPr>
            <a:lvl3pPr marL="14288" indent="0" algn="ctr">
              <a:buNone/>
              <a:tabLst/>
              <a:defRPr sz="1200"/>
            </a:lvl3pPr>
            <a:lvl4pPr marL="14288" indent="0" algn="ctr">
              <a:buNone/>
              <a:tabLst/>
              <a:defRPr sz="1100"/>
            </a:lvl4pPr>
            <a:lvl5pPr marL="14288" indent="0" algn="ctr">
              <a:buNone/>
              <a:tabLst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CCD754D8-D8DD-D3F6-F9C8-9F726E659D8F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5" name="Picture 7">
              <a:extLst>
                <a:ext uri="{FF2B5EF4-FFF2-40B4-BE49-F238E27FC236}">
                  <a16:creationId xmlns:a16="http://schemas.microsoft.com/office/drawing/2014/main" xmlns="" id="{4255CC58-2A17-7DE8-A458-5A25F9431AAB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4C1BBC38-E785-817C-DBEB-5BA7A490928E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xmlns="" id="{EDF9236A-0FB8-7203-FCBF-DC22C9D01E40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xmlns="" id="{D36DC956-29A5-D7DB-FEF2-73BF7B77B2CC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xmlns="" id="{C0CC0CAE-ABBF-EF62-5A52-FD73D09881CD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xmlns="" id="{95375D66-E03B-6BD3-B52F-697FD6106194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xmlns="" id="{2C6F5547-AB05-F427-A9ED-3D4A16A2A091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xmlns="" id="{8374CBA2-74C0-B289-7ABD-E7421F8146E5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xmlns="" id="{C835CEEC-E765-A9E9-C521-9A9CC187DD72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A8879159-5B5C-1BD2-A47F-46EEF8389B54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3CCE1A84-6F7C-FB53-956F-BA7EB9270A88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E9FA5681-6C73-E05A-59B9-C5A647B83773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F890A167-D86B-C7BF-D6F0-E1FC85945415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8F7CFDEC-C1AD-267E-8043-BE8DE1DBE667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2DD0FBCA-47C2-4E37-DAEA-9728992A3FCC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4AD1B83C-C22E-4596-2AFA-D994AA984FB8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1935344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op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36"/>
          <p:cNvSpPr>
            <a:spLocks noGrp="1"/>
          </p:cNvSpPr>
          <p:nvPr userDrawn="1">
            <p:ph type="title"/>
          </p:nvPr>
        </p:nvSpPr>
        <p:spPr bwMode="gray">
          <a:xfrm>
            <a:off x="785285" y="1112839"/>
            <a:ext cx="9408583" cy="526881"/>
          </a:xfrm>
          <a:prstGeom prst="rect">
            <a:avLst/>
          </a:prstGeom>
        </p:spPr>
        <p:txBody>
          <a:bodyPr vert="horz"/>
          <a:lstStyle>
            <a:lvl1pPr algn="l">
              <a:defRPr sz="2500" b="1">
                <a:solidFill>
                  <a:srgbClr val="393996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" name="Content Placeholder 38"/>
          <p:cNvSpPr>
            <a:spLocks noGrp="1"/>
          </p:cNvSpPr>
          <p:nvPr userDrawn="1">
            <p:ph sz="quarter" idx="15"/>
          </p:nvPr>
        </p:nvSpPr>
        <p:spPr bwMode="gray">
          <a:xfrm>
            <a:off x="785285" y="1798454"/>
            <a:ext cx="10612967" cy="4481696"/>
          </a:xfrm>
          <a:prstGeom prst="rect">
            <a:avLst/>
          </a:prstGeom>
        </p:spPr>
        <p:txBody>
          <a:bodyPr vert="horz"/>
          <a:lstStyle>
            <a:lvl1pPr>
              <a:lnSpc>
                <a:spcPts val="1680"/>
              </a:lnSpc>
              <a:spcBef>
                <a:spcPts val="400"/>
              </a:spcBef>
              <a:spcAft>
                <a:spcPts val="400"/>
              </a:spcAft>
              <a:buClr>
                <a:srgbClr val="353D98"/>
              </a:buClr>
              <a:defRPr sz="18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00509C"/>
              </a:buClr>
              <a:buFont typeface="Arial"/>
              <a:buChar char="•"/>
              <a:defRPr sz="14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A9218E"/>
              </a:buClr>
              <a:defRPr sz="12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EE304E"/>
              </a:buClr>
              <a:buFont typeface="Arial"/>
              <a:buChar char="•"/>
              <a:defRPr sz="12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Bef>
                <a:spcPts val="600"/>
              </a:spcBef>
              <a:buClr>
                <a:srgbClr val="F26631"/>
              </a:buClr>
              <a:buFont typeface="Arial"/>
              <a:buChar char="•"/>
              <a:defRPr sz="12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173467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rt/Graph 2" userDrawn="1">
  <p:cSld name="Chart/Graph 2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34"/>
          <p:cNvSpPr txBox="1">
            <a:spLocks noGrp="1"/>
          </p:cNvSpPr>
          <p:nvPr>
            <p:ph type="title"/>
          </p:nvPr>
        </p:nvSpPr>
        <p:spPr>
          <a:xfrm>
            <a:off x="838200" y="457200"/>
            <a:ext cx="10515600" cy="5853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Arial"/>
              <a:buNone/>
              <a:defRPr sz="28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3" name="Google Shape;93;p34" descr="A group of colored lines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5400000">
            <a:off x="-3254698" y="3254697"/>
            <a:ext cx="6858000" cy="348605"/>
          </a:xfrm>
          <a:prstGeom prst="rect">
            <a:avLst/>
          </a:prstGeom>
          <a:noFill/>
          <a:ln>
            <a:noFill/>
          </a:ln>
        </p:spPr>
      </p:pic>
      <p:sp>
        <p:nvSpPr>
          <p:cNvPr id="96" name="Google Shape;96;p34"/>
          <p:cNvSpPr>
            <a:spLocks noGrp="1"/>
          </p:cNvSpPr>
          <p:nvPr>
            <p:ph type="pic" idx="2"/>
          </p:nvPr>
        </p:nvSpPr>
        <p:spPr>
          <a:xfrm>
            <a:off x="6096000" y="1484639"/>
            <a:ext cx="5698200" cy="43296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buClr>
                <a:schemeClr val="bg2"/>
              </a:buClr>
              <a:buSzPct val="100000"/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Google Shape;14;p23">
            <a:extLst>
              <a:ext uri="{FF2B5EF4-FFF2-40B4-BE49-F238E27FC236}">
                <a16:creationId xmlns:a16="http://schemas.microsoft.com/office/drawing/2014/main" xmlns="" id="{63BE1C24-2359-14DC-80E9-C21BDE0F54AC}"/>
              </a:ext>
            </a:extLst>
          </p:cNvPr>
          <p:cNvSpPr txBox="1">
            <a:spLocks/>
          </p:cNvSpPr>
          <p:nvPr userDrawn="1"/>
        </p:nvSpPr>
        <p:spPr>
          <a:xfrm>
            <a:off x="11688425" y="6430526"/>
            <a:ext cx="503700" cy="3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3" name="Google Shape;12;p23">
            <a:extLst>
              <a:ext uri="{FF2B5EF4-FFF2-40B4-BE49-F238E27FC236}">
                <a16:creationId xmlns:a16="http://schemas.microsoft.com/office/drawing/2014/main" xmlns="" id="{F6F7D2D7-A9A1-F00A-A16B-680C5DBEF5CC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787361" y="6518593"/>
            <a:ext cx="827773" cy="12416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5CAE67C7-B4F0-1166-0F96-1634DDC2EA5D}"/>
              </a:ext>
            </a:extLst>
          </p:cNvPr>
          <p:cNvCxnSpPr>
            <a:cxnSpLocks/>
          </p:cNvCxnSpPr>
          <p:nvPr userDrawn="1"/>
        </p:nvCxnSpPr>
        <p:spPr>
          <a:xfrm>
            <a:off x="11688425" y="6447516"/>
            <a:ext cx="0" cy="266321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oogle Shape;13;p23">
            <a:extLst>
              <a:ext uri="{FF2B5EF4-FFF2-40B4-BE49-F238E27FC236}">
                <a16:creationId xmlns:a16="http://schemas.microsoft.com/office/drawing/2014/main" xmlns="" id="{2C49C313-1127-2E45-981F-647B77093710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838199" y="1481558"/>
            <a:ext cx="5107620" cy="4332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marL="285750" lvl="0" indent="-28575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b="0" i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Char char="•"/>
              <a:defRPr sz="16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lvl="5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lvl="6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lvl="7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lvl="8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xmlns="" id="{C1F9F102-5983-404A-81B8-0EB2AFA8F7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908518"/>
            <a:ext cx="5107607" cy="438150"/>
          </a:xfrm>
        </p:spPr>
        <p:txBody>
          <a:bodyPr lIns="0">
            <a:noAutofit/>
          </a:bodyPr>
          <a:lstStyle>
            <a:lvl1pPr marL="0" indent="0">
              <a:buNone/>
              <a:defRPr sz="2000" b="1" i="1">
                <a:solidFill>
                  <a:schemeClr val="accent5"/>
                </a:solidFill>
                <a:latin typeface="+mj-lt"/>
              </a:defRPr>
            </a:lvl1pPr>
            <a:lvl2pPr marL="533400" indent="0">
              <a:buNone/>
              <a:defRPr/>
            </a:lvl2pPr>
            <a:lvl3pPr marL="1016000" indent="0">
              <a:buNone/>
              <a:defRPr/>
            </a:lvl3pPr>
            <a:lvl4pPr marL="1485900" indent="0">
              <a:buNone/>
              <a:defRPr/>
            </a:lvl4pPr>
            <a:lvl5pPr marL="19431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7434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xmlns="" id="{9CB965F0-F27E-B7C6-301F-0BEDF7E8D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8" y="459044"/>
            <a:ext cx="11412537" cy="1005840"/>
          </a:xfrm>
        </p:spPr>
        <p:txBody>
          <a:bodyPr lIns="0"/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dirty="0">
                <a:gradFill flip="none" rotWithShape="1">
                  <a:gsLst>
                    <a:gs pos="100000">
                      <a:schemeClr val="accent5"/>
                    </a:gs>
                    <a:gs pos="0">
                      <a:schemeClr val="accent1"/>
                    </a:gs>
                  </a:gsLst>
                  <a:lin ang="10800000" scaled="1"/>
                  <a:tileRect/>
                </a:gra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(Arial 32pt)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7E9210C-D6BD-91B8-1521-048DB06FC58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8938" y="6051293"/>
            <a:ext cx="9756868" cy="537765"/>
          </a:xfrm>
        </p:spPr>
        <p:txBody>
          <a:bodyPr l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xmlns="" id="{FAA69E3C-DCB5-6A15-0161-F8C32303AFC4}"/>
              </a:ext>
            </a:extLst>
          </p:cNvPr>
          <p:cNvSpPr txBox="1">
            <a:spLocks/>
          </p:cNvSpPr>
          <p:nvPr userDrawn="1"/>
        </p:nvSpPr>
        <p:spPr>
          <a:xfrm>
            <a:off x="33540" y="6223933"/>
            <a:ext cx="321316" cy="365125"/>
          </a:xfrm>
          <a:prstGeom prst="rect">
            <a:avLst/>
          </a:prstGeom>
        </p:spPr>
        <p:txBody>
          <a:bodyPr vert="horz" wrap="none" lIns="91440" tIns="45720" rIns="91440" bIns="45720" rtlCol="0" anchor="b" anchorCtr="0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5602608-15A0-1B42-ADE4-514EC6B8A495}" type="slidenum">
              <a:rPr lang="en-US" sz="900" b="1" smtClean="0">
                <a:solidFill>
                  <a:schemeClr val="tx2"/>
                </a:solidFill>
                <a:cs typeface="Arial"/>
              </a:rPr>
              <a:pPr algn="ctr"/>
              <a:t>‹nº›</a:t>
            </a:fld>
            <a:endParaRPr lang="en-US" sz="900" b="1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4912390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45FE5FF-B3D2-5069-4C0E-E39DCED41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0D59C99-75C4-0FE6-DDB9-0ACCB44843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CD4365B-3304-819F-1405-CF10A18212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0D63C-3300-4C2D-B480-963E9AE53FC9}" type="datetimeFigureOut">
              <a:rPr lang="en-GB" smtClean="0"/>
              <a:t>03/04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5A66C03-CF03-56C7-DD8E-42AB71A72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915AE78-AAFE-257A-7286-644D484479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CAD07-A04B-4670-A9DA-1A143A92E1ED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10887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9E10451-2623-2F9C-3A88-91BC1601D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0DAE90BF-72E4-E455-7F0B-224B209911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0D63C-3300-4C2D-B480-963E9AE53FC9}" type="datetimeFigureOut">
              <a:rPr lang="en-GB" smtClean="0"/>
              <a:t>03/04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2F9BEB2D-D752-D788-3FC9-1DF999565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E26097D-060E-9396-9B35-38FD38532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CAD07-A04B-4670-A9DA-1A143A92E1ED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81419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Graphic 33">
            <a:extLst>
              <a:ext uri="{FF2B5EF4-FFF2-40B4-BE49-F238E27FC236}">
                <a16:creationId xmlns:a16="http://schemas.microsoft.com/office/drawing/2014/main" xmlns="" id="{34CD2AA6-2706-7EC2-F57F-131D1C3858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4191" b="36629"/>
          <a:stretch>
            <a:fillRect/>
          </a:stretch>
        </p:blipFill>
        <p:spPr>
          <a:xfrm rot="295338">
            <a:off x="9170701" y="3414667"/>
            <a:ext cx="3157612" cy="3585415"/>
          </a:xfrm>
          <a:custGeom>
            <a:avLst/>
            <a:gdLst>
              <a:gd name="connsiteX0" fmla="*/ 0 w 3157612"/>
              <a:gd name="connsiteY0" fmla="*/ 0 h 3585415"/>
              <a:gd name="connsiteX1" fmla="*/ 2872248 w 3157612"/>
              <a:gd name="connsiteY1" fmla="*/ 0 h 3585415"/>
              <a:gd name="connsiteX2" fmla="*/ 3157612 w 3157612"/>
              <a:gd name="connsiteY2" fmla="*/ 3313474 h 3585415"/>
              <a:gd name="connsiteX3" fmla="*/ 0 w 3157612"/>
              <a:gd name="connsiteY3" fmla="*/ 3585415 h 3585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7612" h="3585415">
                <a:moveTo>
                  <a:pt x="0" y="0"/>
                </a:moveTo>
                <a:lnTo>
                  <a:pt x="2872248" y="0"/>
                </a:lnTo>
                <a:lnTo>
                  <a:pt x="3157612" y="3313474"/>
                </a:lnTo>
                <a:lnTo>
                  <a:pt x="0" y="358541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4E68EE33-9B9E-1E4F-8E73-9450211530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388" y="538397"/>
            <a:ext cx="8229600" cy="873931"/>
          </a:xfrm>
        </p:spPr>
        <p:txBody>
          <a:bodyPr lIns="91440" tIns="45720" rIns="91440" bIns="4572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cs typeface="Futura Medium" panose="020B0602020204020303" pitchFamily="34" charset="-79"/>
              </a:defRPr>
            </a:lvl1pPr>
          </a:lstStyle>
          <a:p>
            <a:r>
              <a:rPr lang="en-US"/>
              <a:t>Agenda (Arial 32pt)</a:t>
            </a:r>
            <a:endParaRPr lang="x-none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xmlns="" id="{B4FD7D8E-80F1-7FBF-FCFA-2BBA4618D6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91388" y="1552950"/>
            <a:ext cx="8229600" cy="231854"/>
          </a:xfr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 (Arial Bold 16pt)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xmlns="" id="{4991D21C-9BF8-166C-F2E5-2325A2FDEF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90650" y="1874318"/>
            <a:ext cx="8229600" cy="481427"/>
          </a:xfr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Click to edit Master text styles (Arial 14pt)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xmlns="" id="{6F6DE264-2A3B-8B9E-1D2E-4DF930D0254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390650" y="2728221"/>
            <a:ext cx="3108325" cy="2577204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xmlns="" id="{4680C19E-F6DE-6E83-DBAE-59442B11E90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076242" y="2728221"/>
            <a:ext cx="3108325" cy="2577204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xmlns="" id="{2FC15814-3A61-716E-3272-DC7C0CD2796D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3C1A15FB-6FF2-CA63-437E-AEEFA1DF0DA9}"/>
              </a:ext>
            </a:extLst>
          </p:cNvPr>
          <p:cNvGrpSpPr/>
          <p:nvPr userDrawn="1"/>
        </p:nvGrpSpPr>
        <p:grpSpPr>
          <a:xfrm>
            <a:off x="10184220" y="5738223"/>
            <a:ext cx="1599131" cy="233575"/>
            <a:chOff x="10184220" y="5738223"/>
            <a:chExt cx="1599131" cy="233575"/>
          </a:xfrm>
        </p:grpSpPr>
        <p:grpSp>
          <p:nvGrpSpPr>
            <p:cNvPr id="4" name="Picture 13">
              <a:extLst>
                <a:ext uri="{FF2B5EF4-FFF2-40B4-BE49-F238E27FC236}">
                  <a16:creationId xmlns:a16="http://schemas.microsoft.com/office/drawing/2014/main" xmlns="" id="{4477D121-013F-6C28-3295-EDAF0A5CC6F5}"/>
                </a:ext>
              </a:extLst>
            </p:cNvPr>
            <p:cNvGrpSpPr/>
            <p:nvPr/>
          </p:nvGrpSpPr>
          <p:grpSpPr>
            <a:xfrm>
              <a:off x="10184220" y="5738223"/>
              <a:ext cx="1599131" cy="230409"/>
              <a:chOff x="10184220" y="5738223"/>
              <a:chExt cx="1599131" cy="230409"/>
            </a:xfrm>
            <a:solidFill>
              <a:schemeClr val="bg1"/>
            </a:solidFill>
          </p:grpSpPr>
          <p:sp>
            <p:nvSpPr>
              <p:cNvPr id="5" name="Freeform 4">
                <a:extLst>
                  <a:ext uri="{FF2B5EF4-FFF2-40B4-BE49-F238E27FC236}">
                    <a16:creationId xmlns:a16="http://schemas.microsoft.com/office/drawing/2014/main" xmlns="" id="{6ACD00D0-F595-C755-F44B-E6BE71A329F9}"/>
                  </a:ext>
                </a:extLst>
              </p:cNvPr>
              <p:cNvSpPr/>
              <p:nvPr/>
            </p:nvSpPr>
            <p:spPr>
              <a:xfrm>
                <a:off x="10998572" y="5738223"/>
                <a:ext cx="197736" cy="225712"/>
              </a:xfrm>
              <a:custGeom>
                <a:avLst/>
                <a:gdLst>
                  <a:gd name="connsiteX0" fmla="*/ 98842 w 197736"/>
                  <a:gd name="connsiteY0" fmla="*/ 0 h 225712"/>
                  <a:gd name="connsiteX1" fmla="*/ 0 w 197736"/>
                  <a:gd name="connsiteY1" fmla="*/ 225713 h 225712"/>
                  <a:gd name="connsiteX2" fmla="*/ 21192 w 197736"/>
                  <a:gd name="connsiteY2" fmla="*/ 225713 h 225712"/>
                  <a:gd name="connsiteX3" fmla="*/ 55826 w 197736"/>
                  <a:gd name="connsiteY3" fmla="*/ 146605 h 225712"/>
                  <a:gd name="connsiteX4" fmla="*/ 141963 w 197736"/>
                  <a:gd name="connsiteY4" fmla="*/ 146605 h 225712"/>
                  <a:gd name="connsiteX5" fmla="*/ 176809 w 197736"/>
                  <a:gd name="connsiteY5" fmla="*/ 225713 h 225712"/>
                  <a:gd name="connsiteX6" fmla="*/ 197737 w 197736"/>
                  <a:gd name="connsiteY6" fmla="*/ 225713 h 225712"/>
                  <a:gd name="connsiteX7" fmla="*/ 98842 w 197736"/>
                  <a:gd name="connsiteY7" fmla="*/ 0 h 225712"/>
                  <a:gd name="connsiteX8" fmla="*/ 64155 w 197736"/>
                  <a:gd name="connsiteY8" fmla="*/ 127448 h 225712"/>
                  <a:gd name="connsiteX9" fmla="*/ 98684 w 197736"/>
                  <a:gd name="connsiteY9" fmla="*/ 48446 h 225712"/>
                  <a:gd name="connsiteX10" fmla="*/ 133476 w 197736"/>
                  <a:gd name="connsiteY10" fmla="*/ 127448 h 225712"/>
                  <a:gd name="connsiteX11" fmla="*/ 64102 w 197736"/>
                  <a:gd name="connsiteY11" fmla="*/ 127448 h 225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7736" h="225712">
                    <a:moveTo>
                      <a:pt x="98842" y="0"/>
                    </a:moveTo>
                    <a:lnTo>
                      <a:pt x="0" y="225713"/>
                    </a:lnTo>
                    <a:lnTo>
                      <a:pt x="21192" y="225713"/>
                    </a:lnTo>
                    <a:lnTo>
                      <a:pt x="55826" y="146605"/>
                    </a:lnTo>
                    <a:lnTo>
                      <a:pt x="141963" y="146605"/>
                    </a:lnTo>
                    <a:lnTo>
                      <a:pt x="176809" y="225713"/>
                    </a:lnTo>
                    <a:lnTo>
                      <a:pt x="197737" y="225713"/>
                    </a:lnTo>
                    <a:lnTo>
                      <a:pt x="98842" y="0"/>
                    </a:lnTo>
                    <a:close/>
                    <a:moveTo>
                      <a:pt x="64155" y="127448"/>
                    </a:moveTo>
                    <a:lnTo>
                      <a:pt x="98684" y="48446"/>
                    </a:lnTo>
                    <a:lnTo>
                      <a:pt x="133476" y="127448"/>
                    </a:lnTo>
                    <a:lnTo>
                      <a:pt x="64102" y="127448"/>
                    </a:lnTo>
                    <a:close/>
                  </a:path>
                </a:pathLst>
              </a:custGeom>
              <a:solidFill>
                <a:schemeClr val="bg1"/>
              </a:solidFill>
              <a:ln w="52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xmlns="" id="{4C95CE01-DAD5-5D89-BBCC-7D4F7E124164}"/>
                  </a:ext>
                </a:extLst>
              </p:cNvPr>
              <p:cNvSpPr/>
              <p:nvPr/>
            </p:nvSpPr>
            <p:spPr>
              <a:xfrm>
                <a:off x="11456882" y="5742919"/>
                <a:ext cx="19135" cy="220963"/>
              </a:xfrm>
              <a:custGeom>
                <a:avLst/>
                <a:gdLst>
                  <a:gd name="connsiteX0" fmla="*/ 0 w 19135"/>
                  <a:gd name="connsiteY0" fmla="*/ 0 h 220963"/>
                  <a:gd name="connsiteX1" fmla="*/ 19136 w 19135"/>
                  <a:gd name="connsiteY1" fmla="*/ 0 h 220963"/>
                  <a:gd name="connsiteX2" fmla="*/ 19136 w 19135"/>
                  <a:gd name="connsiteY2" fmla="*/ 220963 h 220963"/>
                  <a:gd name="connsiteX3" fmla="*/ 0 w 19135"/>
                  <a:gd name="connsiteY3" fmla="*/ 220963 h 220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135" h="220963">
                    <a:moveTo>
                      <a:pt x="0" y="0"/>
                    </a:moveTo>
                    <a:lnTo>
                      <a:pt x="19136" y="0"/>
                    </a:lnTo>
                    <a:lnTo>
                      <a:pt x="19136" y="220963"/>
                    </a:lnTo>
                    <a:lnTo>
                      <a:pt x="0" y="220963"/>
                    </a:lnTo>
                    <a:close/>
                  </a:path>
                </a:pathLst>
              </a:custGeom>
              <a:solidFill>
                <a:schemeClr val="bg1"/>
              </a:solidFill>
              <a:ln w="52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xmlns="" id="{BE825E31-4286-5E0F-C0E0-8071C3119915}"/>
                  </a:ext>
                </a:extLst>
              </p:cNvPr>
              <p:cNvSpPr/>
              <p:nvPr/>
            </p:nvSpPr>
            <p:spPr>
              <a:xfrm>
                <a:off x="10755869" y="5738592"/>
                <a:ext cx="202639" cy="225290"/>
              </a:xfrm>
              <a:custGeom>
                <a:avLst/>
                <a:gdLst>
                  <a:gd name="connsiteX0" fmla="*/ 100845 w 202639"/>
                  <a:gd name="connsiteY0" fmla="*/ 101853 h 225290"/>
                  <a:gd name="connsiteX1" fmla="*/ 0 w 202639"/>
                  <a:gd name="connsiteY1" fmla="*/ 106 h 225290"/>
                  <a:gd name="connsiteX2" fmla="*/ 105 w 202639"/>
                  <a:gd name="connsiteY2" fmla="*/ 225291 h 225290"/>
                  <a:gd name="connsiteX3" fmla="*/ 19241 w 202639"/>
                  <a:gd name="connsiteY3" fmla="*/ 225291 h 225290"/>
                  <a:gd name="connsiteX4" fmla="*/ 19241 w 202639"/>
                  <a:gd name="connsiteY4" fmla="*/ 46810 h 225290"/>
                  <a:gd name="connsiteX5" fmla="*/ 100634 w 202639"/>
                  <a:gd name="connsiteY5" fmla="*/ 129243 h 225290"/>
                  <a:gd name="connsiteX6" fmla="*/ 183503 w 202639"/>
                  <a:gd name="connsiteY6" fmla="*/ 46388 h 225290"/>
                  <a:gd name="connsiteX7" fmla="*/ 183503 w 202639"/>
                  <a:gd name="connsiteY7" fmla="*/ 225291 h 225290"/>
                  <a:gd name="connsiteX8" fmla="*/ 202639 w 202639"/>
                  <a:gd name="connsiteY8" fmla="*/ 225291 h 225290"/>
                  <a:gd name="connsiteX9" fmla="*/ 202639 w 202639"/>
                  <a:gd name="connsiteY9" fmla="*/ 0 h 225290"/>
                  <a:gd name="connsiteX10" fmla="*/ 100845 w 202639"/>
                  <a:gd name="connsiteY10" fmla="*/ 101853 h 22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2639" h="225290">
                    <a:moveTo>
                      <a:pt x="100845" y="101853"/>
                    </a:moveTo>
                    <a:lnTo>
                      <a:pt x="0" y="106"/>
                    </a:lnTo>
                    <a:lnTo>
                      <a:pt x="105" y="225291"/>
                    </a:lnTo>
                    <a:lnTo>
                      <a:pt x="19241" y="225291"/>
                    </a:lnTo>
                    <a:lnTo>
                      <a:pt x="19241" y="46810"/>
                    </a:lnTo>
                    <a:lnTo>
                      <a:pt x="100634" y="129243"/>
                    </a:lnTo>
                    <a:lnTo>
                      <a:pt x="183503" y="46388"/>
                    </a:lnTo>
                    <a:lnTo>
                      <a:pt x="183503" y="225291"/>
                    </a:lnTo>
                    <a:lnTo>
                      <a:pt x="202639" y="225291"/>
                    </a:lnTo>
                    <a:lnTo>
                      <a:pt x="202639" y="0"/>
                    </a:lnTo>
                    <a:lnTo>
                      <a:pt x="100845" y="101853"/>
                    </a:lnTo>
                    <a:close/>
                  </a:path>
                </a:pathLst>
              </a:custGeom>
              <a:solidFill>
                <a:schemeClr val="bg1"/>
              </a:solidFill>
              <a:ln w="52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xmlns="" id="{33ED72F1-6D0B-BB75-B6DE-11E5680B9940}"/>
                  </a:ext>
                </a:extLst>
              </p:cNvPr>
              <p:cNvSpPr/>
              <p:nvPr/>
            </p:nvSpPr>
            <p:spPr>
              <a:xfrm>
                <a:off x="11554354" y="5739172"/>
                <a:ext cx="167056" cy="229459"/>
              </a:xfrm>
              <a:custGeom>
                <a:avLst/>
                <a:gdLst>
                  <a:gd name="connsiteX0" fmla="*/ 147868 w 167056"/>
                  <a:gd name="connsiteY0" fmla="*/ 3747 h 229459"/>
                  <a:gd name="connsiteX1" fmla="*/ 147868 w 167056"/>
                  <a:gd name="connsiteY1" fmla="*/ 175842 h 229459"/>
                  <a:gd name="connsiteX2" fmla="*/ 0 w 167056"/>
                  <a:gd name="connsiteY2" fmla="*/ 0 h 229459"/>
                  <a:gd name="connsiteX3" fmla="*/ 0 w 167056"/>
                  <a:gd name="connsiteY3" fmla="*/ 30609 h 229459"/>
                  <a:gd name="connsiteX4" fmla="*/ 0 w 167056"/>
                  <a:gd name="connsiteY4" fmla="*/ 224710 h 229459"/>
                  <a:gd name="connsiteX5" fmla="*/ 19136 w 167056"/>
                  <a:gd name="connsiteY5" fmla="*/ 224710 h 229459"/>
                  <a:gd name="connsiteX6" fmla="*/ 19136 w 167056"/>
                  <a:gd name="connsiteY6" fmla="*/ 53407 h 229459"/>
                  <a:gd name="connsiteX7" fmla="*/ 167056 w 167056"/>
                  <a:gd name="connsiteY7" fmla="*/ 229460 h 229459"/>
                  <a:gd name="connsiteX8" fmla="*/ 167056 w 167056"/>
                  <a:gd name="connsiteY8" fmla="*/ 3747 h 229459"/>
                  <a:gd name="connsiteX9" fmla="*/ 147868 w 167056"/>
                  <a:gd name="connsiteY9" fmla="*/ 3747 h 229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7056" h="229459">
                    <a:moveTo>
                      <a:pt x="147868" y="3747"/>
                    </a:moveTo>
                    <a:lnTo>
                      <a:pt x="147868" y="175842"/>
                    </a:lnTo>
                    <a:lnTo>
                      <a:pt x="0" y="0"/>
                    </a:lnTo>
                    <a:lnTo>
                      <a:pt x="0" y="30609"/>
                    </a:lnTo>
                    <a:lnTo>
                      <a:pt x="0" y="224710"/>
                    </a:lnTo>
                    <a:lnTo>
                      <a:pt x="19136" y="224710"/>
                    </a:lnTo>
                    <a:lnTo>
                      <a:pt x="19136" y="53407"/>
                    </a:lnTo>
                    <a:lnTo>
                      <a:pt x="167056" y="229460"/>
                    </a:lnTo>
                    <a:lnTo>
                      <a:pt x="167056" y="3747"/>
                    </a:lnTo>
                    <a:lnTo>
                      <a:pt x="147868" y="3747"/>
                    </a:lnTo>
                    <a:close/>
                  </a:path>
                </a:pathLst>
              </a:custGeom>
              <a:solidFill>
                <a:schemeClr val="bg1"/>
              </a:solidFill>
              <a:ln w="52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xmlns="" id="{BADD0BF0-5850-39BB-05C4-D6A3B0960508}"/>
                  </a:ext>
                </a:extLst>
              </p:cNvPr>
              <p:cNvSpPr/>
              <p:nvPr/>
            </p:nvSpPr>
            <p:spPr>
              <a:xfrm>
                <a:off x="11238059" y="5743078"/>
                <a:ext cx="160308" cy="220910"/>
              </a:xfrm>
              <a:custGeom>
                <a:avLst/>
                <a:gdLst>
                  <a:gd name="connsiteX0" fmla="*/ 138695 w 160308"/>
                  <a:gd name="connsiteY0" fmla="*/ 220910 h 220910"/>
                  <a:gd name="connsiteX1" fmla="*/ 160308 w 160308"/>
                  <a:gd name="connsiteY1" fmla="*/ 220910 h 220910"/>
                  <a:gd name="connsiteX2" fmla="*/ 107382 w 160308"/>
                  <a:gd name="connsiteY2" fmla="*/ 117474 h 220910"/>
                  <a:gd name="connsiteX3" fmla="*/ 151030 w 160308"/>
                  <a:gd name="connsiteY3" fmla="*/ 65492 h 220910"/>
                  <a:gd name="connsiteX4" fmla="*/ 151083 w 160308"/>
                  <a:gd name="connsiteY4" fmla="*/ 65492 h 220910"/>
                  <a:gd name="connsiteX5" fmla="*/ 151083 w 160308"/>
                  <a:gd name="connsiteY5" fmla="*/ 64278 h 220910"/>
                  <a:gd name="connsiteX6" fmla="*/ 151294 w 160308"/>
                  <a:gd name="connsiteY6" fmla="*/ 60742 h 220910"/>
                  <a:gd name="connsiteX7" fmla="*/ 151083 w 160308"/>
                  <a:gd name="connsiteY7" fmla="*/ 60742 h 220910"/>
                  <a:gd name="connsiteX8" fmla="*/ 151083 w 160308"/>
                  <a:gd name="connsiteY8" fmla="*/ 58684 h 220910"/>
                  <a:gd name="connsiteX9" fmla="*/ 151294 w 160308"/>
                  <a:gd name="connsiteY9" fmla="*/ 58684 h 220910"/>
                  <a:gd name="connsiteX10" fmla="*/ 151083 w 160308"/>
                  <a:gd name="connsiteY10" fmla="*/ 55096 h 220910"/>
                  <a:gd name="connsiteX11" fmla="*/ 151083 w 160308"/>
                  <a:gd name="connsiteY11" fmla="*/ 55096 h 220910"/>
                  <a:gd name="connsiteX12" fmla="*/ 92674 w 160308"/>
                  <a:gd name="connsiteY12" fmla="*/ 0 h 220910"/>
                  <a:gd name="connsiteX13" fmla="*/ 0 w 160308"/>
                  <a:gd name="connsiteY13" fmla="*/ 0 h 220910"/>
                  <a:gd name="connsiteX14" fmla="*/ 0 w 160308"/>
                  <a:gd name="connsiteY14" fmla="*/ 220858 h 220910"/>
                  <a:gd name="connsiteX15" fmla="*/ 19136 w 160308"/>
                  <a:gd name="connsiteY15" fmla="*/ 220858 h 220910"/>
                  <a:gd name="connsiteX16" fmla="*/ 19136 w 160308"/>
                  <a:gd name="connsiteY16" fmla="*/ 119321 h 220910"/>
                  <a:gd name="connsiteX17" fmla="*/ 86665 w 160308"/>
                  <a:gd name="connsiteY17" fmla="*/ 119321 h 220910"/>
                  <a:gd name="connsiteX18" fmla="*/ 138695 w 160308"/>
                  <a:gd name="connsiteY18" fmla="*/ 220910 h 220910"/>
                  <a:gd name="connsiteX19" fmla="*/ 19136 w 160308"/>
                  <a:gd name="connsiteY19" fmla="*/ 19210 h 220910"/>
                  <a:gd name="connsiteX20" fmla="*/ 92674 w 160308"/>
                  <a:gd name="connsiteY20" fmla="*/ 19210 h 220910"/>
                  <a:gd name="connsiteX21" fmla="*/ 131947 w 160308"/>
                  <a:gd name="connsiteY21" fmla="*/ 57840 h 220910"/>
                  <a:gd name="connsiteX22" fmla="*/ 131947 w 160308"/>
                  <a:gd name="connsiteY22" fmla="*/ 61481 h 220910"/>
                  <a:gd name="connsiteX23" fmla="*/ 92674 w 160308"/>
                  <a:gd name="connsiteY23" fmla="*/ 100059 h 220910"/>
                  <a:gd name="connsiteX24" fmla="*/ 92674 w 160308"/>
                  <a:gd name="connsiteY24" fmla="*/ 100059 h 220910"/>
                  <a:gd name="connsiteX25" fmla="*/ 19136 w 160308"/>
                  <a:gd name="connsiteY25" fmla="*/ 100112 h 220910"/>
                  <a:gd name="connsiteX26" fmla="*/ 19136 w 160308"/>
                  <a:gd name="connsiteY26" fmla="*/ 19210 h 220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0308" h="220910">
                    <a:moveTo>
                      <a:pt x="138695" y="220910"/>
                    </a:moveTo>
                    <a:lnTo>
                      <a:pt x="160308" y="220910"/>
                    </a:lnTo>
                    <a:cubicBezTo>
                      <a:pt x="160308" y="220910"/>
                      <a:pt x="107382" y="117474"/>
                      <a:pt x="107382" y="117474"/>
                    </a:cubicBezTo>
                    <a:cubicBezTo>
                      <a:pt x="131104" y="111300"/>
                      <a:pt x="149027" y="90665"/>
                      <a:pt x="151030" y="65492"/>
                    </a:cubicBezTo>
                    <a:lnTo>
                      <a:pt x="151083" y="65492"/>
                    </a:lnTo>
                    <a:lnTo>
                      <a:pt x="151083" y="64278"/>
                    </a:lnTo>
                    <a:cubicBezTo>
                      <a:pt x="151136" y="63117"/>
                      <a:pt x="151294" y="61903"/>
                      <a:pt x="151294" y="60742"/>
                    </a:cubicBezTo>
                    <a:lnTo>
                      <a:pt x="151083" y="60742"/>
                    </a:lnTo>
                    <a:lnTo>
                      <a:pt x="151083" y="58684"/>
                    </a:lnTo>
                    <a:lnTo>
                      <a:pt x="151294" y="58684"/>
                    </a:lnTo>
                    <a:cubicBezTo>
                      <a:pt x="151294" y="57470"/>
                      <a:pt x="151189" y="56309"/>
                      <a:pt x="151083" y="55096"/>
                    </a:cubicBezTo>
                    <a:lnTo>
                      <a:pt x="151083" y="55096"/>
                    </a:lnTo>
                    <a:cubicBezTo>
                      <a:pt x="149185" y="24329"/>
                      <a:pt x="123829" y="0"/>
                      <a:pt x="92674" y="0"/>
                    </a:cubicBezTo>
                    <a:lnTo>
                      <a:pt x="0" y="0"/>
                    </a:lnTo>
                    <a:lnTo>
                      <a:pt x="0" y="220858"/>
                    </a:lnTo>
                    <a:lnTo>
                      <a:pt x="19136" y="220858"/>
                    </a:lnTo>
                    <a:lnTo>
                      <a:pt x="19136" y="119321"/>
                    </a:lnTo>
                    <a:lnTo>
                      <a:pt x="86665" y="119321"/>
                    </a:lnTo>
                    <a:lnTo>
                      <a:pt x="138695" y="220910"/>
                    </a:lnTo>
                    <a:close/>
                    <a:moveTo>
                      <a:pt x="19136" y="19210"/>
                    </a:moveTo>
                    <a:lnTo>
                      <a:pt x="92674" y="19210"/>
                    </a:lnTo>
                    <a:cubicBezTo>
                      <a:pt x="114129" y="19210"/>
                      <a:pt x="131526" y="36467"/>
                      <a:pt x="131947" y="57840"/>
                    </a:cubicBezTo>
                    <a:lnTo>
                      <a:pt x="131947" y="61481"/>
                    </a:lnTo>
                    <a:cubicBezTo>
                      <a:pt x="131526" y="82855"/>
                      <a:pt x="114129" y="100059"/>
                      <a:pt x="92674" y="100059"/>
                    </a:cubicBezTo>
                    <a:lnTo>
                      <a:pt x="92674" y="100059"/>
                    </a:lnTo>
                    <a:cubicBezTo>
                      <a:pt x="92674" y="100059"/>
                      <a:pt x="19136" y="100112"/>
                      <a:pt x="19136" y="100112"/>
                    </a:cubicBezTo>
                    <a:lnTo>
                      <a:pt x="19136" y="19210"/>
                    </a:lnTo>
                    <a:close/>
                  </a:path>
                </a:pathLst>
              </a:custGeom>
              <a:solidFill>
                <a:schemeClr val="bg1"/>
              </a:solidFill>
              <a:ln w="52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xmlns="" id="{CDBFE520-EA3C-DE6A-EBAA-F1DC369D3A27}"/>
                  </a:ext>
                </a:extLst>
              </p:cNvPr>
              <p:cNvSpPr/>
              <p:nvPr/>
            </p:nvSpPr>
            <p:spPr>
              <a:xfrm>
                <a:off x="10184220" y="5742972"/>
                <a:ext cx="155880" cy="220963"/>
              </a:xfrm>
              <a:custGeom>
                <a:avLst/>
                <a:gdLst>
                  <a:gd name="connsiteX0" fmla="*/ 155670 w 155880"/>
                  <a:gd name="connsiteY0" fmla="*/ 155788 h 220963"/>
                  <a:gd name="connsiteX1" fmla="*/ 147446 w 155880"/>
                  <a:gd name="connsiteY1" fmla="*/ 126973 h 220963"/>
                  <a:gd name="connsiteX2" fmla="*/ 127572 w 155880"/>
                  <a:gd name="connsiteY2" fmla="*/ 107869 h 220963"/>
                  <a:gd name="connsiteX3" fmla="*/ 150978 w 155880"/>
                  <a:gd name="connsiteY3" fmla="*/ 65545 h 220963"/>
                  <a:gd name="connsiteX4" fmla="*/ 151031 w 155880"/>
                  <a:gd name="connsiteY4" fmla="*/ 65545 h 220963"/>
                  <a:gd name="connsiteX5" fmla="*/ 151031 w 155880"/>
                  <a:gd name="connsiteY5" fmla="*/ 64331 h 220963"/>
                  <a:gd name="connsiteX6" fmla="*/ 151189 w 155880"/>
                  <a:gd name="connsiteY6" fmla="*/ 60795 h 220963"/>
                  <a:gd name="connsiteX7" fmla="*/ 151031 w 155880"/>
                  <a:gd name="connsiteY7" fmla="*/ 60795 h 220963"/>
                  <a:gd name="connsiteX8" fmla="*/ 151031 w 155880"/>
                  <a:gd name="connsiteY8" fmla="*/ 58737 h 220963"/>
                  <a:gd name="connsiteX9" fmla="*/ 151189 w 155880"/>
                  <a:gd name="connsiteY9" fmla="*/ 58737 h 220963"/>
                  <a:gd name="connsiteX10" fmla="*/ 151031 w 155880"/>
                  <a:gd name="connsiteY10" fmla="*/ 55148 h 220963"/>
                  <a:gd name="connsiteX11" fmla="*/ 151031 w 155880"/>
                  <a:gd name="connsiteY11" fmla="*/ 55148 h 220963"/>
                  <a:gd name="connsiteX12" fmla="*/ 151031 w 155880"/>
                  <a:gd name="connsiteY12" fmla="*/ 55096 h 220963"/>
                  <a:gd name="connsiteX13" fmla="*/ 92569 w 155880"/>
                  <a:gd name="connsiteY13" fmla="*/ 53 h 220963"/>
                  <a:gd name="connsiteX14" fmla="*/ 92569 w 155880"/>
                  <a:gd name="connsiteY14" fmla="*/ 158 h 220963"/>
                  <a:gd name="connsiteX15" fmla="*/ 0 w 155880"/>
                  <a:gd name="connsiteY15" fmla="*/ 0 h 220963"/>
                  <a:gd name="connsiteX16" fmla="*/ 0 w 155880"/>
                  <a:gd name="connsiteY16" fmla="*/ 220963 h 220963"/>
                  <a:gd name="connsiteX17" fmla="*/ 96206 w 155880"/>
                  <a:gd name="connsiteY17" fmla="*/ 220963 h 220963"/>
                  <a:gd name="connsiteX18" fmla="*/ 155775 w 155880"/>
                  <a:gd name="connsiteY18" fmla="*/ 162173 h 220963"/>
                  <a:gd name="connsiteX19" fmla="*/ 155880 w 155880"/>
                  <a:gd name="connsiteY19" fmla="*/ 162173 h 220963"/>
                  <a:gd name="connsiteX20" fmla="*/ 155880 w 155880"/>
                  <a:gd name="connsiteY20" fmla="*/ 155788 h 220963"/>
                  <a:gd name="connsiteX21" fmla="*/ 155775 w 155880"/>
                  <a:gd name="connsiteY21" fmla="*/ 155788 h 220963"/>
                  <a:gd name="connsiteX22" fmla="*/ 92622 w 155880"/>
                  <a:gd name="connsiteY22" fmla="*/ 19315 h 220963"/>
                  <a:gd name="connsiteX23" fmla="*/ 92622 w 155880"/>
                  <a:gd name="connsiteY23" fmla="*/ 19315 h 220963"/>
                  <a:gd name="connsiteX24" fmla="*/ 131947 w 155880"/>
                  <a:gd name="connsiteY24" fmla="*/ 58051 h 220963"/>
                  <a:gd name="connsiteX25" fmla="*/ 131947 w 155880"/>
                  <a:gd name="connsiteY25" fmla="*/ 61481 h 220963"/>
                  <a:gd name="connsiteX26" fmla="*/ 92622 w 155880"/>
                  <a:gd name="connsiteY26" fmla="*/ 100323 h 220963"/>
                  <a:gd name="connsiteX27" fmla="*/ 19136 w 155880"/>
                  <a:gd name="connsiteY27" fmla="*/ 100323 h 220963"/>
                  <a:gd name="connsiteX28" fmla="*/ 19136 w 155880"/>
                  <a:gd name="connsiteY28" fmla="*/ 19315 h 220963"/>
                  <a:gd name="connsiteX29" fmla="*/ 92622 w 155880"/>
                  <a:gd name="connsiteY29" fmla="*/ 19315 h 220963"/>
                  <a:gd name="connsiteX30" fmla="*/ 136639 w 155880"/>
                  <a:gd name="connsiteY30" fmla="*/ 161171 h 220963"/>
                  <a:gd name="connsiteX31" fmla="*/ 136481 w 155880"/>
                  <a:gd name="connsiteY31" fmla="*/ 161171 h 220963"/>
                  <a:gd name="connsiteX32" fmla="*/ 95837 w 155880"/>
                  <a:gd name="connsiteY32" fmla="*/ 201859 h 220963"/>
                  <a:gd name="connsiteX33" fmla="*/ 95837 w 155880"/>
                  <a:gd name="connsiteY33" fmla="*/ 201859 h 220963"/>
                  <a:gd name="connsiteX34" fmla="*/ 19136 w 155880"/>
                  <a:gd name="connsiteY34" fmla="*/ 201859 h 220963"/>
                  <a:gd name="connsiteX35" fmla="*/ 19136 w 155880"/>
                  <a:gd name="connsiteY35" fmla="*/ 119585 h 220963"/>
                  <a:gd name="connsiteX36" fmla="*/ 98526 w 155880"/>
                  <a:gd name="connsiteY36" fmla="*/ 119902 h 220963"/>
                  <a:gd name="connsiteX37" fmla="*/ 98526 w 155880"/>
                  <a:gd name="connsiteY37" fmla="*/ 119902 h 220963"/>
                  <a:gd name="connsiteX38" fmla="*/ 131368 w 155880"/>
                  <a:gd name="connsiteY38" fmla="*/ 137581 h 220963"/>
                  <a:gd name="connsiteX39" fmla="*/ 136534 w 155880"/>
                  <a:gd name="connsiteY39" fmla="*/ 157265 h 220963"/>
                  <a:gd name="connsiteX40" fmla="*/ 136692 w 155880"/>
                  <a:gd name="connsiteY40" fmla="*/ 157265 h 220963"/>
                  <a:gd name="connsiteX41" fmla="*/ 136692 w 155880"/>
                  <a:gd name="connsiteY41" fmla="*/ 161171 h 220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55880" h="220963">
                    <a:moveTo>
                      <a:pt x="155670" y="155788"/>
                    </a:moveTo>
                    <a:cubicBezTo>
                      <a:pt x="155406" y="145075"/>
                      <a:pt x="152717" y="135523"/>
                      <a:pt x="147446" y="126973"/>
                    </a:cubicBezTo>
                    <a:cubicBezTo>
                      <a:pt x="142385" y="118899"/>
                      <a:pt x="135585" y="112408"/>
                      <a:pt x="127572" y="107869"/>
                    </a:cubicBezTo>
                    <a:cubicBezTo>
                      <a:pt x="140698" y="98053"/>
                      <a:pt x="149607" y="82855"/>
                      <a:pt x="150978" y="65545"/>
                    </a:cubicBezTo>
                    <a:lnTo>
                      <a:pt x="151031" y="65545"/>
                    </a:lnTo>
                    <a:lnTo>
                      <a:pt x="151031" y="64331"/>
                    </a:lnTo>
                    <a:cubicBezTo>
                      <a:pt x="151083" y="63170"/>
                      <a:pt x="151189" y="61956"/>
                      <a:pt x="151189" y="60795"/>
                    </a:cubicBezTo>
                    <a:lnTo>
                      <a:pt x="151031" y="60795"/>
                    </a:lnTo>
                    <a:lnTo>
                      <a:pt x="151031" y="58737"/>
                    </a:lnTo>
                    <a:lnTo>
                      <a:pt x="151189" y="58737"/>
                    </a:lnTo>
                    <a:cubicBezTo>
                      <a:pt x="151189" y="57523"/>
                      <a:pt x="151083" y="56362"/>
                      <a:pt x="151031" y="55148"/>
                    </a:cubicBezTo>
                    <a:lnTo>
                      <a:pt x="151031" y="55148"/>
                    </a:lnTo>
                    <a:cubicBezTo>
                      <a:pt x="151031" y="55148"/>
                      <a:pt x="151031" y="55096"/>
                      <a:pt x="151031" y="55096"/>
                    </a:cubicBezTo>
                    <a:cubicBezTo>
                      <a:pt x="149133" y="24381"/>
                      <a:pt x="123724" y="53"/>
                      <a:pt x="92569" y="53"/>
                    </a:cubicBezTo>
                    <a:lnTo>
                      <a:pt x="92569" y="158"/>
                    </a:lnTo>
                    <a:lnTo>
                      <a:pt x="0" y="0"/>
                    </a:lnTo>
                    <a:lnTo>
                      <a:pt x="0" y="220963"/>
                    </a:lnTo>
                    <a:lnTo>
                      <a:pt x="96206" y="220963"/>
                    </a:lnTo>
                    <a:cubicBezTo>
                      <a:pt x="128732" y="220752"/>
                      <a:pt x="155090" y="194629"/>
                      <a:pt x="155775" y="162173"/>
                    </a:cubicBezTo>
                    <a:lnTo>
                      <a:pt x="155880" y="162173"/>
                    </a:lnTo>
                    <a:lnTo>
                      <a:pt x="155880" y="155788"/>
                    </a:lnTo>
                    <a:lnTo>
                      <a:pt x="155775" y="155788"/>
                    </a:lnTo>
                    <a:close/>
                    <a:moveTo>
                      <a:pt x="92622" y="19315"/>
                    </a:moveTo>
                    <a:lnTo>
                      <a:pt x="92622" y="19315"/>
                    </a:lnTo>
                    <a:cubicBezTo>
                      <a:pt x="114130" y="19315"/>
                      <a:pt x="131578" y="36625"/>
                      <a:pt x="131947" y="58051"/>
                    </a:cubicBezTo>
                    <a:lnTo>
                      <a:pt x="131947" y="61481"/>
                    </a:lnTo>
                    <a:cubicBezTo>
                      <a:pt x="131578" y="82907"/>
                      <a:pt x="114130" y="100323"/>
                      <a:pt x="92622" y="100323"/>
                    </a:cubicBezTo>
                    <a:lnTo>
                      <a:pt x="19136" y="100323"/>
                    </a:lnTo>
                    <a:lnTo>
                      <a:pt x="19136" y="19315"/>
                    </a:lnTo>
                    <a:lnTo>
                      <a:pt x="92622" y="19315"/>
                    </a:lnTo>
                    <a:close/>
                    <a:moveTo>
                      <a:pt x="136639" y="161171"/>
                    </a:moveTo>
                    <a:lnTo>
                      <a:pt x="136481" y="161171"/>
                    </a:lnTo>
                    <a:cubicBezTo>
                      <a:pt x="136481" y="183652"/>
                      <a:pt x="118294" y="201859"/>
                      <a:pt x="95837" y="201859"/>
                    </a:cubicBezTo>
                    <a:lnTo>
                      <a:pt x="95837" y="201859"/>
                    </a:lnTo>
                    <a:cubicBezTo>
                      <a:pt x="95837" y="201859"/>
                      <a:pt x="19136" y="201859"/>
                      <a:pt x="19136" y="201859"/>
                    </a:cubicBezTo>
                    <a:lnTo>
                      <a:pt x="19136" y="119585"/>
                    </a:lnTo>
                    <a:lnTo>
                      <a:pt x="98526" y="119902"/>
                    </a:lnTo>
                    <a:lnTo>
                      <a:pt x="98526" y="119902"/>
                    </a:lnTo>
                    <a:cubicBezTo>
                      <a:pt x="112337" y="119902"/>
                      <a:pt x="124356" y="126710"/>
                      <a:pt x="131368" y="137581"/>
                    </a:cubicBezTo>
                    <a:cubicBezTo>
                      <a:pt x="134320" y="143755"/>
                      <a:pt x="136534" y="149983"/>
                      <a:pt x="136534" y="157265"/>
                    </a:cubicBezTo>
                    <a:lnTo>
                      <a:pt x="136692" y="157265"/>
                    </a:lnTo>
                    <a:lnTo>
                      <a:pt x="136692" y="161171"/>
                    </a:lnTo>
                    <a:close/>
                  </a:path>
                </a:pathLst>
              </a:custGeom>
              <a:solidFill>
                <a:schemeClr val="bg1"/>
              </a:solidFill>
              <a:ln w="52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xmlns="" id="{05C383D6-D256-4BAF-93DF-34D1FDEDD015}"/>
                  </a:ext>
                </a:extLst>
              </p:cNvPr>
              <p:cNvSpPr/>
              <p:nvPr/>
            </p:nvSpPr>
            <p:spPr>
              <a:xfrm>
                <a:off x="10479902" y="5739172"/>
                <a:ext cx="228259" cy="228404"/>
              </a:xfrm>
              <a:custGeom>
                <a:avLst/>
                <a:gdLst>
                  <a:gd name="connsiteX0" fmla="*/ 1002 w 228259"/>
                  <a:gd name="connsiteY0" fmla="*/ 128557 h 228404"/>
                  <a:gd name="connsiteX1" fmla="*/ 114182 w 228259"/>
                  <a:gd name="connsiteY1" fmla="*/ 228404 h 228404"/>
                  <a:gd name="connsiteX2" fmla="*/ 227363 w 228259"/>
                  <a:gd name="connsiteY2" fmla="*/ 128504 h 228404"/>
                  <a:gd name="connsiteX3" fmla="*/ 228259 w 228259"/>
                  <a:gd name="connsiteY3" fmla="*/ 114572 h 228404"/>
                  <a:gd name="connsiteX4" fmla="*/ 227626 w 228259"/>
                  <a:gd name="connsiteY4" fmla="*/ 102117 h 228404"/>
                  <a:gd name="connsiteX5" fmla="*/ 114182 w 228259"/>
                  <a:gd name="connsiteY5" fmla="*/ 0 h 228404"/>
                  <a:gd name="connsiteX6" fmla="*/ 738 w 228259"/>
                  <a:gd name="connsiteY6" fmla="*/ 102117 h 228404"/>
                  <a:gd name="connsiteX7" fmla="*/ 633 w 228259"/>
                  <a:gd name="connsiteY7" fmla="*/ 102117 h 228404"/>
                  <a:gd name="connsiteX8" fmla="*/ 0 w 228259"/>
                  <a:gd name="connsiteY8" fmla="*/ 114572 h 228404"/>
                  <a:gd name="connsiteX9" fmla="*/ 896 w 228259"/>
                  <a:gd name="connsiteY9" fmla="*/ 128504 h 228404"/>
                  <a:gd name="connsiteX10" fmla="*/ 114182 w 228259"/>
                  <a:gd name="connsiteY10" fmla="*/ 208984 h 228404"/>
                  <a:gd name="connsiteX11" fmla="*/ 20559 w 228259"/>
                  <a:gd name="connsiteY11" fmla="*/ 128557 h 228404"/>
                  <a:gd name="connsiteX12" fmla="*/ 20454 w 228259"/>
                  <a:gd name="connsiteY12" fmla="*/ 128557 h 228404"/>
                  <a:gd name="connsiteX13" fmla="*/ 19399 w 228259"/>
                  <a:gd name="connsiteY13" fmla="*/ 114572 h 228404"/>
                  <a:gd name="connsiteX14" fmla="*/ 20137 w 228259"/>
                  <a:gd name="connsiteY14" fmla="*/ 102486 h 228404"/>
                  <a:gd name="connsiteX15" fmla="*/ 20190 w 228259"/>
                  <a:gd name="connsiteY15" fmla="*/ 102486 h 228404"/>
                  <a:gd name="connsiteX16" fmla="*/ 114130 w 228259"/>
                  <a:gd name="connsiteY16" fmla="*/ 19421 h 228404"/>
                  <a:gd name="connsiteX17" fmla="*/ 208016 w 228259"/>
                  <a:gd name="connsiteY17" fmla="*/ 102328 h 228404"/>
                  <a:gd name="connsiteX18" fmla="*/ 208807 w 228259"/>
                  <a:gd name="connsiteY18" fmla="*/ 114624 h 228404"/>
                  <a:gd name="connsiteX19" fmla="*/ 207753 w 228259"/>
                  <a:gd name="connsiteY19" fmla="*/ 128768 h 228404"/>
                  <a:gd name="connsiteX20" fmla="*/ 114130 w 228259"/>
                  <a:gd name="connsiteY20" fmla="*/ 209036 h 22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28259" h="228404">
                    <a:moveTo>
                      <a:pt x="1002" y="128557"/>
                    </a:moveTo>
                    <a:cubicBezTo>
                      <a:pt x="8065" y="184866"/>
                      <a:pt x="56037" y="228404"/>
                      <a:pt x="114182" y="228404"/>
                    </a:cubicBezTo>
                    <a:cubicBezTo>
                      <a:pt x="172328" y="228404"/>
                      <a:pt x="220299" y="184813"/>
                      <a:pt x="227363" y="128504"/>
                    </a:cubicBezTo>
                    <a:cubicBezTo>
                      <a:pt x="227890" y="123965"/>
                      <a:pt x="228259" y="119268"/>
                      <a:pt x="228259" y="114572"/>
                    </a:cubicBezTo>
                    <a:cubicBezTo>
                      <a:pt x="228259" y="110244"/>
                      <a:pt x="228101" y="106339"/>
                      <a:pt x="227626" y="102117"/>
                    </a:cubicBezTo>
                    <a:cubicBezTo>
                      <a:pt x="221722" y="44541"/>
                      <a:pt x="173224" y="0"/>
                      <a:pt x="114182" y="0"/>
                    </a:cubicBezTo>
                    <a:cubicBezTo>
                      <a:pt x="55141" y="0"/>
                      <a:pt x="6748" y="44752"/>
                      <a:pt x="738" y="102117"/>
                    </a:cubicBezTo>
                    <a:lnTo>
                      <a:pt x="633" y="102117"/>
                    </a:lnTo>
                    <a:cubicBezTo>
                      <a:pt x="158" y="106339"/>
                      <a:pt x="0" y="110244"/>
                      <a:pt x="0" y="114572"/>
                    </a:cubicBezTo>
                    <a:cubicBezTo>
                      <a:pt x="0" y="119268"/>
                      <a:pt x="316" y="123965"/>
                      <a:pt x="896" y="128504"/>
                    </a:cubicBezTo>
                    <a:moveTo>
                      <a:pt x="114182" y="208984"/>
                    </a:moveTo>
                    <a:cubicBezTo>
                      <a:pt x="66738" y="208984"/>
                      <a:pt x="27465" y="174100"/>
                      <a:pt x="20559" y="128557"/>
                    </a:cubicBezTo>
                    <a:lnTo>
                      <a:pt x="20454" y="128557"/>
                    </a:lnTo>
                    <a:cubicBezTo>
                      <a:pt x="19768" y="123965"/>
                      <a:pt x="19399" y="119374"/>
                      <a:pt x="19399" y="114572"/>
                    </a:cubicBezTo>
                    <a:cubicBezTo>
                      <a:pt x="19399" y="110402"/>
                      <a:pt x="19610" y="106497"/>
                      <a:pt x="20137" y="102486"/>
                    </a:cubicBezTo>
                    <a:lnTo>
                      <a:pt x="20190" y="102486"/>
                    </a:lnTo>
                    <a:cubicBezTo>
                      <a:pt x="25936" y="55676"/>
                      <a:pt x="65789" y="19421"/>
                      <a:pt x="114130" y="19421"/>
                    </a:cubicBezTo>
                    <a:cubicBezTo>
                      <a:pt x="162470" y="19421"/>
                      <a:pt x="202270" y="55465"/>
                      <a:pt x="208016" y="102328"/>
                    </a:cubicBezTo>
                    <a:cubicBezTo>
                      <a:pt x="208543" y="106444"/>
                      <a:pt x="208807" y="110402"/>
                      <a:pt x="208807" y="114624"/>
                    </a:cubicBezTo>
                    <a:cubicBezTo>
                      <a:pt x="208807" y="119480"/>
                      <a:pt x="208438" y="124124"/>
                      <a:pt x="207753" y="128768"/>
                    </a:cubicBezTo>
                    <a:cubicBezTo>
                      <a:pt x="200847" y="174311"/>
                      <a:pt x="161574" y="209036"/>
                      <a:pt x="114130" y="209036"/>
                    </a:cubicBezTo>
                    <a:close/>
                  </a:path>
                </a:pathLst>
              </a:custGeom>
              <a:solidFill>
                <a:schemeClr val="bg1"/>
              </a:solidFill>
              <a:ln w="52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748EC9CA-EB8F-7569-FCA3-F6BDF3C11ACC}"/>
                  </a:ext>
                </a:extLst>
              </p:cNvPr>
              <p:cNvSpPr/>
              <p:nvPr/>
            </p:nvSpPr>
            <p:spPr>
              <a:xfrm>
                <a:off x="11752354" y="5738697"/>
                <a:ext cx="30996" cy="31030"/>
              </a:xfrm>
              <a:custGeom>
                <a:avLst/>
                <a:gdLst>
                  <a:gd name="connsiteX0" fmla="*/ 0 w 30996"/>
                  <a:gd name="connsiteY0" fmla="*/ 15463 h 31030"/>
                  <a:gd name="connsiteX1" fmla="*/ 15551 w 30996"/>
                  <a:gd name="connsiteY1" fmla="*/ 0 h 31030"/>
                  <a:gd name="connsiteX2" fmla="*/ 30997 w 30996"/>
                  <a:gd name="connsiteY2" fmla="*/ 15463 h 31030"/>
                  <a:gd name="connsiteX3" fmla="*/ 15551 w 30996"/>
                  <a:gd name="connsiteY3" fmla="*/ 31031 h 31030"/>
                  <a:gd name="connsiteX4" fmla="*/ 0 w 30996"/>
                  <a:gd name="connsiteY4" fmla="*/ 15463 h 31030"/>
                  <a:gd name="connsiteX5" fmla="*/ 28519 w 30996"/>
                  <a:gd name="connsiteY5" fmla="*/ 15463 h 31030"/>
                  <a:gd name="connsiteX6" fmla="*/ 15551 w 30996"/>
                  <a:gd name="connsiteY6" fmla="*/ 2058 h 31030"/>
                  <a:gd name="connsiteX7" fmla="*/ 2478 w 30996"/>
                  <a:gd name="connsiteY7" fmla="*/ 15463 h 31030"/>
                  <a:gd name="connsiteX8" fmla="*/ 15551 w 30996"/>
                  <a:gd name="connsiteY8" fmla="*/ 28973 h 31030"/>
                  <a:gd name="connsiteX9" fmla="*/ 28519 w 30996"/>
                  <a:gd name="connsiteY9" fmla="*/ 15463 h 31030"/>
                  <a:gd name="connsiteX10" fmla="*/ 23248 w 30996"/>
                  <a:gd name="connsiteY10" fmla="*/ 24118 h 31030"/>
                  <a:gd name="connsiteX11" fmla="*/ 20717 w 30996"/>
                  <a:gd name="connsiteY11" fmla="*/ 24118 h 31030"/>
                  <a:gd name="connsiteX12" fmla="*/ 15762 w 30996"/>
                  <a:gd name="connsiteY12" fmla="*/ 16149 h 31030"/>
                  <a:gd name="connsiteX13" fmla="*/ 11861 w 30996"/>
                  <a:gd name="connsiteY13" fmla="*/ 16149 h 31030"/>
                  <a:gd name="connsiteX14" fmla="*/ 11861 w 30996"/>
                  <a:gd name="connsiteY14" fmla="*/ 24118 h 31030"/>
                  <a:gd name="connsiteX15" fmla="*/ 9752 w 30996"/>
                  <a:gd name="connsiteY15" fmla="*/ 24118 h 31030"/>
                  <a:gd name="connsiteX16" fmla="*/ 9752 w 30996"/>
                  <a:gd name="connsiteY16" fmla="*/ 6808 h 31030"/>
                  <a:gd name="connsiteX17" fmla="*/ 17344 w 30996"/>
                  <a:gd name="connsiteY17" fmla="*/ 6808 h 31030"/>
                  <a:gd name="connsiteX18" fmla="*/ 23459 w 30996"/>
                  <a:gd name="connsiteY18" fmla="*/ 11399 h 31030"/>
                  <a:gd name="connsiteX19" fmla="*/ 18029 w 30996"/>
                  <a:gd name="connsiteY19" fmla="*/ 16149 h 31030"/>
                  <a:gd name="connsiteX20" fmla="*/ 23248 w 30996"/>
                  <a:gd name="connsiteY20" fmla="*/ 24118 h 31030"/>
                  <a:gd name="connsiteX21" fmla="*/ 15129 w 30996"/>
                  <a:gd name="connsiteY21" fmla="*/ 14460 h 31030"/>
                  <a:gd name="connsiteX22" fmla="*/ 21192 w 30996"/>
                  <a:gd name="connsiteY22" fmla="*/ 11346 h 31030"/>
                  <a:gd name="connsiteX23" fmla="*/ 16869 w 30996"/>
                  <a:gd name="connsiteY23" fmla="*/ 8338 h 31030"/>
                  <a:gd name="connsiteX24" fmla="*/ 11914 w 30996"/>
                  <a:gd name="connsiteY24" fmla="*/ 8338 h 31030"/>
                  <a:gd name="connsiteX25" fmla="*/ 11914 w 30996"/>
                  <a:gd name="connsiteY25" fmla="*/ 14460 h 31030"/>
                  <a:gd name="connsiteX26" fmla="*/ 15129 w 30996"/>
                  <a:gd name="connsiteY26" fmla="*/ 14460 h 31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0996" h="31030">
                    <a:moveTo>
                      <a:pt x="0" y="15463"/>
                    </a:moveTo>
                    <a:cubicBezTo>
                      <a:pt x="0" y="6966"/>
                      <a:pt x="6959" y="0"/>
                      <a:pt x="15551" y="0"/>
                    </a:cubicBezTo>
                    <a:cubicBezTo>
                      <a:pt x="24144" y="0"/>
                      <a:pt x="30997" y="6966"/>
                      <a:pt x="30997" y="15463"/>
                    </a:cubicBezTo>
                    <a:cubicBezTo>
                      <a:pt x="30997" y="23959"/>
                      <a:pt x="24091" y="31031"/>
                      <a:pt x="15551" y="31031"/>
                    </a:cubicBezTo>
                    <a:cubicBezTo>
                      <a:pt x="7011" y="31031"/>
                      <a:pt x="0" y="24065"/>
                      <a:pt x="0" y="15463"/>
                    </a:cubicBezTo>
                    <a:close/>
                    <a:moveTo>
                      <a:pt x="28519" y="15463"/>
                    </a:moveTo>
                    <a:cubicBezTo>
                      <a:pt x="28519" y="7916"/>
                      <a:pt x="23037" y="2058"/>
                      <a:pt x="15551" y="2058"/>
                    </a:cubicBezTo>
                    <a:cubicBezTo>
                      <a:pt x="8065" y="2058"/>
                      <a:pt x="2478" y="7969"/>
                      <a:pt x="2478" y="15463"/>
                    </a:cubicBezTo>
                    <a:cubicBezTo>
                      <a:pt x="2478" y="22957"/>
                      <a:pt x="8013" y="28973"/>
                      <a:pt x="15551" y="28973"/>
                    </a:cubicBezTo>
                    <a:cubicBezTo>
                      <a:pt x="23090" y="28973"/>
                      <a:pt x="28519" y="23062"/>
                      <a:pt x="28519" y="15463"/>
                    </a:cubicBezTo>
                    <a:close/>
                    <a:moveTo>
                      <a:pt x="23248" y="24118"/>
                    </a:moveTo>
                    <a:lnTo>
                      <a:pt x="20717" y="24118"/>
                    </a:lnTo>
                    <a:lnTo>
                      <a:pt x="15762" y="16149"/>
                    </a:lnTo>
                    <a:lnTo>
                      <a:pt x="11861" y="16149"/>
                    </a:lnTo>
                    <a:lnTo>
                      <a:pt x="11861" y="24118"/>
                    </a:lnTo>
                    <a:lnTo>
                      <a:pt x="9752" y="24118"/>
                    </a:lnTo>
                    <a:lnTo>
                      <a:pt x="9752" y="6808"/>
                    </a:lnTo>
                    <a:lnTo>
                      <a:pt x="17344" y="6808"/>
                    </a:lnTo>
                    <a:cubicBezTo>
                      <a:pt x="21930" y="6808"/>
                      <a:pt x="23459" y="8549"/>
                      <a:pt x="23459" y="11399"/>
                    </a:cubicBezTo>
                    <a:cubicBezTo>
                      <a:pt x="23459" y="14777"/>
                      <a:pt x="21086" y="16043"/>
                      <a:pt x="18029" y="16149"/>
                    </a:cubicBezTo>
                    <a:lnTo>
                      <a:pt x="23248" y="24118"/>
                    </a:lnTo>
                    <a:close/>
                    <a:moveTo>
                      <a:pt x="15129" y="14460"/>
                    </a:moveTo>
                    <a:cubicBezTo>
                      <a:pt x="17607" y="14460"/>
                      <a:pt x="21192" y="14882"/>
                      <a:pt x="21192" y="11346"/>
                    </a:cubicBezTo>
                    <a:cubicBezTo>
                      <a:pt x="21192" y="8655"/>
                      <a:pt x="18978" y="8338"/>
                      <a:pt x="16869" y="8338"/>
                    </a:cubicBezTo>
                    <a:lnTo>
                      <a:pt x="11914" y="8338"/>
                    </a:lnTo>
                    <a:lnTo>
                      <a:pt x="11914" y="14460"/>
                    </a:lnTo>
                    <a:lnTo>
                      <a:pt x="15129" y="14460"/>
                    </a:lnTo>
                    <a:close/>
                  </a:path>
                </a:pathLst>
              </a:custGeom>
              <a:solidFill>
                <a:schemeClr val="bg1"/>
              </a:solidFill>
              <a:ln w="52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BF13C558-A996-E799-C86F-B4A0983EE8D4}"/>
                </a:ext>
              </a:extLst>
            </p:cNvPr>
            <p:cNvSpPr/>
            <p:nvPr/>
          </p:nvSpPr>
          <p:spPr>
            <a:xfrm>
              <a:off x="10385541" y="5740597"/>
              <a:ext cx="51397" cy="30028"/>
            </a:xfrm>
            <a:custGeom>
              <a:avLst/>
              <a:gdLst>
                <a:gd name="connsiteX0" fmla="*/ 11176 w 51397"/>
                <a:gd name="connsiteY0" fmla="*/ 3219 h 30028"/>
                <a:gd name="connsiteX1" fmla="*/ 6906 w 51397"/>
                <a:gd name="connsiteY1" fmla="*/ 5647 h 30028"/>
                <a:gd name="connsiteX2" fmla="*/ 3163 w 51397"/>
                <a:gd name="connsiteY2" fmla="*/ 8497 h 30028"/>
                <a:gd name="connsiteX3" fmla="*/ 2003 w 51397"/>
                <a:gd name="connsiteY3" fmla="*/ 11082 h 30028"/>
                <a:gd name="connsiteX4" fmla="*/ 474 w 51397"/>
                <a:gd name="connsiteY4" fmla="*/ 13299 h 30028"/>
                <a:gd name="connsiteX5" fmla="*/ 105 w 51397"/>
                <a:gd name="connsiteY5" fmla="*/ 14091 h 30028"/>
                <a:gd name="connsiteX6" fmla="*/ 0 w 51397"/>
                <a:gd name="connsiteY6" fmla="*/ 14882 h 30028"/>
                <a:gd name="connsiteX7" fmla="*/ 211 w 51397"/>
                <a:gd name="connsiteY7" fmla="*/ 15779 h 30028"/>
                <a:gd name="connsiteX8" fmla="*/ 1634 w 51397"/>
                <a:gd name="connsiteY8" fmla="*/ 19685 h 30028"/>
                <a:gd name="connsiteX9" fmla="*/ 4112 w 51397"/>
                <a:gd name="connsiteY9" fmla="*/ 21215 h 30028"/>
                <a:gd name="connsiteX10" fmla="*/ 6958 w 51397"/>
                <a:gd name="connsiteY10" fmla="*/ 24434 h 30028"/>
                <a:gd name="connsiteX11" fmla="*/ 9014 w 51397"/>
                <a:gd name="connsiteY11" fmla="*/ 26387 h 30028"/>
                <a:gd name="connsiteX12" fmla="*/ 11966 w 51397"/>
                <a:gd name="connsiteY12" fmla="*/ 27812 h 30028"/>
                <a:gd name="connsiteX13" fmla="*/ 14919 w 51397"/>
                <a:gd name="connsiteY13" fmla="*/ 28709 h 30028"/>
                <a:gd name="connsiteX14" fmla="*/ 19083 w 51397"/>
                <a:gd name="connsiteY14" fmla="*/ 28709 h 30028"/>
                <a:gd name="connsiteX15" fmla="*/ 21824 w 51397"/>
                <a:gd name="connsiteY15" fmla="*/ 29237 h 30028"/>
                <a:gd name="connsiteX16" fmla="*/ 24776 w 51397"/>
                <a:gd name="connsiteY16" fmla="*/ 29500 h 30028"/>
                <a:gd name="connsiteX17" fmla="*/ 28783 w 51397"/>
                <a:gd name="connsiteY17" fmla="*/ 29764 h 30028"/>
                <a:gd name="connsiteX18" fmla="*/ 32631 w 51397"/>
                <a:gd name="connsiteY18" fmla="*/ 30028 h 30028"/>
                <a:gd name="connsiteX19" fmla="*/ 37428 w 51397"/>
                <a:gd name="connsiteY19" fmla="*/ 29659 h 30028"/>
                <a:gd name="connsiteX20" fmla="*/ 41066 w 51397"/>
                <a:gd name="connsiteY20" fmla="*/ 28603 h 30028"/>
                <a:gd name="connsiteX21" fmla="*/ 45441 w 51397"/>
                <a:gd name="connsiteY21" fmla="*/ 26809 h 30028"/>
                <a:gd name="connsiteX22" fmla="*/ 47391 w 51397"/>
                <a:gd name="connsiteY22" fmla="*/ 24593 h 30028"/>
                <a:gd name="connsiteX23" fmla="*/ 49605 w 51397"/>
                <a:gd name="connsiteY23" fmla="*/ 22534 h 30028"/>
                <a:gd name="connsiteX24" fmla="*/ 51398 w 51397"/>
                <a:gd name="connsiteY24" fmla="*/ 19685 h 30028"/>
                <a:gd name="connsiteX25" fmla="*/ 51292 w 51397"/>
                <a:gd name="connsiteY25" fmla="*/ 16729 h 30028"/>
                <a:gd name="connsiteX26" fmla="*/ 50502 w 51397"/>
                <a:gd name="connsiteY26" fmla="*/ 12455 h 30028"/>
                <a:gd name="connsiteX27" fmla="*/ 45863 w 51397"/>
                <a:gd name="connsiteY27" fmla="*/ 5700 h 30028"/>
                <a:gd name="connsiteX28" fmla="*/ 41751 w 51397"/>
                <a:gd name="connsiteY28" fmla="*/ 2586 h 30028"/>
                <a:gd name="connsiteX29" fmla="*/ 39695 w 51397"/>
                <a:gd name="connsiteY29" fmla="*/ 1583 h 30028"/>
                <a:gd name="connsiteX30" fmla="*/ 38166 w 51397"/>
                <a:gd name="connsiteY30" fmla="*/ 1003 h 30028"/>
                <a:gd name="connsiteX31" fmla="*/ 36690 w 51397"/>
                <a:gd name="connsiteY31" fmla="*/ 792 h 30028"/>
                <a:gd name="connsiteX32" fmla="*/ 31893 w 51397"/>
                <a:gd name="connsiteY32" fmla="*/ 1161 h 30028"/>
                <a:gd name="connsiteX33" fmla="*/ 27096 w 51397"/>
                <a:gd name="connsiteY33" fmla="*/ 369 h 30028"/>
                <a:gd name="connsiteX34" fmla="*/ 24776 w 51397"/>
                <a:gd name="connsiteY34" fmla="*/ 0 h 30028"/>
                <a:gd name="connsiteX35" fmla="*/ 21824 w 51397"/>
                <a:gd name="connsiteY35" fmla="*/ 633 h 30028"/>
                <a:gd name="connsiteX36" fmla="*/ 17923 w 51397"/>
                <a:gd name="connsiteY36" fmla="*/ 1161 h 30028"/>
                <a:gd name="connsiteX37" fmla="*/ 15446 w 51397"/>
                <a:gd name="connsiteY37" fmla="*/ 2058 h 30028"/>
                <a:gd name="connsiteX38" fmla="*/ 11176 w 51397"/>
                <a:gd name="connsiteY38" fmla="*/ 3219 h 30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397" h="30028">
                  <a:moveTo>
                    <a:pt x="11176" y="3219"/>
                  </a:moveTo>
                  <a:lnTo>
                    <a:pt x="6906" y="5647"/>
                  </a:lnTo>
                  <a:lnTo>
                    <a:pt x="3163" y="8497"/>
                  </a:lnTo>
                  <a:lnTo>
                    <a:pt x="2003" y="11082"/>
                  </a:lnTo>
                  <a:lnTo>
                    <a:pt x="474" y="13299"/>
                  </a:lnTo>
                  <a:lnTo>
                    <a:pt x="105" y="14091"/>
                  </a:lnTo>
                  <a:lnTo>
                    <a:pt x="0" y="14882"/>
                  </a:lnTo>
                  <a:lnTo>
                    <a:pt x="211" y="15779"/>
                  </a:lnTo>
                  <a:lnTo>
                    <a:pt x="1634" y="19685"/>
                  </a:lnTo>
                  <a:lnTo>
                    <a:pt x="4112" y="21215"/>
                  </a:lnTo>
                  <a:lnTo>
                    <a:pt x="6958" y="24434"/>
                  </a:lnTo>
                  <a:lnTo>
                    <a:pt x="9014" y="26387"/>
                  </a:lnTo>
                  <a:lnTo>
                    <a:pt x="11966" y="27812"/>
                  </a:lnTo>
                  <a:lnTo>
                    <a:pt x="14919" y="28709"/>
                  </a:lnTo>
                  <a:lnTo>
                    <a:pt x="19083" y="28709"/>
                  </a:lnTo>
                  <a:lnTo>
                    <a:pt x="21824" y="29237"/>
                  </a:lnTo>
                  <a:lnTo>
                    <a:pt x="24776" y="29500"/>
                  </a:lnTo>
                  <a:lnTo>
                    <a:pt x="28783" y="29764"/>
                  </a:lnTo>
                  <a:lnTo>
                    <a:pt x="32631" y="30028"/>
                  </a:lnTo>
                  <a:lnTo>
                    <a:pt x="37428" y="29659"/>
                  </a:lnTo>
                  <a:lnTo>
                    <a:pt x="41066" y="28603"/>
                  </a:lnTo>
                  <a:lnTo>
                    <a:pt x="45441" y="26809"/>
                  </a:lnTo>
                  <a:lnTo>
                    <a:pt x="47391" y="24593"/>
                  </a:lnTo>
                  <a:lnTo>
                    <a:pt x="49605" y="22534"/>
                  </a:lnTo>
                  <a:lnTo>
                    <a:pt x="51398" y="19685"/>
                  </a:lnTo>
                  <a:lnTo>
                    <a:pt x="51292" y="16729"/>
                  </a:lnTo>
                  <a:lnTo>
                    <a:pt x="50502" y="12455"/>
                  </a:lnTo>
                  <a:lnTo>
                    <a:pt x="45863" y="5700"/>
                  </a:lnTo>
                  <a:lnTo>
                    <a:pt x="41751" y="2586"/>
                  </a:lnTo>
                  <a:lnTo>
                    <a:pt x="39695" y="1583"/>
                  </a:lnTo>
                  <a:lnTo>
                    <a:pt x="38166" y="1003"/>
                  </a:lnTo>
                  <a:lnTo>
                    <a:pt x="36690" y="792"/>
                  </a:lnTo>
                  <a:lnTo>
                    <a:pt x="31893" y="1161"/>
                  </a:lnTo>
                  <a:lnTo>
                    <a:pt x="27096" y="369"/>
                  </a:lnTo>
                  <a:lnTo>
                    <a:pt x="24776" y="0"/>
                  </a:lnTo>
                  <a:lnTo>
                    <a:pt x="21824" y="633"/>
                  </a:lnTo>
                  <a:lnTo>
                    <a:pt x="17923" y="1161"/>
                  </a:lnTo>
                  <a:lnTo>
                    <a:pt x="15446" y="2058"/>
                  </a:lnTo>
                  <a:lnTo>
                    <a:pt x="11176" y="3219"/>
                  </a:lnTo>
                </a:path>
              </a:pathLst>
            </a:custGeom>
            <a:solidFill>
              <a:schemeClr val="bg1"/>
            </a:solidFill>
            <a:ln w="52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7688A229-B217-FD3B-4138-AD68B1775D3B}"/>
                </a:ext>
              </a:extLst>
            </p:cNvPr>
            <p:cNvSpPr/>
            <p:nvPr/>
          </p:nvSpPr>
          <p:spPr>
            <a:xfrm>
              <a:off x="10389705" y="5814375"/>
              <a:ext cx="43859" cy="11662"/>
            </a:xfrm>
            <a:custGeom>
              <a:avLst/>
              <a:gdLst>
                <a:gd name="connsiteX0" fmla="*/ 896 w 43859"/>
                <a:gd name="connsiteY0" fmla="*/ 264 h 11662"/>
                <a:gd name="connsiteX1" fmla="*/ 23933 w 43859"/>
                <a:gd name="connsiteY1" fmla="*/ 792 h 11662"/>
                <a:gd name="connsiteX2" fmla="*/ 27359 w 43859"/>
                <a:gd name="connsiteY2" fmla="*/ 106 h 11662"/>
                <a:gd name="connsiteX3" fmla="*/ 31788 w 43859"/>
                <a:gd name="connsiteY3" fmla="*/ 0 h 11662"/>
                <a:gd name="connsiteX4" fmla="*/ 36216 w 43859"/>
                <a:gd name="connsiteY4" fmla="*/ 475 h 11662"/>
                <a:gd name="connsiteX5" fmla="*/ 39590 w 43859"/>
                <a:gd name="connsiteY5" fmla="*/ 1425 h 11662"/>
                <a:gd name="connsiteX6" fmla="*/ 42173 w 43859"/>
                <a:gd name="connsiteY6" fmla="*/ 3166 h 11662"/>
                <a:gd name="connsiteX7" fmla="*/ 43121 w 43859"/>
                <a:gd name="connsiteY7" fmla="*/ 4380 h 11662"/>
                <a:gd name="connsiteX8" fmla="*/ 43701 w 43859"/>
                <a:gd name="connsiteY8" fmla="*/ 5647 h 11662"/>
                <a:gd name="connsiteX9" fmla="*/ 43859 w 43859"/>
                <a:gd name="connsiteY9" fmla="*/ 7019 h 11662"/>
                <a:gd name="connsiteX10" fmla="*/ 43438 w 43859"/>
                <a:gd name="connsiteY10" fmla="*/ 8444 h 11662"/>
                <a:gd name="connsiteX11" fmla="*/ 42436 w 43859"/>
                <a:gd name="connsiteY11" fmla="*/ 9816 h 11662"/>
                <a:gd name="connsiteX12" fmla="*/ 40644 w 43859"/>
                <a:gd name="connsiteY12" fmla="*/ 11135 h 11662"/>
                <a:gd name="connsiteX13" fmla="*/ 38008 w 43859"/>
                <a:gd name="connsiteY13" fmla="*/ 11663 h 11662"/>
                <a:gd name="connsiteX14" fmla="*/ 33316 w 43859"/>
                <a:gd name="connsiteY14" fmla="*/ 11663 h 11662"/>
                <a:gd name="connsiteX15" fmla="*/ 20665 w 43859"/>
                <a:gd name="connsiteY15" fmla="*/ 10713 h 11662"/>
                <a:gd name="connsiteX16" fmla="*/ 1371 w 43859"/>
                <a:gd name="connsiteY16" fmla="*/ 8497 h 11662"/>
                <a:gd name="connsiteX17" fmla="*/ 633 w 43859"/>
                <a:gd name="connsiteY17" fmla="*/ 8180 h 11662"/>
                <a:gd name="connsiteX18" fmla="*/ 211 w 43859"/>
                <a:gd name="connsiteY18" fmla="*/ 7441 h 11662"/>
                <a:gd name="connsiteX19" fmla="*/ 0 w 43859"/>
                <a:gd name="connsiteY19" fmla="*/ 5066 h 11662"/>
                <a:gd name="connsiteX20" fmla="*/ 896 w 43859"/>
                <a:gd name="connsiteY20" fmla="*/ 264 h 1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859" h="11662">
                  <a:moveTo>
                    <a:pt x="896" y="264"/>
                  </a:moveTo>
                  <a:lnTo>
                    <a:pt x="23933" y="792"/>
                  </a:lnTo>
                  <a:lnTo>
                    <a:pt x="27359" y="106"/>
                  </a:lnTo>
                  <a:lnTo>
                    <a:pt x="31788" y="0"/>
                  </a:lnTo>
                  <a:lnTo>
                    <a:pt x="36216" y="475"/>
                  </a:lnTo>
                  <a:lnTo>
                    <a:pt x="39590" y="1425"/>
                  </a:lnTo>
                  <a:lnTo>
                    <a:pt x="42173" y="3166"/>
                  </a:lnTo>
                  <a:lnTo>
                    <a:pt x="43121" y="4380"/>
                  </a:lnTo>
                  <a:lnTo>
                    <a:pt x="43701" y="5647"/>
                  </a:lnTo>
                  <a:lnTo>
                    <a:pt x="43859" y="7019"/>
                  </a:lnTo>
                  <a:lnTo>
                    <a:pt x="43438" y="8444"/>
                  </a:lnTo>
                  <a:lnTo>
                    <a:pt x="42436" y="9816"/>
                  </a:lnTo>
                  <a:lnTo>
                    <a:pt x="40644" y="11135"/>
                  </a:lnTo>
                  <a:lnTo>
                    <a:pt x="38008" y="11663"/>
                  </a:lnTo>
                  <a:lnTo>
                    <a:pt x="33316" y="11663"/>
                  </a:lnTo>
                  <a:lnTo>
                    <a:pt x="20665" y="10713"/>
                  </a:lnTo>
                  <a:lnTo>
                    <a:pt x="1371" y="8497"/>
                  </a:lnTo>
                  <a:lnTo>
                    <a:pt x="633" y="8180"/>
                  </a:lnTo>
                  <a:lnTo>
                    <a:pt x="211" y="7441"/>
                  </a:lnTo>
                  <a:lnTo>
                    <a:pt x="0" y="5066"/>
                  </a:lnTo>
                  <a:lnTo>
                    <a:pt x="896" y="264"/>
                  </a:lnTo>
                </a:path>
              </a:pathLst>
            </a:custGeom>
            <a:solidFill>
              <a:schemeClr val="bg1"/>
            </a:solidFill>
            <a:ln w="52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1B4CB31C-83F7-0D88-4DE0-97FDC6944A30}"/>
                </a:ext>
              </a:extLst>
            </p:cNvPr>
            <p:cNvSpPr/>
            <p:nvPr/>
          </p:nvSpPr>
          <p:spPr>
            <a:xfrm>
              <a:off x="10391919" y="5835907"/>
              <a:ext cx="42277" cy="11451"/>
            </a:xfrm>
            <a:custGeom>
              <a:avLst/>
              <a:gdLst>
                <a:gd name="connsiteX0" fmla="*/ 5166 w 42277"/>
                <a:gd name="connsiteY0" fmla="*/ 0 h 11451"/>
                <a:gd name="connsiteX1" fmla="*/ 7169 w 42277"/>
                <a:gd name="connsiteY1" fmla="*/ 1214 h 11451"/>
                <a:gd name="connsiteX2" fmla="*/ 8435 w 42277"/>
                <a:gd name="connsiteY2" fmla="*/ 1953 h 11451"/>
                <a:gd name="connsiteX3" fmla="*/ 9858 w 42277"/>
                <a:gd name="connsiteY3" fmla="*/ 2322 h 11451"/>
                <a:gd name="connsiteX4" fmla="*/ 10859 w 42277"/>
                <a:gd name="connsiteY4" fmla="*/ 2111 h 11451"/>
                <a:gd name="connsiteX5" fmla="*/ 12019 w 42277"/>
                <a:gd name="connsiteY5" fmla="*/ 1583 h 11451"/>
                <a:gd name="connsiteX6" fmla="*/ 13179 w 42277"/>
                <a:gd name="connsiteY6" fmla="*/ 1003 h 11451"/>
                <a:gd name="connsiteX7" fmla="*/ 14339 w 42277"/>
                <a:gd name="connsiteY7" fmla="*/ 739 h 11451"/>
                <a:gd name="connsiteX8" fmla="*/ 16342 w 42277"/>
                <a:gd name="connsiteY8" fmla="*/ 1478 h 11451"/>
                <a:gd name="connsiteX9" fmla="*/ 18503 w 42277"/>
                <a:gd name="connsiteY9" fmla="*/ 2216 h 11451"/>
                <a:gd name="connsiteX10" fmla="*/ 20296 w 42277"/>
                <a:gd name="connsiteY10" fmla="*/ 1636 h 11451"/>
                <a:gd name="connsiteX11" fmla="*/ 22141 w 42277"/>
                <a:gd name="connsiteY11" fmla="*/ 1108 h 11451"/>
                <a:gd name="connsiteX12" fmla="*/ 24302 w 42277"/>
                <a:gd name="connsiteY12" fmla="*/ 1900 h 11451"/>
                <a:gd name="connsiteX13" fmla="*/ 25356 w 42277"/>
                <a:gd name="connsiteY13" fmla="*/ 2322 h 11451"/>
                <a:gd name="connsiteX14" fmla="*/ 26411 w 42277"/>
                <a:gd name="connsiteY14" fmla="*/ 2322 h 11451"/>
                <a:gd name="connsiteX15" fmla="*/ 33105 w 42277"/>
                <a:gd name="connsiteY15" fmla="*/ 1425 h 11451"/>
                <a:gd name="connsiteX16" fmla="*/ 38219 w 42277"/>
                <a:gd name="connsiteY16" fmla="*/ 2269 h 11451"/>
                <a:gd name="connsiteX17" fmla="*/ 38535 w 42277"/>
                <a:gd name="connsiteY17" fmla="*/ 2480 h 11451"/>
                <a:gd name="connsiteX18" fmla="*/ 38693 w 42277"/>
                <a:gd name="connsiteY18" fmla="*/ 2744 h 11451"/>
                <a:gd name="connsiteX19" fmla="*/ 38535 w 42277"/>
                <a:gd name="connsiteY19" fmla="*/ 3378 h 11451"/>
                <a:gd name="connsiteX20" fmla="*/ 38324 w 42277"/>
                <a:gd name="connsiteY20" fmla="*/ 4064 h 11451"/>
                <a:gd name="connsiteX21" fmla="*/ 38535 w 42277"/>
                <a:gd name="connsiteY21" fmla="*/ 4697 h 11451"/>
                <a:gd name="connsiteX22" fmla="*/ 39800 w 42277"/>
                <a:gd name="connsiteY22" fmla="*/ 5436 h 11451"/>
                <a:gd name="connsiteX23" fmla="*/ 41224 w 42277"/>
                <a:gd name="connsiteY23" fmla="*/ 6016 h 11451"/>
                <a:gd name="connsiteX24" fmla="*/ 41804 w 42277"/>
                <a:gd name="connsiteY24" fmla="*/ 6438 h 11451"/>
                <a:gd name="connsiteX25" fmla="*/ 42173 w 42277"/>
                <a:gd name="connsiteY25" fmla="*/ 7072 h 11451"/>
                <a:gd name="connsiteX26" fmla="*/ 42278 w 42277"/>
                <a:gd name="connsiteY26" fmla="*/ 8022 h 11451"/>
                <a:gd name="connsiteX27" fmla="*/ 42014 w 42277"/>
                <a:gd name="connsiteY27" fmla="*/ 9341 h 11451"/>
                <a:gd name="connsiteX28" fmla="*/ 41593 w 42277"/>
                <a:gd name="connsiteY28" fmla="*/ 9974 h 11451"/>
                <a:gd name="connsiteX29" fmla="*/ 40644 w 42277"/>
                <a:gd name="connsiteY29" fmla="*/ 10502 h 11451"/>
                <a:gd name="connsiteX30" fmla="*/ 37744 w 42277"/>
                <a:gd name="connsiteY30" fmla="*/ 11135 h 11451"/>
                <a:gd name="connsiteX31" fmla="*/ 28572 w 42277"/>
                <a:gd name="connsiteY31" fmla="*/ 11452 h 11451"/>
                <a:gd name="connsiteX32" fmla="*/ 15446 w 42277"/>
                <a:gd name="connsiteY32" fmla="*/ 9763 h 11451"/>
                <a:gd name="connsiteX33" fmla="*/ 4059 w 42277"/>
                <a:gd name="connsiteY33" fmla="*/ 7652 h 11451"/>
                <a:gd name="connsiteX34" fmla="*/ 2372 w 42277"/>
                <a:gd name="connsiteY34" fmla="*/ 6966 h 11451"/>
                <a:gd name="connsiteX35" fmla="*/ 1107 w 42277"/>
                <a:gd name="connsiteY35" fmla="*/ 5436 h 11451"/>
                <a:gd name="connsiteX36" fmla="*/ 264 w 42277"/>
                <a:gd name="connsiteY36" fmla="*/ 3641 h 11451"/>
                <a:gd name="connsiteX37" fmla="*/ 0 w 42277"/>
                <a:gd name="connsiteY37" fmla="*/ 2058 h 11451"/>
                <a:gd name="connsiteX38" fmla="*/ 5166 w 42277"/>
                <a:gd name="connsiteY38" fmla="*/ 0 h 11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2277" h="11451">
                  <a:moveTo>
                    <a:pt x="5166" y="0"/>
                  </a:moveTo>
                  <a:lnTo>
                    <a:pt x="7169" y="1214"/>
                  </a:lnTo>
                  <a:lnTo>
                    <a:pt x="8435" y="1953"/>
                  </a:lnTo>
                  <a:lnTo>
                    <a:pt x="9858" y="2322"/>
                  </a:lnTo>
                  <a:lnTo>
                    <a:pt x="10859" y="2111"/>
                  </a:lnTo>
                  <a:lnTo>
                    <a:pt x="12019" y="1583"/>
                  </a:lnTo>
                  <a:lnTo>
                    <a:pt x="13179" y="1003"/>
                  </a:lnTo>
                  <a:lnTo>
                    <a:pt x="14339" y="739"/>
                  </a:lnTo>
                  <a:lnTo>
                    <a:pt x="16342" y="1478"/>
                  </a:lnTo>
                  <a:lnTo>
                    <a:pt x="18503" y="2216"/>
                  </a:lnTo>
                  <a:lnTo>
                    <a:pt x="20296" y="1636"/>
                  </a:lnTo>
                  <a:lnTo>
                    <a:pt x="22141" y="1108"/>
                  </a:lnTo>
                  <a:lnTo>
                    <a:pt x="24302" y="1900"/>
                  </a:lnTo>
                  <a:lnTo>
                    <a:pt x="25356" y="2322"/>
                  </a:lnTo>
                  <a:lnTo>
                    <a:pt x="26411" y="2322"/>
                  </a:lnTo>
                  <a:lnTo>
                    <a:pt x="33105" y="1425"/>
                  </a:lnTo>
                  <a:lnTo>
                    <a:pt x="38219" y="2269"/>
                  </a:lnTo>
                  <a:lnTo>
                    <a:pt x="38535" y="2480"/>
                  </a:lnTo>
                  <a:lnTo>
                    <a:pt x="38693" y="2744"/>
                  </a:lnTo>
                  <a:lnTo>
                    <a:pt x="38535" y="3378"/>
                  </a:lnTo>
                  <a:lnTo>
                    <a:pt x="38324" y="4064"/>
                  </a:lnTo>
                  <a:lnTo>
                    <a:pt x="38535" y="4697"/>
                  </a:lnTo>
                  <a:lnTo>
                    <a:pt x="39800" y="5436"/>
                  </a:lnTo>
                  <a:lnTo>
                    <a:pt x="41224" y="6016"/>
                  </a:lnTo>
                  <a:lnTo>
                    <a:pt x="41804" y="6438"/>
                  </a:lnTo>
                  <a:lnTo>
                    <a:pt x="42173" y="7072"/>
                  </a:lnTo>
                  <a:lnTo>
                    <a:pt x="42278" y="8022"/>
                  </a:lnTo>
                  <a:lnTo>
                    <a:pt x="42014" y="9341"/>
                  </a:lnTo>
                  <a:lnTo>
                    <a:pt x="41593" y="9974"/>
                  </a:lnTo>
                  <a:lnTo>
                    <a:pt x="40644" y="10502"/>
                  </a:lnTo>
                  <a:lnTo>
                    <a:pt x="37744" y="11135"/>
                  </a:lnTo>
                  <a:lnTo>
                    <a:pt x="28572" y="11452"/>
                  </a:lnTo>
                  <a:lnTo>
                    <a:pt x="15446" y="9763"/>
                  </a:lnTo>
                  <a:lnTo>
                    <a:pt x="4059" y="7652"/>
                  </a:lnTo>
                  <a:lnTo>
                    <a:pt x="2372" y="6966"/>
                  </a:lnTo>
                  <a:lnTo>
                    <a:pt x="1107" y="5436"/>
                  </a:lnTo>
                  <a:lnTo>
                    <a:pt x="264" y="3641"/>
                  </a:lnTo>
                  <a:lnTo>
                    <a:pt x="0" y="2058"/>
                  </a:lnTo>
                  <a:lnTo>
                    <a:pt x="5166" y="0"/>
                  </a:lnTo>
                </a:path>
              </a:pathLst>
            </a:custGeom>
            <a:solidFill>
              <a:schemeClr val="bg1"/>
            </a:solidFill>
            <a:ln w="52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3F571D81-16FE-B2FA-9F57-0118AD41FBB5}"/>
                </a:ext>
              </a:extLst>
            </p:cNvPr>
            <p:cNvSpPr/>
            <p:nvPr/>
          </p:nvSpPr>
          <p:spPr>
            <a:xfrm>
              <a:off x="10389863" y="5848308"/>
              <a:ext cx="43754" cy="12454"/>
            </a:xfrm>
            <a:custGeom>
              <a:avLst/>
              <a:gdLst>
                <a:gd name="connsiteX0" fmla="*/ 4112 w 43754"/>
                <a:gd name="connsiteY0" fmla="*/ 0 h 12454"/>
                <a:gd name="connsiteX1" fmla="*/ 7644 w 43754"/>
                <a:gd name="connsiteY1" fmla="*/ 1372 h 12454"/>
                <a:gd name="connsiteX2" fmla="*/ 9383 w 43754"/>
                <a:gd name="connsiteY2" fmla="*/ 2005 h 12454"/>
                <a:gd name="connsiteX3" fmla="*/ 11123 w 43754"/>
                <a:gd name="connsiteY3" fmla="*/ 1953 h 12454"/>
                <a:gd name="connsiteX4" fmla="*/ 26780 w 43754"/>
                <a:gd name="connsiteY4" fmla="*/ 1214 h 12454"/>
                <a:gd name="connsiteX5" fmla="*/ 33053 w 43754"/>
                <a:gd name="connsiteY5" fmla="*/ 1794 h 12454"/>
                <a:gd name="connsiteX6" fmla="*/ 37955 w 43754"/>
                <a:gd name="connsiteY6" fmla="*/ 3008 h 12454"/>
                <a:gd name="connsiteX7" fmla="*/ 40169 w 43754"/>
                <a:gd name="connsiteY7" fmla="*/ 3589 h 12454"/>
                <a:gd name="connsiteX8" fmla="*/ 41435 w 43754"/>
                <a:gd name="connsiteY8" fmla="*/ 4116 h 12454"/>
                <a:gd name="connsiteX9" fmla="*/ 42436 w 43754"/>
                <a:gd name="connsiteY9" fmla="*/ 4855 h 12454"/>
                <a:gd name="connsiteX10" fmla="*/ 43543 w 43754"/>
                <a:gd name="connsiteY10" fmla="*/ 6808 h 12454"/>
                <a:gd name="connsiteX11" fmla="*/ 43754 w 43754"/>
                <a:gd name="connsiteY11" fmla="*/ 8708 h 12454"/>
                <a:gd name="connsiteX12" fmla="*/ 43280 w 43754"/>
                <a:gd name="connsiteY12" fmla="*/ 10344 h 12454"/>
                <a:gd name="connsiteX13" fmla="*/ 42436 w 43754"/>
                <a:gd name="connsiteY13" fmla="*/ 11399 h 12454"/>
                <a:gd name="connsiteX14" fmla="*/ 42436 w 43754"/>
                <a:gd name="connsiteY14" fmla="*/ 12455 h 12454"/>
                <a:gd name="connsiteX15" fmla="*/ 27096 w 43754"/>
                <a:gd name="connsiteY15" fmla="*/ 12402 h 12454"/>
                <a:gd name="connsiteX16" fmla="*/ 21982 w 43754"/>
                <a:gd name="connsiteY16" fmla="*/ 12455 h 12454"/>
                <a:gd name="connsiteX17" fmla="*/ 16922 w 43754"/>
                <a:gd name="connsiteY17" fmla="*/ 12032 h 12454"/>
                <a:gd name="connsiteX18" fmla="*/ 11861 w 43754"/>
                <a:gd name="connsiteY18" fmla="*/ 11135 h 12454"/>
                <a:gd name="connsiteX19" fmla="*/ 7328 w 43754"/>
                <a:gd name="connsiteY19" fmla="*/ 10396 h 12454"/>
                <a:gd name="connsiteX20" fmla="*/ 4059 w 43754"/>
                <a:gd name="connsiteY20" fmla="*/ 9869 h 12454"/>
                <a:gd name="connsiteX21" fmla="*/ 2741 w 43754"/>
                <a:gd name="connsiteY21" fmla="*/ 9552 h 12454"/>
                <a:gd name="connsiteX22" fmla="*/ 1845 w 43754"/>
                <a:gd name="connsiteY22" fmla="*/ 8708 h 12454"/>
                <a:gd name="connsiteX23" fmla="*/ 580 w 43754"/>
                <a:gd name="connsiteY23" fmla="*/ 6016 h 12454"/>
                <a:gd name="connsiteX24" fmla="*/ 0 w 43754"/>
                <a:gd name="connsiteY24" fmla="*/ 3114 h 12454"/>
                <a:gd name="connsiteX25" fmla="*/ 4112 w 43754"/>
                <a:gd name="connsiteY25" fmla="*/ 0 h 12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3754" h="12454">
                  <a:moveTo>
                    <a:pt x="4112" y="0"/>
                  </a:moveTo>
                  <a:lnTo>
                    <a:pt x="7644" y="1372"/>
                  </a:lnTo>
                  <a:lnTo>
                    <a:pt x="9383" y="2005"/>
                  </a:lnTo>
                  <a:lnTo>
                    <a:pt x="11123" y="1953"/>
                  </a:lnTo>
                  <a:lnTo>
                    <a:pt x="26780" y="1214"/>
                  </a:lnTo>
                  <a:lnTo>
                    <a:pt x="33053" y="1794"/>
                  </a:lnTo>
                  <a:lnTo>
                    <a:pt x="37955" y="3008"/>
                  </a:lnTo>
                  <a:lnTo>
                    <a:pt x="40169" y="3589"/>
                  </a:lnTo>
                  <a:lnTo>
                    <a:pt x="41435" y="4116"/>
                  </a:lnTo>
                  <a:lnTo>
                    <a:pt x="42436" y="4855"/>
                  </a:lnTo>
                  <a:lnTo>
                    <a:pt x="43543" y="6808"/>
                  </a:lnTo>
                  <a:lnTo>
                    <a:pt x="43754" y="8708"/>
                  </a:lnTo>
                  <a:lnTo>
                    <a:pt x="43280" y="10344"/>
                  </a:lnTo>
                  <a:lnTo>
                    <a:pt x="42436" y="11399"/>
                  </a:lnTo>
                  <a:lnTo>
                    <a:pt x="42436" y="12455"/>
                  </a:lnTo>
                  <a:lnTo>
                    <a:pt x="27096" y="12402"/>
                  </a:lnTo>
                  <a:lnTo>
                    <a:pt x="21982" y="12455"/>
                  </a:lnTo>
                  <a:lnTo>
                    <a:pt x="16922" y="12032"/>
                  </a:lnTo>
                  <a:lnTo>
                    <a:pt x="11861" y="11135"/>
                  </a:lnTo>
                  <a:lnTo>
                    <a:pt x="7328" y="10396"/>
                  </a:lnTo>
                  <a:lnTo>
                    <a:pt x="4059" y="9869"/>
                  </a:lnTo>
                  <a:lnTo>
                    <a:pt x="2741" y="9552"/>
                  </a:lnTo>
                  <a:lnTo>
                    <a:pt x="1845" y="8708"/>
                  </a:lnTo>
                  <a:lnTo>
                    <a:pt x="580" y="6016"/>
                  </a:lnTo>
                  <a:lnTo>
                    <a:pt x="0" y="3114"/>
                  </a:lnTo>
                  <a:lnTo>
                    <a:pt x="4112" y="0"/>
                  </a:lnTo>
                </a:path>
              </a:pathLst>
            </a:custGeom>
            <a:solidFill>
              <a:schemeClr val="bg1"/>
            </a:solidFill>
            <a:ln w="52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FF29A23E-9C0F-1373-4B46-ECFBDB61E124}"/>
                </a:ext>
              </a:extLst>
            </p:cNvPr>
            <p:cNvSpPr/>
            <p:nvPr/>
          </p:nvSpPr>
          <p:spPr>
            <a:xfrm>
              <a:off x="10389916" y="5866621"/>
              <a:ext cx="44492" cy="20423"/>
            </a:xfrm>
            <a:custGeom>
              <a:avLst/>
              <a:gdLst>
                <a:gd name="connsiteX0" fmla="*/ 5219 w 44492"/>
                <a:gd name="connsiteY0" fmla="*/ 0 h 20423"/>
                <a:gd name="connsiteX1" fmla="*/ 12177 w 44492"/>
                <a:gd name="connsiteY1" fmla="*/ 897 h 20423"/>
                <a:gd name="connsiteX2" fmla="*/ 14497 w 44492"/>
                <a:gd name="connsiteY2" fmla="*/ 1161 h 20423"/>
                <a:gd name="connsiteX3" fmla="*/ 16500 w 44492"/>
                <a:gd name="connsiteY3" fmla="*/ 792 h 20423"/>
                <a:gd name="connsiteX4" fmla="*/ 19189 w 44492"/>
                <a:gd name="connsiteY4" fmla="*/ 528 h 20423"/>
                <a:gd name="connsiteX5" fmla="*/ 23406 w 44492"/>
                <a:gd name="connsiteY5" fmla="*/ 844 h 20423"/>
                <a:gd name="connsiteX6" fmla="*/ 29468 w 44492"/>
                <a:gd name="connsiteY6" fmla="*/ 950 h 20423"/>
                <a:gd name="connsiteX7" fmla="*/ 35583 w 44492"/>
                <a:gd name="connsiteY7" fmla="*/ 633 h 20423"/>
                <a:gd name="connsiteX8" fmla="*/ 37692 w 44492"/>
                <a:gd name="connsiteY8" fmla="*/ 581 h 20423"/>
                <a:gd name="connsiteX9" fmla="*/ 39484 w 44492"/>
                <a:gd name="connsiteY9" fmla="*/ 1319 h 20423"/>
                <a:gd name="connsiteX10" fmla="*/ 42647 w 44492"/>
                <a:gd name="connsiteY10" fmla="*/ 3958 h 20423"/>
                <a:gd name="connsiteX11" fmla="*/ 43701 w 44492"/>
                <a:gd name="connsiteY11" fmla="*/ 5277 h 20423"/>
                <a:gd name="connsiteX12" fmla="*/ 44334 w 44492"/>
                <a:gd name="connsiteY12" fmla="*/ 6808 h 20423"/>
                <a:gd name="connsiteX13" fmla="*/ 44492 w 44492"/>
                <a:gd name="connsiteY13" fmla="*/ 8497 h 20423"/>
                <a:gd name="connsiteX14" fmla="*/ 44070 w 44492"/>
                <a:gd name="connsiteY14" fmla="*/ 10185 h 20423"/>
                <a:gd name="connsiteX15" fmla="*/ 42225 w 44492"/>
                <a:gd name="connsiteY15" fmla="*/ 15357 h 20423"/>
                <a:gd name="connsiteX16" fmla="*/ 41171 w 44492"/>
                <a:gd name="connsiteY16" fmla="*/ 17626 h 20423"/>
                <a:gd name="connsiteX17" fmla="*/ 39642 w 44492"/>
                <a:gd name="connsiteY17" fmla="*/ 19473 h 20423"/>
                <a:gd name="connsiteX18" fmla="*/ 38746 w 44492"/>
                <a:gd name="connsiteY18" fmla="*/ 19896 h 20423"/>
                <a:gd name="connsiteX19" fmla="*/ 37692 w 44492"/>
                <a:gd name="connsiteY19" fmla="*/ 19948 h 20423"/>
                <a:gd name="connsiteX20" fmla="*/ 35109 w 44492"/>
                <a:gd name="connsiteY20" fmla="*/ 19473 h 20423"/>
                <a:gd name="connsiteX21" fmla="*/ 32420 w 44492"/>
                <a:gd name="connsiteY21" fmla="*/ 18735 h 20423"/>
                <a:gd name="connsiteX22" fmla="*/ 30101 w 44492"/>
                <a:gd name="connsiteY22" fmla="*/ 18418 h 20423"/>
                <a:gd name="connsiteX23" fmla="*/ 28414 w 44492"/>
                <a:gd name="connsiteY23" fmla="*/ 18840 h 20423"/>
                <a:gd name="connsiteX24" fmla="*/ 26938 w 44492"/>
                <a:gd name="connsiteY24" fmla="*/ 19579 h 20423"/>
                <a:gd name="connsiteX25" fmla="*/ 25409 w 44492"/>
                <a:gd name="connsiteY25" fmla="*/ 20212 h 20423"/>
                <a:gd name="connsiteX26" fmla="*/ 23669 w 44492"/>
                <a:gd name="connsiteY26" fmla="*/ 20423 h 20423"/>
                <a:gd name="connsiteX27" fmla="*/ 18714 w 44492"/>
                <a:gd name="connsiteY27" fmla="*/ 19104 h 20423"/>
                <a:gd name="connsiteX28" fmla="*/ 15920 w 44492"/>
                <a:gd name="connsiteY28" fmla="*/ 18735 h 20423"/>
                <a:gd name="connsiteX29" fmla="*/ 12704 w 44492"/>
                <a:gd name="connsiteY29" fmla="*/ 19262 h 20423"/>
                <a:gd name="connsiteX30" fmla="*/ 11861 w 44492"/>
                <a:gd name="connsiteY30" fmla="*/ 19368 h 20423"/>
                <a:gd name="connsiteX31" fmla="*/ 11070 w 44492"/>
                <a:gd name="connsiteY31" fmla="*/ 18999 h 20423"/>
                <a:gd name="connsiteX32" fmla="*/ 10227 w 44492"/>
                <a:gd name="connsiteY32" fmla="*/ 18576 h 20423"/>
                <a:gd name="connsiteX33" fmla="*/ 9331 w 44492"/>
                <a:gd name="connsiteY33" fmla="*/ 18365 h 20423"/>
                <a:gd name="connsiteX34" fmla="*/ 7380 w 44492"/>
                <a:gd name="connsiteY34" fmla="*/ 18312 h 20423"/>
                <a:gd name="connsiteX35" fmla="*/ 6642 w 44492"/>
                <a:gd name="connsiteY35" fmla="*/ 18049 h 20423"/>
                <a:gd name="connsiteX36" fmla="*/ 6273 w 44492"/>
                <a:gd name="connsiteY36" fmla="*/ 17626 h 20423"/>
                <a:gd name="connsiteX37" fmla="*/ 3901 w 44492"/>
                <a:gd name="connsiteY37" fmla="*/ 13985 h 20423"/>
                <a:gd name="connsiteX38" fmla="*/ 1371 w 44492"/>
                <a:gd name="connsiteY38" fmla="*/ 10977 h 20423"/>
                <a:gd name="connsiteX39" fmla="*/ 316 w 44492"/>
                <a:gd name="connsiteY39" fmla="*/ 9605 h 20423"/>
                <a:gd name="connsiteX40" fmla="*/ 0 w 44492"/>
                <a:gd name="connsiteY40" fmla="*/ 8022 h 20423"/>
                <a:gd name="connsiteX41" fmla="*/ 580 w 44492"/>
                <a:gd name="connsiteY41" fmla="*/ 6122 h 20423"/>
                <a:gd name="connsiteX42" fmla="*/ 1950 w 44492"/>
                <a:gd name="connsiteY42" fmla="*/ 4116 h 20423"/>
                <a:gd name="connsiteX43" fmla="*/ 5219 w 44492"/>
                <a:gd name="connsiteY43" fmla="*/ 0 h 20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492" h="20423">
                  <a:moveTo>
                    <a:pt x="5219" y="0"/>
                  </a:moveTo>
                  <a:lnTo>
                    <a:pt x="12177" y="897"/>
                  </a:lnTo>
                  <a:lnTo>
                    <a:pt x="14497" y="1161"/>
                  </a:lnTo>
                  <a:lnTo>
                    <a:pt x="16500" y="792"/>
                  </a:lnTo>
                  <a:lnTo>
                    <a:pt x="19189" y="528"/>
                  </a:lnTo>
                  <a:lnTo>
                    <a:pt x="23406" y="844"/>
                  </a:lnTo>
                  <a:lnTo>
                    <a:pt x="29468" y="950"/>
                  </a:lnTo>
                  <a:lnTo>
                    <a:pt x="35583" y="633"/>
                  </a:lnTo>
                  <a:lnTo>
                    <a:pt x="37692" y="581"/>
                  </a:lnTo>
                  <a:lnTo>
                    <a:pt x="39484" y="1319"/>
                  </a:lnTo>
                  <a:lnTo>
                    <a:pt x="42647" y="3958"/>
                  </a:lnTo>
                  <a:lnTo>
                    <a:pt x="43701" y="5277"/>
                  </a:lnTo>
                  <a:lnTo>
                    <a:pt x="44334" y="6808"/>
                  </a:lnTo>
                  <a:lnTo>
                    <a:pt x="44492" y="8497"/>
                  </a:lnTo>
                  <a:lnTo>
                    <a:pt x="44070" y="10185"/>
                  </a:lnTo>
                  <a:lnTo>
                    <a:pt x="42225" y="15357"/>
                  </a:lnTo>
                  <a:lnTo>
                    <a:pt x="41171" y="17626"/>
                  </a:lnTo>
                  <a:lnTo>
                    <a:pt x="39642" y="19473"/>
                  </a:lnTo>
                  <a:lnTo>
                    <a:pt x="38746" y="19896"/>
                  </a:lnTo>
                  <a:lnTo>
                    <a:pt x="37692" y="19948"/>
                  </a:lnTo>
                  <a:lnTo>
                    <a:pt x="35109" y="19473"/>
                  </a:lnTo>
                  <a:lnTo>
                    <a:pt x="32420" y="18735"/>
                  </a:lnTo>
                  <a:lnTo>
                    <a:pt x="30101" y="18418"/>
                  </a:lnTo>
                  <a:lnTo>
                    <a:pt x="28414" y="18840"/>
                  </a:lnTo>
                  <a:lnTo>
                    <a:pt x="26938" y="19579"/>
                  </a:lnTo>
                  <a:lnTo>
                    <a:pt x="25409" y="20212"/>
                  </a:lnTo>
                  <a:lnTo>
                    <a:pt x="23669" y="20423"/>
                  </a:lnTo>
                  <a:lnTo>
                    <a:pt x="18714" y="19104"/>
                  </a:lnTo>
                  <a:lnTo>
                    <a:pt x="15920" y="18735"/>
                  </a:lnTo>
                  <a:lnTo>
                    <a:pt x="12704" y="19262"/>
                  </a:lnTo>
                  <a:lnTo>
                    <a:pt x="11861" y="19368"/>
                  </a:lnTo>
                  <a:lnTo>
                    <a:pt x="11070" y="18999"/>
                  </a:lnTo>
                  <a:lnTo>
                    <a:pt x="10227" y="18576"/>
                  </a:lnTo>
                  <a:lnTo>
                    <a:pt x="9331" y="18365"/>
                  </a:lnTo>
                  <a:lnTo>
                    <a:pt x="7380" y="18312"/>
                  </a:lnTo>
                  <a:lnTo>
                    <a:pt x="6642" y="18049"/>
                  </a:lnTo>
                  <a:lnTo>
                    <a:pt x="6273" y="17626"/>
                  </a:lnTo>
                  <a:lnTo>
                    <a:pt x="3901" y="13985"/>
                  </a:lnTo>
                  <a:lnTo>
                    <a:pt x="1371" y="10977"/>
                  </a:lnTo>
                  <a:lnTo>
                    <a:pt x="316" y="9605"/>
                  </a:lnTo>
                  <a:lnTo>
                    <a:pt x="0" y="8022"/>
                  </a:lnTo>
                  <a:lnTo>
                    <a:pt x="580" y="6122"/>
                  </a:lnTo>
                  <a:lnTo>
                    <a:pt x="1950" y="4116"/>
                  </a:lnTo>
                  <a:lnTo>
                    <a:pt x="5219" y="0"/>
                  </a:lnTo>
                </a:path>
              </a:pathLst>
            </a:custGeom>
            <a:solidFill>
              <a:schemeClr val="bg1"/>
            </a:solidFill>
            <a:ln w="52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F49717D1-D84D-56DA-3B95-27DDA120C510}"/>
                </a:ext>
              </a:extLst>
            </p:cNvPr>
            <p:cNvSpPr/>
            <p:nvPr/>
          </p:nvSpPr>
          <p:spPr>
            <a:xfrm>
              <a:off x="10386806" y="5902032"/>
              <a:ext cx="50923" cy="28919"/>
            </a:xfrm>
            <a:custGeom>
              <a:avLst/>
              <a:gdLst>
                <a:gd name="connsiteX0" fmla="*/ 16236 w 50923"/>
                <a:gd name="connsiteY0" fmla="*/ 158 h 28919"/>
                <a:gd name="connsiteX1" fmla="*/ 18820 w 50923"/>
                <a:gd name="connsiteY1" fmla="*/ 0 h 28919"/>
                <a:gd name="connsiteX2" fmla="*/ 21403 w 50923"/>
                <a:gd name="connsiteY2" fmla="*/ 264 h 28919"/>
                <a:gd name="connsiteX3" fmla="*/ 36268 w 50923"/>
                <a:gd name="connsiteY3" fmla="*/ 1742 h 28919"/>
                <a:gd name="connsiteX4" fmla="*/ 40433 w 50923"/>
                <a:gd name="connsiteY4" fmla="*/ 2375 h 28919"/>
                <a:gd name="connsiteX5" fmla="*/ 44387 w 50923"/>
                <a:gd name="connsiteY5" fmla="*/ 3483 h 28919"/>
                <a:gd name="connsiteX6" fmla="*/ 46179 w 50923"/>
                <a:gd name="connsiteY6" fmla="*/ 4591 h 28919"/>
                <a:gd name="connsiteX7" fmla="*/ 47760 w 50923"/>
                <a:gd name="connsiteY7" fmla="*/ 6175 h 28919"/>
                <a:gd name="connsiteX8" fmla="*/ 49078 w 50923"/>
                <a:gd name="connsiteY8" fmla="*/ 8549 h 28919"/>
                <a:gd name="connsiteX9" fmla="*/ 50133 w 50923"/>
                <a:gd name="connsiteY9" fmla="*/ 11716 h 28919"/>
                <a:gd name="connsiteX10" fmla="*/ 50923 w 50923"/>
                <a:gd name="connsiteY10" fmla="*/ 17099 h 28919"/>
                <a:gd name="connsiteX11" fmla="*/ 50660 w 50923"/>
                <a:gd name="connsiteY11" fmla="*/ 19790 h 28919"/>
                <a:gd name="connsiteX12" fmla="*/ 49658 w 50923"/>
                <a:gd name="connsiteY12" fmla="*/ 22270 h 28919"/>
                <a:gd name="connsiteX13" fmla="*/ 48288 w 50923"/>
                <a:gd name="connsiteY13" fmla="*/ 23854 h 28919"/>
                <a:gd name="connsiteX14" fmla="*/ 46495 w 50923"/>
                <a:gd name="connsiteY14" fmla="*/ 25226 h 28919"/>
                <a:gd name="connsiteX15" fmla="*/ 41698 w 50923"/>
                <a:gd name="connsiteY15" fmla="*/ 27284 h 28919"/>
                <a:gd name="connsiteX16" fmla="*/ 29099 w 50923"/>
                <a:gd name="connsiteY16" fmla="*/ 28920 h 28919"/>
                <a:gd name="connsiteX17" fmla="*/ 25093 w 50923"/>
                <a:gd name="connsiteY17" fmla="*/ 28392 h 28919"/>
                <a:gd name="connsiteX18" fmla="*/ 21244 w 50923"/>
                <a:gd name="connsiteY18" fmla="*/ 27284 h 28919"/>
                <a:gd name="connsiteX19" fmla="*/ 17396 w 50923"/>
                <a:gd name="connsiteY19" fmla="*/ 26228 h 28919"/>
                <a:gd name="connsiteX20" fmla="*/ 13653 w 50923"/>
                <a:gd name="connsiteY20" fmla="*/ 25806 h 28919"/>
                <a:gd name="connsiteX21" fmla="*/ 8382 w 50923"/>
                <a:gd name="connsiteY21" fmla="*/ 25173 h 28919"/>
                <a:gd name="connsiteX22" fmla="*/ 4428 w 50923"/>
                <a:gd name="connsiteY22" fmla="*/ 23220 h 28919"/>
                <a:gd name="connsiteX23" fmla="*/ 1792 w 50923"/>
                <a:gd name="connsiteY23" fmla="*/ 20423 h 28919"/>
                <a:gd name="connsiteX24" fmla="*/ 369 w 50923"/>
                <a:gd name="connsiteY24" fmla="*/ 17257 h 28919"/>
                <a:gd name="connsiteX25" fmla="*/ 0 w 50923"/>
                <a:gd name="connsiteY25" fmla="*/ 13774 h 28919"/>
                <a:gd name="connsiteX26" fmla="*/ 843 w 50923"/>
                <a:gd name="connsiteY26" fmla="*/ 10766 h 28919"/>
                <a:gd name="connsiteX27" fmla="*/ 2583 w 50923"/>
                <a:gd name="connsiteY27" fmla="*/ 8233 h 28919"/>
                <a:gd name="connsiteX28" fmla="*/ 4850 w 50923"/>
                <a:gd name="connsiteY28" fmla="*/ 6227 h 28919"/>
                <a:gd name="connsiteX29" fmla="*/ 9805 w 50923"/>
                <a:gd name="connsiteY29" fmla="*/ 3483 h 28919"/>
                <a:gd name="connsiteX30" fmla="*/ 13179 w 50923"/>
                <a:gd name="connsiteY30" fmla="*/ 2269 h 28919"/>
                <a:gd name="connsiteX31" fmla="*/ 14022 w 50923"/>
                <a:gd name="connsiteY31" fmla="*/ 1847 h 28919"/>
                <a:gd name="connsiteX32" fmla="*/ 14602 w 50923"/>
                <a:gd name="connsiteY32" fmla="*/ 1267 h 28919"/>
                <a:gd name="connsiteX33" fmla="*/ 15235 w 50923"/>
                <a:gd name="connsiteY33" fmla="*/ 633 h 28919"/>
                <a:gd name="connsiteX34" fmla="*/ 16236 w 50923"/>
                <a:gd name="connsiteY34" fmla="*/ 158 h 28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0923" h="28919">
                  <a:moveTo>
                    <a:pt x="16236" y="158"/>
                  </a:moveTo>
                  <a:lnTo>
                    <a:pt x="18820" y="0"/>
                  </a:lnTo>
                  <a:lnTo>
                    <a:pt x="21403" y="264"/>
                  </a:lnTo>
                  <a:lnTo>
                    <a:pt x="36268" y="1742"/>
                  </a:lnTo>
                  <a:lnTo>
                    <a:pt x="40433" y="2375"/>
                  </a:lnTo>
                  <a:lnTo>
                    <a:pt x="44387" y="3483"/>
                  </a:lnTo>
                  <a:lnTo>
                    <a:pt x="46179" y="4591"/>
                  </a:lnTo>
                  <a:lnTo>
                    <a:pt x="47760" y="6175"/>
                  </a:lnTo>
                  <a:lnTo>
                    <a:pt x="49078" y="8549"/>
                  </a:lnTo>
                  <a:lnTo>
                    <a:pt x="50133" y="11716"/>
                  </a:lnTo>
                  <a:lnTo>
                    <a:pt x="50923" y="17099"/>
                  </a:lnTo>
                  <a:lnTo>
                    <a:pt x="50660" y="19790"/>
                  </a:lnTo>
                  <a:lnTo>
                    <a:pt x="49658" y="22270"/>
                  </a:lnTo>
                  <a:lnTo>
                    <a:pt x="48288" y="23854"/>
                  </a:lnTo>
                  <a:lnTo>
                    <a:pt x="46495" y="25226"/>
                  </a:lnTo>
                  <a:lnTo>
                    <a:pt x="41698" y="27284"/>
                  </a:lnTo>
                  <a:lnTo>
                    <a:pt x="29099" y="28920"/>
                  </a:lnTo>
                  <a:lnTo>
                    <a:pt x="25093" y="28392"/>
                  </a:lnTo>
                  <a:lnTo>
                    <a:pt x="21244" y="27284"/>
                  </a:lnTo>
                  <a:lnTo>
                    <a:pt x="17396" y="26228"/>
                  </a:lnTo>
                  <a:lnTo>
                    <a:pt x="13653" y="25806"/>
                  </a:lnTo>
                  <a:lnTo>
                    <a:pt x="8382" y="25173"/>
                  </a:lnTo>
                  <a:lnTo>
                    <a:pt x="4428" y="23220"/>
                  </a:lnTo>
                  <a:lnTo>
                    <a:pt x="1792" y="20423"/>
                  </a:lnTo>
                  <a:lnTo>
                    <a:pt x="369" y="17257"/>
                  </a:lnTo>
                  <a:lnTo>
                    <a:pt x="0" y="13774"/>
                  </a:lnTo>
                  <a:lnTo>
                    <a:pt x="843" y="10766"/>
                  </a:lnTo>
                  <a:lnTo>
                    <a:pt x="2583" y="8233"/>
                  </a:lnTo>
                  <a:lnTo>
                    <a:pt x="4850" y="6227"/>
                  </a:lnTo>
                  <a:lnTo>
                    <a:pt x="9805" y="3483"/>
                  </a:lnTo>
                  <a:lnTo>
                    <a:pt x="13179" y="2269"/>
                  </a:lnTo>
                  <a:lnTo>
                    <a:pt x="14022" y="1847"/>
                  </a:lnTo>
                  <a:lnTo>
                    <a:pt x="14602" y="1267"/>
                  </a:lnTo>
                  <a:lnTo>
                    <a:pt x="15235" y="633"/>
                  </a:lnTo>
                  <a:lnTo>
                    <a:pt x="16236" y="158"/>
                  </a:lnTo>
                </a:path>
              </a:pathLst>
            </a:custGeom>
            <a:solidFill>
              <a:schemeClr val="bg1"/>
            </a:solidFill>
            <a:ln w="52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CF16696D-FA7B-1075-5429-04049933DF63}"/>
                </a:ext>
              </a:extLst>
            </p:cNvPr>
            <p:cNvSpPr/>
            <p:nvPr/>
          </p:nvSpPr>
          <p:spPr>
            <a:xfrm>
              <a:off x="10390391" y="5943881"/>
              <a:ext cx="42594" cy="27917"/>
            </a:xfrm>
            <a:custGeom>
              <a:avLst/>
              <a:gdLst>
                <a:gd name="connsiteX0" fmla="*/ 24038 w 42594"/>
                <a:gd name="connsiteY0" fmla="*/ 0 h 27917"/>
                <a:gd name="connsiteX1" fmla="*/ 28888 w 42594"/>
                <a:gd name="connsiteY1" fmla="*/ 422 h 27917"/>
                <a:gd name="connsiteX2" fmla="*/ 33949 w 42594"/>
                <a:gd name="connsiteY2" fmla="*/ 2269 h 27917"/>
                <a:gd name="connsiteX3" fmla="*/ 35425 w 42594"/>
                <a:gd name="connsiteY3" fmla="*/ 3694 h 27917"/>
                <a:gd name="connsiteX4" fmla="*/ 36637 w 42594"/>
                <a:gd name="connsiteY4" fmla="*/ 4802 h 27917"/>
                <a:gd name="connsiteX5" fmla="*/ 39168 w 42594"/>
                <a:gd name="connsiteY5" fmla="*/ 5330 h 27917"/>
                <a:gd name="connsiteX6" fmla="*/ 40380 w 42594"/>
                <a:gd name="connsiteY6" fmla="*/ 5700 h 27917"/>
                <a:gd name="connsiteX7" fmla="*/ 41171 w 42594"/>
                <a:gd name="connsiteY7" fmla="*/ 6386 h 27917"/>
                <a:gd name="connsiteX8" fmla="*/ 42489 w 42594"/>
                <a:gd name="connsiteY8" fmla="*/ 12191 h 27917"/>
                <a:gd name="connsiteX9" fmla="*/ 42594 w 42594"/>
                <a:gd name="connsiteY9" fmla="*/ 15885 h 27917"/>
                <a:gd name="connsiteX10" fmla="*/ 42014 w 42594"/>
                <a:gd name="connsiteY10" fmla="*/ 18946 h 27917"/>
                <a:gd name="connsiteX11" fmla="*/ 40907 w 42594"/>
                <a:gd name="connsiteY11" fmla="*/ 20846 h 27917"/>
                <a:gd name="connsiteX12" fmla="*/ 39326 w 42594"/>
                <a:gd name="connsiteY12" fmla="*/ 22534 h 27917"/>
                <a:gd name="connsiteX13" fmla="*/ 35161 w 42594"/>
                <a:gd name="connsiteY13" fmla="*/ 25173 h 27917"/>
                <a:gd name="connsiteX14" fmla="*/ 29943 w 42594"/>
                <a:gd name="connsiteY14" fmla="*/ 26915 h 27917"/>
                <a:gd name="connsiteX15" fmla="*/ 24091 w 42594"/>
                <a:gd name="connsiteY15" fmla="*/ 27812 h 27917"/>
                <a:gd name="connsiteX16" fmla="*/ 18081 w 42594"/>
                <a:gd name="connsiteY16" fmla="*/ 27917 h 27917"/>
                <a:gd name="connsiteX17" fmla="*/ 12335 w 42594"/>
                <a:gd name="connsiteY17" fmla="*/ 27231 h 27917"/>
                <a:gd name="connsiteX18" fmla="*/ 7275 w 42594"/>
                <a:gd name="connsiteY18" fmla="*/ 25912 h 27917"/>
                <a:gd name="connsiteX19" fmla="*/ 3427 w 42594"/>
                <a:gd name="connsiteY19" fmla="*/ 23959 h 27917"/>
                <a:gd name="connsiteX20" fmla="*/ 2214 w 42594"/>
                <a:gd name="connsiteY20" fmla="*/ 22798 h 27917"/>
                <a:gd name="connsiteX21" fmla="*/ 1371 w 42594"/>
                <a:gd name="connsiteY21" fmla="*/ 21426 h 27917"/>
                <a:gd name="connsiteX22" fmla="*/ 316 w 42594"/>
                <a:gd name="connsiteY22" fmla="*/ 18312 h 27917"/>
                <a:gd name="connsiteX23" fmla="*/ 0 w 42594"/>
                <a:gd name="connsiteY23" fmla="*/ 14882 h 27917"/>
                <a:gd name="connsiteX24" fmla="*/ 685 w 42594"/>
                <a:gd name="connsiteY24" fmla="*/ 11874 h 27917"/>
                <a:gd name="connsiteX25" fmla="*/ 2267 w 42594"/>
                <a:gd name="connsiteY25" fmla="*/ 9288 h 27917"/>
                <a:gd name="connsiteX26" fmla="*/ 4375 w 42594"/>
                <a:gd name="connsiteY26" fmla="*/ 7124 h 27917"/>
                <a:gd name="connsiteX27" fmla="*/ 9594 w 42594"/>
                <a:gd name="connsiteY27" fmla="*/ 4116 h 27917"/>
                <a:gd name="connsiteX28" fmla="*/ 14444 w 42594"/>
                <a:gd name="connsiteY28" fmla="*/ 2797 h 27917"/>
                <a:gd name="connsiteX29" fmla="*/ 19347 w 42594"/>
                <a:gd name="connsiteY29" fmla="*/ 1319 h 27917"/>
                <a:gd name="connsiteX30" fmla="*/ 24038 w 42594"/>
                <a:gd name="connsiteY30" fmla="*/ 0 h 27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2594" h="27917">
                  <a:moveTo>
                    <a:pt x="24038" y="0"/>
                  </a:moveTo>
                  <a:lnTo>
                    <a:pt x="28888" y="422"/>
                  </a:lnTo>
                  <a:lnTo>
                    <a:pt x="33949" y="2269"/>
                  </a:lnTo>
                  <a:lnTo>
                    <a:pt x="35425" y="3694"/>
                  </a:lnTo>
                  <a:lnTo>
                    <a:pt x="36637" y="4802"/>
                  </a:lnTo>
                  <a:lnTo>
                    <a:pt x="39168" y="5330"/>
                  </a:lnTo>
                  <a:lnTo>
                    <a:pt x="40380" y="5700"/>
                  </a:lnTo>
                  <a:lnTo>
                    <a:pt x="41171" y="6386"/>
                  </a:lnTo>
                  <a:lnTo>
                    <a:pt x="42489" y="12191"/>
                  </a:lnTo>
                  <a:lnTo>
                    <a:pt x="42594" y="15885"/>
                  </a:lnTo>
                  <a:lnTo>
                    <a:pt x="42014" y="18946"/>
                  </a:lnTo>
                  <a:lnTo>
                    <a:pt x="40907" y="20846"/>
                  </a:lnTo>
                  <a:lnTo>
                    <a:pt x="39326" y="22534"/>
                  </a:lnTo>
                  <a:lnTo>
                    <a:pt x="35161" y="25173"/>
                  </a:lnTo>
                  <a:lnTo>
                    <a:pt x="29943" y="26915"/>
                  </a:lnTo>
                  <a:lnTo>
                    <a:pt x="24091" y="27812"/>
                  </a:lnTo>
                  <a:lnTo>
                    <a:pt x="18081" y="27917"/>
                  </a:lnTo>
                  <a:lnTo>
                    <a:pt x="12335" y="27231"/>
                  </a:lnTo>
                  <a:lnTo>
                    <a:pt x="7275" y="25912"/>
                  </a:lnTo>
                  <a:lnTo>
                    <a:pt x="3427" y="23959"/>
                  </a:lnTo>
                  <a:lnTo>
                    <a:pt x="2214" y="22798"/>
                  </a:lnTo>
                  <a:lnTo>
                    <a:pt x="1371" y="21426"/>
                  </a:lnTo>
                  <a:lnTo>
                    <a:pt x="316" y="18312"/>
                  </a:lnTo>
                  <a:lnTo>
                    <a:pt x="0" y="14882"/>
                  </a:lnTo>
                  <a:lnTo>
                    <a:pt x="685" y="11874"/>
                  </a:lnTo>
                  <a:lnTo>
                    <a:pt x="2267" y="9288"/>
                  </a:lnTo>
                  <a:lnTo>
                    <a:pt x="4375" y="7124"/>
                  </a:lnTo>
                  <a:lnTo>
                    <a:pt x="9594" y="4116"/>
                  </a:lnTo>
                  <a:lnTo>
                    <a:pt x="14444" y="2797"/>
                  </a:lnTo>
                  <a:lnTo>
                    <a:pt x="19347" y="1319"/>
                  </a:lnTo>
                  <a:lnTo>
                    <a:pt x="24038" y="0"/>
                  </a:lnTo>
                </a:path>
              </a:pathLst>
            </a:custGeom>
            <a:solidFill>
              <a:schemeClr val="bg1"/>
            </a:solidFill>
            <a:ln w="52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13412CE7-E614-BF67-264A-9451183F019C}"/>
              </a:ext>
            </a:extLst>
          </p:cNvPr>
          <p:cNvSpPr>
            <a:spLocks noChangeAspect="1"/>
          </p:cNvSpPr>
          <p:nvPr userDrawn="1"/>
        </p:nvSpPr>
        <p:spPr>
          <a:xfrm>
            <a:off x="9091496" y="6136723"/>
            <a:ext cx="210312" cy="21031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95FA4B09-FCAA-A7A1-6550-CC158A9C4982}"/>
              </a:ext>
            </a:extLst>
          </p:cNvPr>
          <p:cNvSpPr>
            <a:spLocks noChangeAspect="1"/>
          </p:cNvSpPr>
          <p:nvPr userDrawn="1"/>
        </p:nvSpPr>
        <p:spPr>
          <a:xfrm>
            <a:off x="10979288" y="3658993"/>
            <a:ext cx="362221" cy="36222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44939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ngle Content Frame Alt" userDrawn="1">
  <p:cSld name="Single Content Frame Alt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29"/>
          <p:cNvSpPr txBox="1">
            <a:spLocks noGrp="1"/>
          </p:cNvSpPr>
          <p:nvPr>
            <p:ph type="title"/>
          </p:nvPr>
        </p:nvSpPr>
        <p:spPr>
          <a:xfrm>
            <a:off x="838200" y="457200"/>
            <a:ext cx="10515600" cy="586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Arial"/>
              <a:buNone/>
              <a:defRPr sz="30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pic>
        <p:nvPicPr>
          <p:cNvPr id="54" name="Google Shape;54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5400000">
            <a:off x="-3275963" y="3254698"/>
            <a:ext cx="6858000" cy="34860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3;p23">
            <a:extLst>
              <a:ext uri="{FF2B5EF4-FFF2-40B4-BE49-F238E27FC236}">
                <a16:creationId xmlns:a16="http://schemas.microsoft.com/office/drawing/2014/main" xmlns="" id="{5274930C-A0C2-80D4-3172-C4B4C68B273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8199" y="1043760"/>
            <a:ext cx="10515600" cy="47704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Pts val="2000"/>
              <a:buChar char="•"/>
              <a:defRPr sz="2000" b="1" i="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Char char="•"/>
              <a:defRPr sz="16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lvl="5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lvl="6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lvl="7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lvl="8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oogle Shape;14;p23">
            <a:extLst>
              <a:ext uri="{FF2B5EF4-FFF2-40B4-BE49-F238E27FC236}">
                <a16:creationId xmlns:a16="http://schemas.microsoft.com/office/drawing/2014/main" xmlns="" id="{63E59F76-94A0-DAB0-2122-C2F213491144}"/>
              </a:ext>
            </a:extLst>
          </p:cNvPr>
          <p:cNvSpPr txBox="1">
            <a:spLocks/>
          </p:cNvSpPr>
          <p:nvPr userDrawn="1"/>
        </p:nvSpPr>
        <p:spPr>
          <a:xfrm>
            <a:off x="11688425" y="6430526"/>
            <a:ext cx="503700" cy="3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4" name="Google Shape;12;p23">
            <a:extLst>
              <a:ext uri="{FF2B5EF4-FFF2-40B4-BE49-F238E27FC236}">
                <a16:creationId xmlns:a16="http://schemas.microsoft.com/office/drawing/2014/main" xmlns="" id="{133E144E-2B0E-0F2A-8B55-633D9C99344E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787361" y="6518593"/>
            <a:ext cx="827773" cy="12416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0A0B6B20-E621-80C9-6316-FDBD11023B10}"/>
              </a:ext>
            </a:extLst>
          </p:cNvPr>
          <p:cNvCxnSpPr>
            <a:cxnSpLocks/>
          </p:cNvCxnSpPr>
          <p:nvPr userDrawn="1"/>
        </p:nvCxnSpPr>
        <p:spPr>
          <a:xfrm>
            <a:off x="11688425" y="6447516"/>
            <a:ext cx="0" cy="266321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7638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ngle Content Frame PLAIN 1">
  <p:cSld name="Single Content Frame PLAIN 1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32535a65eaa_0_143"/>
          <p:cNvSpPr txBox="1">
            <a:spLocks noGrp="1"/>
          </p:cNvSpPr>
          <p:nvPr>
            <p:ph type="title"/>
          </p:nvPr>
        </p:nvSpPr>
        <p:spPr>
          <a:xfrm>
            <a:off x="838200" y="457200"/>
            <a:ext cx="10515600" cy="58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100"/>
              <a:buFont typeface="Arial"/>
              <a:buNone/>
              <a:defRPr sz="31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g32535a65eaa_0_143"/>
          <p:cNvSpPr txBox="1">
            <a:spLocks noGrp="1"/>
          </p:cNvSpPr>
          <p:nvPr>
            <p:ph type="body" idx="1"/>
          </p:nvPr>
        </p:nvSpPr>
        <p:spPr>
          <a:xfrm>
            <a:off x="838199" y="1043760"/>
            <a:ext cx="10515600" cy="477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>
                <a:schemeClr val="accent5"/>
              </a:buClr>
              <a:buSzPts val="2000"/>
              <a:buChar char="•"/>
              <a:defRPr sz="2000" b="1" i="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Char char="•"/>
              <a:defRPr sz="16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lvl="5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lvl="6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lvl="7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lvl="8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g32535a65eaa_0_143"/>
          <p:cNvSpPr txBox="1"/>
          <p:nvPr/>
        </p:nvSpPr>
        <p:spPr>
          <a:xfrm>
            <a:off x="11688425" y="6430527"/>
            <a:ext cx="503700" cy="3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9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4" name="Google Shape;54;g32535a65eaa_0_1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87361" y="6518593"/>
            <a:ext cx="827774" cy="12416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5" name="Google Shape;55;g32535a65eaa_0_143"/>
          <p:cNvCxnSpPr/>
          <p:nvPr/>
        </p:nvCxnSpPr>
        <p:spPr>
          <a:xfrm>
            <a:off x="11688425" y="6447516"/>
            <a:ext cx="0" cy="266400"/>
          </a:xfrm>
          <a:prstGeom prst="straightConnector1">
            <a:avLst/>
          </a:prstGeom>
          <a:noFill/>
          <a:ln w="9525" cap="flat" cmpd="sng">
            <a:solidFill>
              <a:srgbClr val="244D9A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624165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AF1EA1E-FE0C-DEA7-841E-862A1219B0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A09876AC-63DB-21DD-F5FA-39F8B9E2FA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9699A83C-4CDF-874D-24D1-746C530CA0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9BBF3-9509-9C4E-8AA7-50CCE57CFF97}" type="datetimeFigureOut">
              <a:rPr lang="pt-BR" smtClean="0"/>
              <a:t>03/04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04451066-2130-5346-E291-DA16EB8391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1C63A446-50AF-62AF-FB92-9BE1AC415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E0D93B-BBC8-A04C-AA66-53981978F80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6129551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9095B0B8-F0A9-1175-1143-DA598E372C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049878F6-F90D-4825-6870-B6EF496C3E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43F08D29-861C-063F-89DA-69896318B1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158A-C8B1-4493-84AB-72BA730BB114}" type="datetimeFigureOut">
              <a:rPr lang="pt-BR" smtClean="0"/>
              <a:t>03/04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AB7C5AC1-8AA7-31F5-B518-03499727E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7C6EA1D1-AEBD-F23A-B403-A4214A9EF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8E537-934E-4B08-A843-BDA975551D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6815041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1A52DD5-BB85-EE1B-573A-AF43A2D7A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xmlns="" id="{6556E351-B519-AE46-DEAF-8046038967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30DEA953-17A7-364F-7E99-D4BFEC8603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158A-C8B1-4493-84AB-72BA730BB114}" type="datetimeFigureOut">
              <a:rPr lang="pt-BR" smtClean="0"/>
              <a:t>03/04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60D504AD-0B02-EE88-4062-BDC9541F9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9CDB7604-D7EB-EA5D-DB63-6F0B997045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8E537-934E-4B08-A843-BDA975551D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4278678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C993D1B-6AD8-7C91-D06B-115124EB3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C92F1DC1-ABC0-DBA7-E398-0D517D2AC6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B3E992EA-AC72-78E3-6193-CE6945869B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158A-C8B1-4493-84AB-72BA730BB114}" type="datetimeFigureOut">
              <a:rPr lang="pt-BR" smtClean="0"/>
              <a:t>03/04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80D27003-BDC2-DF89-B786-C27CE3F42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B6FCA2EF-92FD-4115-6F4A-A224CDE24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8E537-934E-4B08-A843-BDA975551D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9196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46BE097-FDF1-BD40-3B56-A234E5064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xmlns="" id="{CE9163ED-F23D-4F83-9DE6-393FC1CE61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xmlns="" id="{CE0C5B4A-5CD7-D20C-0E2A-A06E532BC7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xmlns="" id="{93AB11CE-0C12-735D-45C2-5C23D69C25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158A-C8B1-4493-84AB-72BA730BB114}" type="datetimeFigureOut">
              <a:rPr lang="pt-BR" smtClean="0"/>
              <a:t>03/04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xmlns="" id="{03E27D2E-7408-A09A-BE13-1445121D7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xmlns="" id="{2BCDA57E-8856-E727-6554-5E2EAE284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8E537-934E-4B08-A843-BDA975551D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569949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6064009-F545-DA88-3703-71822B117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1725ACDF-4563-D9B5-EC0C-79140F663D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xmlns="" id="{B134EE5A-2EAE-DEC9-BFC1-5F8BD996A3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xmlns="" id="{4BA17FC3-60AB-A347-4392-417A57E7C0F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xmlns="" id="{180E49EA-E95C-60F0-2308-C54306E142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xmlns="" id="{41C426FE-82B3-C7E3-85E5-50DEB2EAE0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158A-C8B1-4493-84AB-72BA730BB114}" type="datetimeFigureOut">
              <a:rPr lang="pt-BR" smtClean="0"/>
              <a:t>03/04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xmlns="" id="{1A4C0C6C-9BC7-6362-8CAE-7638C698A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xmlns="" id="{37D91AEA-47AB-1A89-15A6-8E55752D2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8E537-934E-4B08-A843-BDA975551D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4786093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B7C4260-F891-62B3-087F-464A1A2F6C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xmlns="" id="{95D985B9-CA0B-E5E6-9F60-D3427408A1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158A-C8B1-4493-84AB-72BA730BB114}" type="datetimeFigureOut">
              <a:rPr lang="pt-BR" smtClean="0"/>
              <a:t>03/04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xmlns="" id="{DCF0271F-402D-308E-3F23-052B93B267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xmlns="" id="{5D7A242F-D905-942A-84EE-F14646AA6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8E537-934E-4B08-A843-BDA975551D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5665590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xmlns="" id="{24E35DF7-ABF9-A319-154B-F5F69D638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158A-C8B1-4493-84AB-72BA730BB114}" type="datetimeFigureOut">
              <a:rPr lang="pt-BR" smtClean="0"/>
              <a:t>03/04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xmlns="" id="{0B0CE95F-021C-443F-3A96-FBB10322A4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xmlns="" id="{594F2FF2-342D-68A7-6BA6-E60629585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8E537-934E-4B08-A843-BDA975551D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535773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lanet in space&#10;&#10;Description automatically generated with low confidence">
            <a:extLst>
              <a:ext uri="{FF2B5EF4-FFF2-40B4-BE49-F238E27FC236}">
                <a16:creationId xmlns:a16="http://schemas.microsoft.com/office/drawing/2014/main" xmlns="" id="{313ACBB8-4986-9398-81E2-C5A4BE27F5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636399" cy="6858001"/>
          </a:xfrm>
          <a:custGeom>
            <a:avLst/>
            <a:gdLst>
              <a:gd name="connsiteX0" fmla="*/ 0 w 5636399"/>
              <a:gd name="connsiteY0" fmla="*/ 0 h 6660590"/>
              <a:gd name="connsiteX1" fmla="*/ 5636399 w 5636399"/>
              <a:gd name="connsiteY1" fmla="*/ 0 h 6660590"/>
              <a:gd name="connsiteX2" fmla="*/ 5636399 w 5636399"/>
              <a:gd name="connsiteY2" fmla="*/ 6660590 h 6660590"/>
              <a:gd name="connsiteX3" fmla="*/ 0 w 5636399"/>
              <a:gd name="connsiteY3" fmla="*/ 6660590 h 6660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36399" h="6660590">
                <a:moveTo>
                  <a:pt x="0" y="0"/>
                </a:moveTo>
                <a:lnTo>
                  <a:pt x="5636399" y="0"/>
                </a:lnTo>
                <a:lnTo>
                  <a:pt x="5636399" y="6660590"/>
                </a:lnTo>
                <a:lnTo>
                  <a:pt x="0" y="6660590"/>
                </a:lnTo>
                <a:close/>
              </a:path>
            </a:pathLst>
          </a:cu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01A44FAD-6DFD-C07A-328C-35C4262ABD4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68474" y="1260764"/>
            <a:ext cx="4019478" cy="401947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xmlns="" id="{8306019C-5539-2A51-4CC8-3A7F9C609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553" y="2456231"/>
            <a:ext cx="3299320" cy="1048494"/>
          </a:xfrm>
        </p:spPr>
        <p:txBody>
          <a:bodyPr>
            <a:noAutofit/>
          </a:bodyPr>
          <a:lstStyle>
            <a:lvl1pPr marL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x-none" sz="3200" kern="1200">
                <a:solidFill>
                  <a:schemeClr val="bg1"/>
                </a:solidFill>
                <a:latin typeface="+mj-lt"/>
                <a:ea typeface="+mn-ea"/>
                <a:cs typeface="Futura Medium" panose="020B0602020204020303" pitchFamily="34" charset="-79"/>
              </a:defRPr>
            </a:lvl1pPr>
          </a:lstStyle>
          <a:p>
            <a:r>
              <a:rPr lang="en-US"/>
              <a:t>Agenda</a:t>
            </a:r>
            <a:br>
              <a:rPr lang="en-US"/>
            </a:br>
            <a:r>
              <a:rPr lang="en-US"/>
              <a:t>(Arial 32pt)</a:t>
            </a:r>
            <a:endParaRPr lang="x-non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7F0BA483-841A-AD1E-89F6-BA7D225B4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9100" y="3668828"/>
            <a:ext cx="3298227" cy="535531"/>
          </a:xfrm>
        </p:spPr>
        <p:txBody>
          <a:bodyPr lIns="91440" tIns="45720" rIns="91440" bIns="45720">
            <a:sp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  <a:br>
              <a:rPr lang="en-US"/>
            </a:br>
            <a:r>
              <a:rPr lang="en-US"/>
              <a:t>(Arial Bold 16pt)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xmlns="" id="{8EABF6FD-DB8A-D499-5CAC-A58ADC72E1B1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4209B340-845F-2D14-2E99-408C80DB1E08}"/>
              </a:ext>
            </a:extLst>
          </p:cNvPr>
          <p:cNvGrpSpPr/>
          <p:nvPr userDrawn="1"/>
        </p:nvGrpSpPr>
        <p:grpSpPr>
          <a:xfrm>
            <a:off x="10575235" y="6274936"/>
            <a:ext cx="1369766" cy="200074"/>
            <a:chOff x="10575235" y="6274936"/>
            <a:chExt cx="1369766" cy="200074"/>
          </a:xfrm>
        </p:grpSpPr>
        <p:grpSp>
          <p:nvGrpSpPr>
            <p:cNvPr id="5" name="Picture 15">
              <a:extLst>
                <a:ext uri="{FF2B5EF4-FFF2-40B4-BE49-F238E27FC236}">
                  <a16:creationId xmlns:a16="http://schemas.microsoft.com/office/drawing/2014/main" xmlns="" id="{9F2C8581-4317-C749-5672-AB6635850062}"/>
                </a:ext>
              </a:extLst>
            </p:cNvPr>
            <p:cNvGrpSpPr/>
            <p:nvPr/>
          </p:nvGrpSpPr>
          <p:grpSpPr>
            <a:xfrm>
              <a:off x="10575235" y="6274936"/>
              <a:ext cx="1369766" cy="197362"/>
              <a:chOff x="10575235" y="6274936"/>
              <a:chExt cx="1369766" cy="197362"/>
            </a:xfrm>
            <a:solidFill>
              <a:srgbClr val="28509C"/>
            </a:solidFill>
          </p:grpSpPr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xmlns="" id="{0291C492-60D6-9965-491C-DBB01FF31C12}"/>
                  </a:ext>
                </a:extLst>
              </p:cNvPr>
              <p:cNvSpPr/>
              <p:nvPr/>
            </p:nvSpPr>
            <p:spPr>
              <a:xfrm>
                <a:off x="11272784" y="6274936"/>
                <a:ext cx="169375" cy="193338"/>
              </a:xfrm>
              <a:custGeom>
                <a:avLst/>
                <a:gdLst>
                  <a:gd name="connsiteX0" fmla="*/ 84665 w 169375"/>
                  <a:gd name="connsiteY0" fmla="*/ 0 h 193338"/>
                  <a:gd name="connsiteX1" fmla="*/ 0 w 169375"/>
                  <a:gd name="connsiteY1" fmla="*/ 193339 h 193338"/>
                  <a:gd name="connsiteX2" fmla="*/ 18152 w 169375"/>
                  <a:gd name="connsiteY2" fmla="*/ 193339 h 193338"/>
                  <a:gd name="connsiteX3" fmla="*/ 47819 w 169375"/>
                  <a:gd name="connsiteY3" fmla="*/ 125578 h 193338"/>
                  <a:gd name="connsiteX4" fmla="*/ 121602 w 169375"/>
                  <a:gd name="connsiteY4" fmla="*/ 125578 h 193338"/>
                  <a:gd name="connsiteX5" fmla="*/ 151449 w 169375"/>
                  <a:gd name="connsiteY5" fmla="*/ 193339 h 193338"/>
                  <a:gd name="connsiteX6" fmla="*/ 169375 w 169375"/>
                  <a:gd name="connsiteY6" fmla="*/ 193339 h 193338"/>
                  <a:gd name="connsiteX7" fmla="*/ 84665 w 169375"/>
                  <a:gd name="connsiteY7" fmla="*/ 0 h 193338"/>
                  <a:gd name="connsiteX8" fmla="*/ 54953 w 169375"/>
                  <a:gd name="connsiteY8" fmla="*/ 109168 h 193338"/>
                  <a:gd name="connsiteX9" fmla="*/ 84530 w 169375"/>
                  <a:gd name="connsiteY9" fmla="*/ 41498 h 193338"/>
                  <a:gd name="connsiteX10" fmla="*/ 114332 w 169375"/>
                  <a:gd name="connsiteY10" fmla="*/ 109168 h 193338"/>
                  <a:gd name="connsiteX11" fmla="*/ 54908 w 169375"/>
                  <a:gd name="connsiteY11" fmla="*/ 109168 h 193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9375" h="193338">
                    <a:moveTo>
                      <a:pt x="84665" y="0"/>
                    </a:moveTo>
                    <a:lnTo>
                      <a:pt x="0" y="193339"/>
                    </a:lnTo>
                    <a:lnTo>
                      <a:pt x="18152" y="193339"/>
                    </a:lnTo>
                    <a:lnTo>
                      <a:pt x="47819" y="125578"/>
                    </a:lnTo>
                    <a:lnTo>
                      <a:pt x="121602" y="125578"/>
                    </a:lnTo>
                    <a:lnTo>
                      <a:pt x="151449" y="193339"/>
                    </a:lnTo>
                    <a:lnTo>
                      <a:pt x="169375" y="193339"/>
                    </a:lnTo>
                    <a:lnTo>
                      <a:pt x="84665" y="0"/>
                    </a:lnTo>
                    <a:close/>
                    <a:moveTo>
                      <a:pt x="54953" y="109168"/>
                    </a:moveTo>
                    <a:lnTo>
                      <a:pt x="84530" y="41498"/>
                    </a:lnTo>
                    <a:lnTo>
                      <a:pt x="114332" y="109168"/>
                    </a:lnTo>
                    <a:lnTo>
                      <a:pt x="54908" y="109168"/>
                    </a:lnTo>
                    <a:close/>
                  </a:path>
                </a:pathLst>
              </a:custGeom>
              <a:solidFill>
                <a:srgbClr val="28509C"/>
              </a:solidFill>
              <a:ln w="4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xmlns="" id="{AE326681-E464-2C61-D076-C627FFB1B2C4}"/>
                  </a:ext>
                </a:extLst>
              </p:cNvPr>
              <p:cNvSpPr/>
              <p:nvPr/>
            </p:nvSpPr>
            <p:spPr>
              <a:xfrm>
                <a:off x="11665358" y="6278959"/>
                <a:ext cx="16391" cy="189270"/>
              </a:xfrm>
              <a:custGeom>
                <a:avLst/>
                <a:gdLst>
                  <a:gd name="connsiteX0" fmla="*/ 0 w 16391"/>
                  <a:gd name="connsiteY0" fmla="*/ 0 h 189270"/>
                  <a:gd name="connsiteX1" fmla="*/ 16391 w 16391"/>
                  <a:gd name="connsiteY1" fmla="*/ 0 h 189270"/>
                  <a:gd name="connsiteX2" fmla="*/ 16391 w 16391"/>
                  <a:gd name="connsiteY2" fmla="*/ 189270 h 189270"/>
                  <a:gd name="connsiteX3" fmla="*/ 0 w 16391"/>
                  <a:gd name="connsiteY3" fmla="*/ 189270 h 189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391" h="189270">
                    <a:moveTo>
                      <a:pt x="0" y="0"/>
                    </a:moveTo>
                    <a:lnTo>
                      <a:pt x="16391" y="0"/>
                    </a:lnTo>
                    <a:lnTo>
                      <a:pt x="16391" y="189270"/>
                    </a:lnTo>
                    <a:lnTo>
                      <a:pt x="0" y="189270"/>
                    </a:lnTo>
                    <a:close/>
                  </a:path>
                </a:pathLst>
              </a:custGeom>
              <a:solidFill>
                <a:srgbClr val="28509C"/>
              </a:solidFill>
              <a:ln w="4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A98EF29C-6578-DD38-2C1D-485D0B0DA84A}"/>
                  </a:ext>
                </a:extLst>
              </p:cNvPr>
              <p:cNvSpPr/>
              <p:nvPr/>
            </p:nvSpPr>
            <p:spPr>
              <a:xfrm>
                <a:off x="11064892" y="6275252"/>
                <a:ext cx="173574" cy="192977"/>
              </a:xfrm>
              <a:custGeom>
                <a:avLst/>
                <a:gdLst>
                  <a:gd name="connsiteX0" fmla="*/ 86381 w 173574"/>
                  <a:gd name="connsiteY0" fmla="*/ 87244 h 192977"/>
                  <a:gd name="connsiteX1" fmla="*/ 0 w 173574"/>
                  <a:gd name="connsiteY1" fmla="*/ 90 h 192977"/>
                  <a:gd name="connsiteX2" fmla="*/ 90 w 173574"/>
                  <a:gd name="connsiteY2" fmla="*/ 192977 h 192977"/>
                  <a:gd name="connsiteX3" fmla="*/ 16481 w 173574"/>
                  <a:gd name="connsiteY3" fmla="*/ 192977 h 192977"/>
                  <a:gd name="connsiteX4" fmla="*/ 16481 w 173574"/>
                  <a:gd name="connsiteY4" fmla="*/ 40096 h 192977"/>
                  <a:gd name="connsiteX5" fmla="*/ 86200 w 173574"/>
                  <a:gd name="connsiteY5" fmla="*/ 110705 h 192977"/>
                  <a:gd name="connsiteX6" fmla="*/ 157183 w 173574"/>
                  <a:gd name="connsiteY6" fmla="*/ 39735 h 192977"/>
                  <a:gd name="connsiteX7" fmla="*/ 157183 w 173574"/>
                  <a:gd name="connsiteY7" fmla="*/ 192977 h 192977"/>
                  <a:gd name="connsiteX8" fmla="*/ 173575 w 173574"/>
                  <a:gd name="connsiteY8" fmla="*/ 192977 h 192977"/>
                  <a:gd name="connsiteX9" fmla="*/ 173575 w 173574"/>
                  <a:gd name="connsiteY9" fmla="*/ 0 h 192977"/>
                  <a:gd name="connsiteX10" fmla="*/ 86381 w 173574"/>
                  <a:gd name="connsiteY10" fmla="*/ 87244 h 192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3574" h="192977">
                    <a:moveTo>
                      <a:pt x="86381" y="87244"/>
                    </a:moveTo>
                    <a:lnTo>
                      <a:pt x="0" y="90"/>
                    </a:lnTo>
                    <a:lnTo>
                      <a:pt x="90" y="192977"/>
                    </a:lnTo>
                    <a:lnTo>
                      <a:pt x="16481" y="192977"/>
                    </a:lnTo>
                    <a:lnTo>
                      <a:pt x="16481" y="40096"/>
                    </a:lnTo>
                    <a:lnTo>
                      <a:pt x="86200" y="110705"/>
                    </a:lnTo>
                    <a:lnTo>
                      <a:pt x="157183" y="39735"/>
                    </a:lnTo>
                    <a:lnTo>
                      <a:pt x="157183" y="192977"/>
                    </a:lnTo>
                    <a:lnTo>
                      <a:pt x="173575" y="192977"/>
                    </a:lnTo>
                    <a:lnTo>
                      <a:pt x="173575" y="0"/>
                    </a:lnTo>
                    <a:lnTo>
                      <a:pt x="86381" y="87244"/>
                    </a:lnTo>
                    <a:close/>
                  </a:path>
                </a:pathLst>
              </a:custGeom>
              <a:solidFill>
                <a:srgbClr val="28509C"/>
              </a:solidFill>
              <a:ln w="4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xmlns="" id="{6E60E823-3AA6-584D-48A2-4C031858DCB4}"/>
                  </a:ext>
                </a:extLst>
              </p:cNvPr>
              <p:cNvSpPr/>
              <p:nvPr/>
            </p:nvSpPr>
            <p:spPr>
              <a:xfrm>
                <a:off x="11748849" y="6275749"/>
                <a:ext cx="143095" cy="196548"/>
              </a:xfrm>
              <a:custGeom>
                <a:avLst/>
                <a:gdLst>
                  <a:gd name="connsiteX0" fmla="*/ 126659 w 143095"/>
                  <a:gd name="connsiteY0" fmla="*/ 3210 h 196548"/>
                  <a:gd name="connsiteX1" fmla="*/ 126659 w 143095"/>
                  <a:gd name="connsiteY1" fmla="*/ 150621 h 196548"/>
                  <a:gd name="connsiteX2" fmla="*/ 0 w 143095"/>
                  <a:gd name="connsiteY2" fmla="*/ 0 h 196548"/>
                  <a:gd name="connsiteX3" fmla="*/ 0 w 143095"/>
                  <a:gd name="connsiteY3" fmla="*/ 26219 h 196548"/>
                  <a:gd name="connsiteX4" fmla="*/ 0 w 143095"/>
                  <a:gd name="connsiteY4" fmla="*/ 192480 h 196548"/>
                  <a:gd name="connsiteX5" fmla="*/ 16391 w 143095"/>
                  <a:gd name="connsiteY5" fmla="*/ 192480 h 196548"/>
                  <a:gd name="connsiteX6" fmla="*/ 16391 w 143095"/>
                  <a:gd name="connsiteY6" fmla="*/ 45747 h 196548"/>
                  <a:gd name="connsiteX7" fmla="*/ 143095 w 143095"/>
                  <a:gd name="connsiteY7" fmla="*/ 196548 h 196548"/>
                  <a:gd name="connsiteX8" fmla="*/ 143095 w 143095"/>
                  <a:gd name="connsiteY8" fmla="*/ 3210 h 196548"/>
                  <a:gd name="connsiteX9" fmla="*/ 126659 w 143095"/>
                  <a:gd name="connsiteY9" fmla="*/ 3210 h 19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095" h="196548">
                    <a:moveTo>
                      <a:pt x="126659" y="3210"/>
                    </a:moveTo>
                    <a:lnTo>
                      <a:pt x="126659" y="150621"/>
                    </a:lnTo>
                    <a:lnTo>
                      <a:pt x="0" y="0"/>
                    </a:lnTo>
                    <a:lnTo>
                      <a:pt x="0" y="26219"/>
                    </a:lnTo>
                    <a:lnTo>
                      <a:pt x="0" y="192480"/>
                    </a:lnTo>
                    <a:lnTo>
                      <a:pt x="16391" y="192480"/>
                    </a:lnTo>
                    <a:lnTo>
                      <a:pt x="16391" y="45747"/>
                    </a:lnTo>
                    <a:lnTo>
                      <a:pt x="143095" y="196548"/>
                    </a:lnTo>
                    <a:lnTo>
                      <a:pt x="143095" y="3210"/>
                    </a:lnTo>
                    <a:lnTo>
                      <a:pt x="126659" y="3210"/>
                    </a:lnTo>
                    <a:close/>
                  </a:path>
                </a:pathLst>
              </a:custGeom>
              <a:solidFill>
                <a:srgbClr val="28509C"/>
              </a:solidFill>
              <a:ln w="4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9E9B3C67-DD4A-46FF-86F3-11C41AC171EE}"/>
                  </a:ext>
                </a:extLst>
              </p:cNvPr>
              <p:cNvSpPr/>
              <p:nvPr/>
            </p:nvSpPr>
            <p:spPr>
              <a:xfrm>
                <a:off x="11477921" y="6279094"/>
                <a:ext cx="137315" cy="189225"/>
              </a:xfrm>
              <a:custGeom>
                <a:avLst/>
                <a:gdLst>
                  <a:gd name="connsiteX0" fmla="*/ 118802 w 137315"/>
                  <a:gd name="connsiteY0" fmla="*/ 189225 h 189225"/>
                  <a:gd name="connsiteX1" fmla="*/ 137315 w 137315"/>
                  <a:gd name="connsiteY1" fmla="*/ 189225 h 189225"/>
                  <a:gd name="connsiteX2" fmla="*/ 91980 w 137315"/>
                  <a:gd name="connsiteY2" fmla="*/ 100625 h 189225"/>
                  <a:gd name="connsiteX3" fmla="*/ 129368 w 137315"/>
                  <a:gd name="connsiteY3" fmla="*/ 56099 h 189225"/>
                  <a:gd name="connsiteX4" fmla="*/ 129413 w 137315"/>
                  <a:gd name="connsiteY4" fmla="*/ 56099 h 189225"/>
                  <a:gd name="connsiteX5" fmla="*/ 129413 w 137315"/>
                  <a:gd name="connsiteY5" fmla="*/ 55059 h 189225"/>
                  <a:gd name="connsiteX6" fmla="*/ 129594 w 137315"/>
                  <a:gd name="connsiteY6" fmla="*/ 52030 h 189225"/>
                  <a:gd name="connsiteX7" fmla="*/ 129413 w 137315"/>
                  <a:gd name="connsiteY7" fmla="*/ 52030 h 189225"/>
                  <a:gd name="connsiteX8" fmla="*/ 129413 w 137315"/>
                  <a:gd name="connsiteY8" fmla="*/ 50267 h 189225"/>
                  <a:gd name="connsiteX9" fmla="*/ 129594 w 137315"/>
                  <a:gd name="connsiteY9" fmla="*/ 50267 h 189225"/>
                  <a:gd name="connsiteX10" fmla="*/ 129413 w 137315"/>
                  <a:gd name="connsiteY10" fmla="*/ 47193 h 189225"/>
                  <a:gd name="connsiteX11" fmla="*/ 129413 w 137315"/>
                  <a:gd name="connsiteY11" fmla="*/ 47193 h 189225"/>
                  <a:gd name="connsiteX12" fmla="*/ 79382 w 137315"/>
                  <a:gd name="connsiteY12" fmla="*/ 0 h 189225"/>
                  <a:gd name="connsiteX13" fmla="*/ 0 w 137315"/>
                  <a:gd name="connsiteY13" fmla="*/ 0 h 189225"/>
                  <a:gd name="connsiteX14" fmla="*/ 0 w 137315"/>
                  <a:gd name="connsiteY14" fmla="*/ 189180 h 189225"/>
                  <a:gd name="connsiteX15" fmla="*/ 16391 w 137315"/>
                  <a:gd name="connsiteY15" fmla="*/ 189180 h 189225"/>
                  <a:gd name="connsiteX16" fmla="*/ 16391 w 137315"/>
                  <a:gd name="connsiteY16" fmla="*/ 102207 h 189225"/>
                  <a:gd name="connsiteX17" fmla="*/ 74234 w 137315"/>
                  <a:gd name="connsiteY17" fmla="*/ 102207 h 189225"/>
                  <a:gd name="connsiteX18" fmla="*/ 118802 w 137315"/>
                  <a:gd name="connsiteY18" fmla="*/ 189225 h 189225"/>
                  <a:gd name="connsiteX19" fmla="*/ 16391 w 137315"/>
                  <a:gd name="connsiteY19" fmla="*/ 16454 h 189225"/>
                  <a:gd name="connsiteX20" fmla="*/ 79382 w 137315"/>
                  <a:gd name="connsiteY20" fmla="*/ 16454 h 189225"/>
                  <a:gd name="connsiteX21" fmla="*/ 113022 w 137315"/>
                  <a:gd name="connsiteY21" fmla="*/ 49544 h 189225"/>
                  <a:gd name="connsiteX22" fmla="*/ 113022 w 137315"/>
                  <a:gd name="connsiteY22" fmla="*/ 52663 h 189225"/>
                  <a:gd name="connsiteX23" fmla="*/ 79382 w 137315"/>
                  <a:gd name="connsiteY23" fmla="*/ 85707 h 189225"/>
                  <a:gd name="connsiteX24" fmla="*/ 79382 w 137315"/>
                  <a:gd name="connsiteY24" fmla="*/ 85707 h 189225"/>
                  <a:gd name="connsiteX25" fmla="*/ 16391 w 137315"/>
                  <a:gd name="connsiteY25" fmla="*/ 85753 h 189225"/>
                  <a:gd name="connsiteX26" fmla="*/ 16391 w 137315"/>
                  <a:gd name="connsiteY26" fmla="*/ 16454 h 189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7315" h="189225">
                    <a:moveTo>
                      <a:pt x="118802" y="189225"/>
                    </a:moveTo>
                    <a:lnTo>
                      <a:pt x="137315" y="189225"/>
                    </a:lnTo>
                    <a:cubicBezTo>
                      <a:pt x="137315" y="189225"/>
                      <a:pt x="91980" y="100625"/>
                      <a:pt x="91980" y="100625"/>
                    </a:cubicBezTo>
                    <a:cubicBezTo>
                      <a:pt x="112300" y="95336"/>
                      <a:pt x="127652" y="77661"/>
                      <a:pt x="129368" y="56099"/>
                    </a:cubicBezTo>
                    <a:lnTo>
                      <a:pt x="129413" y="56099"/>
                    </a:lnTo>
                    <a:lnTo>
                      <a:pt x="129413" y="55059"/>
                    </a:lnTo>
                    <a:cubicBezTo>
                      <a:pt x="129458" y="54064"/>
                      <a:pt x="129594" y="53025"/>
                      <a:pt x="129594" y="52030"/>
                    </a:cubicBezTo>
                    <a:lnTo>
                      <a:pt x="129413" y="52030"/>
                    </a:lnTo>
                    <a:lnTo>
                      <a:pt x="129413" y="50267"/>
                    </a:lnTo>
                    <a:lnTo>
                      <a:pt x="129594" y="50267"/>
                    </a:lnTo>
                    <a:cubicBezTo>
                      <a:pt x="129594" y="49228"/>
                      <a:pt x="129504" y="48233"/>
                      <a:pt x="129413" y="47193"/>
                    </a:cubicBezTo>
                    <a:lnTo>
                      <a:pt x="129413" y="47193"/>
                    </a:lnTo>
                    <a:cubicBezTo>
                      <a:pt x="127788" y="20839"/>
                      <a:pt x="106068" y="0"/>
                      <a:pt x="79382" y="0"/>
                    </a:cubicBezTo>
                    <a:lnTo>
                      <a:pt x="0" y="0"/>
                    </a:lnTo>
                    <a:lnTo>
                      <a:pt x="0" y="189180"/>
                    </a:lnTo>
                    <a:lnTo>
                      <a:pt x="16391" y="189180"/>
                    </a:lnTo>
                    <a:lnTo>
                      <a:pt x="16391" y="102207"/>
                    </a:lnTo>
                    <a:lnTo>
                      <a:pt x="74234" y="102207"/>
                    </a:lnTo>
                    <a:lnTo>
                      <a:pt x="118802" y="189225"/>
                    </a:lnTo>
                    <a:close/>
                    <a:moveTo>
                      <a:pt x="16391" y="16454"/>
                    </a:moveTo>
                    <a:lnTo>
                      <a:pt x="79382" y="16454"/>
                    </a:lnTo>
                    <a:cubicBezTo>
                      <a:pt x="97760" y="16454"/>
                      <a:pt x="112661" y="31236"/>
                      <a:pt x="113022" y="49544"/>
                    </a:cubicBezTo>
                    <a:lnTo>
                      <a:pt x="113022" y="52663"/>
                    </a:lnTo>
                    <a:cubicBezTo>
                      <a:pt x="112661" y="70971"/>
                      <a:pt x="97760" y="85707"/>
                      <a:pt x="79382" y="85707"/>
                    </a:cubicBezTo>
                    <a:lnTo>
                      <a:pt x="79382" y="85707"/>
                    </a:lnTo>
                    <a:cubicBezTo>
                      <a:pt x="79382" y="85707"/>
                      <a:pt x="16391" y="85753"/>
                      <a:pt x="16391" y="85753"/>
                    </a:cubicBezTo>
                    <a:lnTo>
                      <a:pt x="16391" y="16454"/>
                    </a:lnTo>
                    <a:close/>
                  </a:path>
                </a:pathLst>
              </a:custGeom>
              <a:solidFill>
                <a:srgbClr val="28509C"/>
              </a:solidFill>
              <a:ln w="4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xmlns="" id="{8A375038-095E-BBDE-FED6-2077DF2E9A8F}"/>
                  </a:ext>
                </a:extLst>
              </p:cNvPr>
              <p:cNvSpPr/>
              <p:nvPr/>
            </p:nvSpPr>
            <p:spPr>
              <a:xfrm>
                <a:off x="10575235" y="6279004"/>
                <a:ext cx="133522" cy="189270"/>
              </a:xfrm>
              <a:custGeom>
                <a:avLst/>
                <a:gdLst>
                  <a:gd name="connsiteX0" fmla="*/ 133342 w 133522"/>
                  <a:gd name="connsiteY0" fmla="*/ 133443 h 189270"/>
                  <a:gd name="connsiteX1" fmla="*/ 126298 w 133522"/>
                  <a:gd name="connsiteY1" fmla="*/ 108762 h 189270"/>
                  <a:gd name="connsiteX2" fmla="*/ 109274 w 133522"/>
                  <a:gd name="connsiteY2" fmla="*/ 92398 h 189270"/>
                  <a:gd name="connsiteX3" fmla="*/ 129323 w 133522"/>
                  <a:gd name="connsiteY3" fmla="*/ 56144 h 189270"/>
                  <a:gd name="connsiteX4" fmla="*/ 129368 w 133522"/>
                  <a:gd name="connsiteY4" fmla="*/ 56144 h 189270"/>
                  <a:gd name="connsiteX5" fmla="*/ 129368 w 133522"/>
                  <a:gd name="connsiteY5" fmla="*/ 55104 h 189270"/>
                  <a:gd name="connsiteX6" fmla="*/ 129504 w 133522"/>
                  <a:gd name="connsiteY6" fmla="*/ 52075 h 189270"/>
                  <a:gd name="connsiteX7" fmla="*/ 129368 w 133522"/>
                  <a:gd name="connsiteY7" fmla="*/ 52075 h 189270"/>
                  <a:gd name="connsiteX8" fmla="*/ 129368 w 133522"/>
                  <a:gd name="connsiteY8" fmla="*/ 50312 h 189270"/>
                  <a:gd name="connsiteX9" fmla="*/ 129504 w 133522"/>
                  <a:gd name="connsiteY9" fmla="*/ 50312 h 189270"/>
                  <a:gd name="connsiteX10" fmla="*/ 129368 w 133522"/>
                  <a:gd name="connsiteY10" fmla="*/ 47239 h 189270"/>
                  <a:gd name="connsiteX11" fmla="*/ 129368 w 133522"/>
                  <a:gd name="connsiteY11" fmla="*/ 47239 h 189270"/>
                  <a:gd name="connsiteX12" fmla="*/ 129368 w 133522"/>
                  <a:gd name="connsiteY12" fmla="*/ 47193 h 189270"/>
                  <a:gd name="connsiteX13" fmla="*/ 79292 w 133522"/>
                  <a:gd name="connsiteY13" fmla="*/ 45 h 189270"/>
                  <a:gd name="connsiteX14" fmla="*/ 79292 w 133522"/>
                  <a:gd name="connsiteY14" fmla="*/ 136 h 189270"/>
                  <a:gd name="connsiteX15" fmla="*/ 0 w 133522"/>
                  <a:gd name="connsiteY15" fmla="*/ 0 h 189270"/>
                  <a:gd name="connsiteX16" fmla="*/ 0 w 133522"/>
                  <a:gd name="connsiteY16" fmla="*/ 189270 h 189270"/>
                  <a:gd name="connsiteX17" fmla="*/ 82407 w 133522"/>
                  <a:gd name="connsiteY17" fmla="*/ 189270 h 189270"/>
                  <a:gd name="connsiteX18" fmla="*/ 133432 w 133522"/>
                  <a:gd name="connsiteY18" fmla="*/ 138913 h 189270"/>
                  <a:gd name="connsiteX19" fmla="*/ 133522 w 133522"/>
                  <a:gd name="connsiteY19" fmla="*/ 138913 h 189270"/>
                  <a:gd name="connsiteX20" fmla="*/ 133522 w 133522"/>
                  <a:gd name="connsiteY20" fmla="*/ 133443 h 189270"/>
                  <a:gd name="connsiteX21" fmla="*/ 133432 w 133522"/>
                  <a:gd name="connsiteY21" fmla="*/ 133443 h 189270"/>
                  <a:gd name="connsiteX22" fmla="*/ 79337 w 133522"/>
                  <a:gd name="connsiteY22" fmla="*/ 16545 h 189270"/>
                  <a:gd name="connsiteX23" fmla="*/ 79337 w 133522"/>
                  <a:gd name="connsiteY23" fmla="*/ 16545 h 189270"/>
                  <a:gd name="connsiteX24" fmla="*/ 113022 w 133522"/>
                  <a:gd name="connsiteY24" fmla="*/ 49725 h 189270"/>
                  <a:gd name="connsiteX25" fmla="*/ 113022 w 133522"/>
                  <a:gd name="connsiteY25" fmla="*/ 52663 h 189270"/>
                  <a:gd name="connsiteX26" fmla="*/ 79337 w 133522"/>
                  <a:gd name="connsiteY26" fmla="*/ 85933 h 189270"/>
                  <a:gd name="connsiteX27" fmla="*/ 16391 w 133522"/>
                  <a:gd name="connsiteY27" fmla="*/ 85933 h 189270"/>
                  <a:gd name="connsiteX28" fmla="*/ 16391 w 133522"/>
                  <a:gd name="connsiteY28" fmla="*/ 16545 h 189270"/>
                  <a:gd name="connsiteX29" fmla="*/ 79337 w 133522"/>
                  <a:gd name="connsiteY29" fmla="*/ 16545 h 189270"/>
                  <a:gd name="connsiteX30" fmla="*/ 117041 w 133522"/>
                  <a:gd name="connsiteY30" fmla="*/ 138054 h 189270"/>
                  <a:gd name="connsiteX31" fmla="*/ 116905 w 133522"/>
                  <a:gd name="connsiteY31" fmla="*/ 138054 h 189270"/>
                  <a:gd name="connsiteX32" fmla="*/ 82091 w 133522"/>
                  <a:gd name="connsiteY32" fmla="*/ 172907 h 189270"/>
                  <a:gd name="connsiteX33" fmla="*/ 82091 w 133522"/>
                  <a:gd name="connsiteY33" fmla="*/ 172907 h 189270"/>
                  <a:gd name="connsiteX34" fmla="*/ 16391 w 133522"/>
                  <a:gd name="connsiteY34" fmla="*/ 172907 h 189270"/>
                  <a:gd name="connsiteX35" fmla="*/ 16391 w 133522"/>
                  <a:gd name="connsiteY35" fmla="*/ 102433 h 189270"/>
                  <a:gd name="connsiteX36" fmla="*/ 84394 w 133522"/>
                  <a:gd name="connsiteY36" fmla="*/ 102704 h 189270"/>
                  <a:gd name="connsiteX37" fmla="*/ 84394 w 133522"/>
                  <a:gd name="connsiteY37" fmla="*/ 102704 h 189270"/>
                  <a:gd name="connsiteX38" fmla="*/ 112525 w 133522"/>
                  <a:gd name="connsiteY38" fmla="*/ 117848 h 189270"/>
                  <a:gd name="connsiteX39" fmla="*/ 116951 w 133522"/>
                  <a:gd name="connsiteY39" fmla="*/ 134709 h 189270"/>
                  <a:gd name="connsiteX40" fmla="*/ 117086 w 133522"/>
                  <a:gd name="connsiteY40" fmla="*/ 134709 h 189270"/>
                  <a:gd name="connsiteX41" fmla="*/ 117086 w 133522"/>
                  <a:gd name="connsiteY41" fmla="*/ 138054 h 189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33522" h="189270">
                    <a:moveTo>
                      <a:pt x="133342" y="133443"/>
                    </a:moveTo>
                    <a:cubicBezTo>
                      <a:pt x="133116" y="124267"/>
                      <a:pt x="130813" y="116085"/>
                      <a:pt x="126298" y="108762"/>
                    </a:cubicBezTo>
                    <a:cubicBezTo>
                      <a:pt x="121963" y="101845"/>
                      <a:pt x="116138" y="96285"/>
                      <a:pt x="109274" y="92398"/>
                    </a:cubicBezTo>
                    <a:cubicBezTo>
                      <a:pt x="120518" y="83990"/>
                      <a:pt x="128149" y="70971"/>
                      <a:pt x="129323" y="56144"/>
                    </a:cubicBezTo>
                    <a:lnTo>
                      <a:pt x="129368" y="56144"/>
                    </a:lnTo>
                    <a:lnTo>
                      <a:pt x="129368" y="55104"/>
                    </a:lnTo>
                    <a:cubicBezTo>
                      <a:pt x="129413" y="54110"/>
                      <a:pt x="129504" y="53070"/>
                      <a:pt x="129504" y="52075"/>
                    </a:cubicBezTo>
                    <a:lnTo>
                      <a:pt x="129368" y="52075"/>
                    </a:lnTo>
                    <a:lnTo>
                      <a:pt x="129368" y="50312"/>
                    </a:lnTo>
                    <a:lnTo>
                      <a:pt x="129504" y="50312"/>
                    </a:lnTo>
                    <a:cubicBezTo>
                      <a:pt x="129504" y="49273"/>
                      <a:pt x="129413" y="48278"/>
                      <a:pt x="129368" y="47239"/>
                    </a:cubicBezTo>
                    <a:lnTo>
                      <a:pt x="129368" y="47239"/>
                    </a:lnTo>
                    <a:cubicBezTo>
                      <a:pt x="129368" y="47239"/>
                      <a:pt x="129368" y="47193"/>
                      <a:pt x="129368" y="47193"/>
                    </a:cubicBezTo>
                    <a:cubicBezTo>
                      <a:pt x="127743" y="20884"/>
                      <a:pt x="105978" y="45"/>
                      <a:pt x="79292" y="45"/>
                    </a:cubicBezTo>
                    <a:lnTo>
                      <a:pt x="79292" y="136"/>
                    </a:lnTo>
                    <a:lnTo>
                      <a:pt x="0" y="0"/>
                    </a:lnTo>
                    <a:lnTo>
                      <a:pt x="0" y="189270"/>
                    </a:lnTo>
                    <a:lnTo>
                      <a:pt x="82407" y="189270"/>
                    </a:lnTo>
                    <a:cubicBezTo>
                      <a:pt x="110268" y="189090"/>
                      <a:pt x="132845" y="166714"/>
                      <a:pt x="133432" y="138913"/>
                    </a:cubicBezTo>
                    <a:lnTo>
                      <a:pt x="133522" y="138913"/>
                    </a:lnTo>
                    <a:lnTo>
                      <a:pt x="133522" y="133443"/>
                    </a:lnTo>
                    <a:lnTo>
                      <a:pt x="133432" y="133443"/>
                    </a:lnTo>
                    <a:close/>
                    <a:moveTo>
                      <a:pt x="79337" y="16545"/>
                    </a:moveTo>
                    <a:lnTo>
                      <a:pt x="79337" y="16545"/>
                    </a:lnTo>
                    <a:cubicBezTo>
                      <a:pt x="97760" y="16545"/>
                      <a:pt x="112706" y="31372"/>
                      <a:pt x="113022" y="49725"/>
                    </a:cubicBezTo>
                    <a:lnTo>
                      <a:pt x="113022" y="52663"/>
                    </a:lnTo>
                    <a:cubicBezTo>
                      <a:pt x="112706" y="71016"/>
                      <a:pt x="97760" y="85933"/>
                      <a:pt x="79337" y="85933"/>
                    </a:cubicBezTo>
                    <a:lnTo>
                      <a:pt x="16391" y="85933"/>
                    </a:lnTo>
                    <a:lnTo>
                      <a:pt x="16391" y="16545"/>
                    </a:lnTo>
                    <a:lnTo>
                      <a:pt x="79337" y="16545"/>
                    </a:lnTo>
                    <a:close/>
                    <a:moveTo>
                      <a:pt x="117041" y="138054"/>
                    </a:moveTo>
                    <a:lnTo>
                      <a:pt x="116905" y="138054"/>
                    </a:lnTo>
                    <a:cubicBezTo>
                      <a:pt x="116905" y="157311"/>
                      <a:pt x="101327" y="172907"/>
                      <a:pt x="82091" y="172907"/>
                    </a:cubicBezTo>
                    <a:lnTo>
                      <a:pt x="82091" y="172907"/>
                    </a:lnTo>
                    <a:cubicBezTo>
                      <a:pt x="82091" y="172907"/>
                      <a:pt x="16391" y="172907"/>
                      <a:pt x="16391" y="172907"/>
                    </a:cubicBezTo>
                    <a:lnTo>
                      <a:pt x="16391" y="102433"/>
                    </a:lnTo>
                    <a:lnTo>
                      <a:pt x="84394" y="102704"/>
                    </a:lnTo>
                    <a:lnTo>
                      <a:pt x="84394" y="102704"/>
                    </a:lnTo>
                    <a:cubicBezTo>
                      <a:pt x="96225" y="102704"/>
                      <a:pt x="106520" y="108536"/>
                      <a:pt x="112525" y="117848"/>
                    </a:cubicBezTo>
                    <a:cubicBezTo>
                      <a:pt x="115054" y="123137"/>
                      <a:pt x="116951" y="128471"/>
                      <a:pt x="116951" y="134709"/>
                    </a:cubicBezTo>
                    <a:lnTo>
                      <a:pt x="117086" y="134709"/>
                    </a:lnTo>
                    <a:lnTo>
                      <a:pt x="117086" y="138054"/>
                    </a:lnTo>
                    <a:close/>
                  </a:path>
                </a:pathLst>
              </a:custGeom>
              <a:solidFill>
                <a:srgbClr val="28509C"/>
              </a:solidFill>
              <a:ln w="4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9CEA05AF-1DF9-6FD3-7A0C-0AB7A01F84EA}"/>
                  </a:ext>
                </a:extLst>
              </p:cNvPr>
              <p:cNvSpPr/>
              <p:nvPr/>
            </p:nvSpPr>
            <p:spPr>
              <a:xfrm>
                <a:off x="10828507" y="6275749"/>
                <a:ext cx="195519" cy="195644"/>
              </a:xfrm>
              <a:custGeom>
                <a:avLst/>
                <a:gdLst>
                  <a:gd name="connsiteX0" fmla="*/ 858 w 195519"/>
                  <a:gd name="connsiteY0" fmla="*/ 110118 h 195644"/>
                  <a:gd name="connsiteX1" fmla="*/ 97805 w 195519"/>
                  <a:gd name="connsiteY1" fmla="*/ 195644 h 195644"/>
                  <a:gd name="connsiteX2" fmla="*/ 194752 w 195519"/>
                  <a:gd name="connsiteY2" fmla="*/ 110073 h 195644"/>
                  <a:gd name="connsiteX3" fmla="*/ 195520 w 195519"/>
                  <a:gd name="connsiteY3" fmla="*/ 98139 h 195644"/>
                  <a:gd name="connsiteX4" fmla="*/ 194978 w 195519"/>
                  <a:gd name="connsiteY4" fmla="*/ 87470 h 195644"/>
                  <a:gd name="connsiteX5" fmla="*/ 97805 w 195519"/>
                  <a:gd name="connsiteY5" fmla="*/ 0 h 195644"/>
                  <a:gd name="connsiteX6" fmla="*/ 632 w 195519"/>
                  <a:gd name="connsiteY6" fmla="*/ 87470 h 195644"/>
                  <a:gd name="connsiteX7" fmla="*/ 542 w 195519"/>
                  <a:gd name="connsiteY7" fmla="*/ 87470 h 195644"/>
                  <a:gd name="connsiteX8" fmla="*/ 0 w 195519"/>
                  <a:gd name="connsiteY8" fmla="*/ 98139 h 195644"/>
                  <a:gd name="connsiteX9" fmla="*/ 768 w 195519"/>
                  <a:gd name="connsiteY9" fmla="*/ 110073 h 195644"/>
                  <a:gd name="connsiteX10" fmla="*/ 97805 w 195519"/>
                  <a:gd name="connsiteY10" fmla="*/ 179009 h 195644"/>
                  <a:gd name="connsiteX11" fmla="*/ 17610 w 195519"/>
                  <a:gd name="connsiteY11" fmla="*/ 110118 h 195644"/>
                  <a:gd name="connsiteX12" fmla="*/ 17520 w 195519"/>
                  <a:gd name="connsiteY12" fmla="*/ 110118 h 195644"/>
                  <a:gd name="connsiteX13" fmla="*/ 16617 w 195519"/>
                  <a:gd name="connsiteY13" fmla="*/ 98139 h 195644"/>
                  <a:gd name="connsiteX14" fmla="*/ 17249 w 195519"/>
                  <a:gd name="connsiteY14" fmla="*/ 87787 h 195644"/>
                  <a:gd name="connsiteX15" fmla="*/ 17294 w 195519"/>
                  <a:gd name="connsiteY15" fmla="*/ 87787 h 195644"/>
                  <a:gd name="connsiteX16" fmla="*/ 97760 w 195519"/>
                  <a:gd name="connsiteY16" fmla="*/ 16635 h 195644"/>
                  <a:gd name="connsiteX17" fmla="*/ 178180 w 195519"/>
                  <a:gd name="connsiteY17" fmla="*/ 87651 h 195644"/>
                  <a:gd name="connsiteX18" fmla="*/ 178858 w 195519"/>
                  <a:gd name="connsiteY18" fmla="*/ 98184 h 195644"/>
                  <a:gd name="connsiteX19" fmla="*/ 177954 w 195519"/>
                  <a:gd name="connsiteY19" fmla="*/ 110299 h 195644"/>
                  <a:gd name="connsiteX20" fmla="*/ 97760 w 195519"/>
                  <a:gd name="connsiteY20" fmla="*/ 179054 h 195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95519" h="195644">
                    <a:moveTo>
                      <a:pt x="858" y="110118"/>
                    </a:moveTo>
                    <a:cubicBezTo>
                      <a:pt x="6909" y="158351"/>
                      <a:pt x="47999" y="195644"/>
                      <a:pt x="97805" y="195644"/>
                    </a:cubicBezTo>
                    <a:cubicBezTo>
                      <a:pt x="147611" y="195644"/>
                      <a:pt x="188701" y="158306"/>
                      <a:pt x="194752" y="110073"/>
                    </a:cubicBezTo>
                    <a:cubicBezTo>
                      <a:pt x="195204" y="106185"/>
                      <a:pt x="195520" y="102162"/>
                      <a:pt x="195520" y="98139"/>
                    </a:cubicBezTo>
                    <a:cubicBezTo>
                      <a:pt x="195520" y="94432"/>
                      <a:pt x="195384" y="91087"/>
                      <a:pt x="194978" y="87470"/>
                    </a:cubicBezTo>
                    <a:cubicBezTo>
                      <a:pt x="189920" y="38152"/>
                      <a:pt x="148378" y="0"/>
                      <a:pt x="97805" y="0"/>
                    </a:cubicBezTo>
                    <a:cubicBezTo>
                      <a:pt x="47232" y="0"/>
                      <a:pt x="5780" y="38333"/>
                      <a:pt x="632" y="87470"/>
                    </a:cubicBezTo>
                    <a:lnTo>
                      <a:pt x="542" y="87470"/>
                    </a:lnTo>
                    <a:cubicBezTo>
                      <a:pt x="135" y="91087"/>
                      <a:pt x="0" y="94432"/>
                      <a:pt x="0" y="98139"/>
                    </a:cubicBezTo>
                    <a:cubicBezTo>
                      <a:pt x="0" y="102162"/>
                      <a:pt x="271" y="106185"/>
                      <a:pt x="768" y="110073"/>
                    </a:cubicBezTo>
                    <a:moveTo>
                      <a:pt x="97805" y="179009"/>
                    </a:moveTo>
                    <a:cubicBezTo>
                      <a:pt x="57166" y="179009"/>
                      <a:pt x="23526" y="149129"/>
                      <a:pt x="17610" y="110118"/>
                    </a:cubicBezTo>
                    <a:lnTo>
                      <a:pt x="17520" y="110118"/>
                    </a:lnTo>
                    <a:cubicBezTo>
                      <a:pt x="16933" y="106185"/>
                      <a:pt x="16617" y="102252"/>
                      <a:pt x="16617" y="98139"/>
                    </a:cubicBezTo>
                    <a:cubicBezTo>
                      <a:pt x="16617" y="94567"/>
                      <a:pt x="16798" y="91222"/>
                      <a:pt x="17249" y="87787"/>
                    </a:cubicBezTo>
                    <a:lnTo>
                      <a:pt x="17294" y="87787"/>
                    </a:lnTo>
                    <a:cubicBezTo>
                      <a:pt x="22216" y="47691"/>
                      <a:pt x="56353" y="16635"/>
                      <a:pt x="97760" y="16635"/>
                    </a:cubicBezTo>
                    <a:cubicBezTo>
                      <a:pt x="139167" y="16635"/>
                      <a:pt x="173258" y="47510"/>
                      <a:pt x="178180" y="87651"/>
                    </a:cubicBezTo>
                    <a:cubicBezTo>
                      <a:pt x="178632" y="91177"/>
                      <a:pt x="178858" y="94567"/>
                      <a:pt x="178858" y="98184"/>
                    </a:cubicBezTo>
                    <a:cubicBezTo>
                      <a:pt x="178858" y="102343"/>
                      <a:pt x="178541" y="106321"/>
                      <a:pt x="177954" y="110299"/>
                    </a:cubicBezTo>
                    <a:cubicBezTo>
                      <a:pt x="172039" y="149310"/>
                      <a:pt x="138399" y="179054"/>
                      <a:pt x="97760" y="179054"/>
                    </a:cubicBezTo>
                    <a:close/>
                  </a:path>
                </a:pathLst>
              </a:custGeom>
              <a:solidFill>
                <a:srgbClr val="28509C"/>
              </a:solidFill>
              <a:ln w="4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4F7F1DE0-4881-CE39-9454-0461B3D2D9A9}"/>
                  </a:ext>
                </a:extLst>
              </p:cNvPr>
              <p:cNvSpPr/>
              <p:nvPr/>
            </p:nvSpPr>
            <p:spPr>
              <a:xfrm>
                <a:off x="11918450" y="6275342"/>
                <a:ext cx="26550" cy="26580"/>
              </a:xfrm>
              <a:custGeom>
                <a:avLst/>
                <a:gdLst>
                  <a:gd name="connsiteX0" fmla="*/ 0 w 26550"/>
                  <a:gd name="connsiteY0" fmla="*/ 13245 h 26580"/>
                  <a:gd name="connsiteX1" fmla="*/ 13321 w 26550"/>
                  <a:gd name="connsiteY1" fmla="*/ 0 h 26580"/>
                  <a:gd name="connsiteX2" fmla="*/ 26551 w 26550"/>
                  <a:gd name="connsiteY2" fmla="*/ 13245 h 26580"/>
                  <a:gd name="connsiteX3" fmla="*/ 13321 w 26550"/>
                  <a:gd name="connsiteY3" fmla="*/ 26580 h 26580"/>
                  <a:gd name="connsiteX4" fmla="*/ 0 w 26550"/>
                  <a:gd name="connsiteY4" fmla="*/ 13245 h 26580"/>
                  <a:gd name="connsiteX5" fmla="*/ 24429 w 26550"/>
                  <a:gd name="connsiteY5" fmla="*/ 13245 h 26580"/>
                  <a:gd name="connsiteX6" fmla="*/ 13321 w 26550"/>
                  <a:gd name="connsiteY6" fmla="*/ 1763 h 26580"/>
                  <a:gd name="connsiteX7" fmla="*/ 2122 w 26550"/>
                  <a:gd name="connsiteY7" fmla="*/ 13245 h 26580"/>
                  <a:gd name="connsiteX8" fmla="*/ 13321 w 26550"/>
                  <a:gd name="connsiteY8" fmla="*/ 24817 h 26580"/>
                  <a:gd name="connsiteX9" fmla="*/ 24429 w 26550"/>
                  <a:gd name="connsiteY9" fmla="*/ 13245 h 26580"/>
                  <a:gd name="connsiteX10" fmla="*/ 19913 w 26550"/>
                  <a:gd name="connsiteY10" fmla="*/ 20658 h 26580"/>
                  <a:gd name="connsiteX11" fmla="*/ 17746 w 26550"/>
                  <a:gd name="connsiteY11" fmla="*/ 20658 h 26580"/>
                  <a:gd name="connsiteX12" fmla="*/ 13501 w 26550"/>
                  <a:gd name="connsiteY12" fmla="*/ 13833 h 26580"/>
                  <a:gd name="connsiteX13" fmla="*/ 10160 w 26550"/>
                  <a:gd name="connsiteY13" fmla="*/ 13833 h 26580"/>
                  <a:gd name="connsiteX14" fmla="*/ 10160 w 26550"/>
                  <a:gd name="connsiteY14" fmla="*/ 20658 h 26580"/>
                  <a:gd name="connsiteX15" fmla="*/ 8354 w 26550"/>
                  <a:gd name="connsiteY15" fmla="*/ 20658 h 26580"/>
                  <a:gd name="connsiteX16" fmla="*/ 8354 w 26550"/>
                  <a:gd name="connsiteY16" fmla="*/ 5831 h 26580"/>
                  <a:gd name="connsiteX17" fmla="*/ 14856 w 26550"/>
                  <a:gd name="connsiteY17" fmla="*/ 5831 h 26580"/>
                  <a:gd name="connsiteX18" fmla="*/ 20094 w 26550"/>
                  <a:gd name="connsiteY18" fmla="*/ 9764 h 26580"/>
                  <a:gd name="connsiteX19" fmla="*/ 15443 w 26550"/>
                  <a:gd name="connsiteY19" fmla="*/ 13833 h 26580"/>
                  <a:gd name="connsiteX20" fmla="*/ 19913 w 26550"/>
                  <a:gd name="connsiteY20" fmla="*/ 20658 h 26580"/>
                  <a:gd name="connsiteX21" fmla="*/ 12959 w 26550"/>
                  <a:gd name="connsiteY21" fmla="*/ 12386 h 26580"/>
                  <a:gd name="connsiteX22" fmla="*/ 18152 w 26550"/>
                  <a:gd name="connsiteY22" fmla="*/ 9719 h 26580"/>
                  <a:gd name="connsiteX23" fmla="*/ 14450 w 26550"/>
                  <a:gd name="connsiteY23" fmla="*/ 7142 h 26580"/>
                  <a:gd name="connsiteX24" fmla="*/ 10205 w 26550"/>
                  <a:gd name="connsiteY24" fmla="*/ 7142 h 26580"/>
                  <a:gd name="connsiteX25" fmla="*/ 10205 w 26550"/>
                  <a:gd name="connsiteY25" fmla="*/ 12386 h 26580"/>
                  <a:gd name="connsiteX26" fmla="*/ 12959 w 26550"/>
                  <a:gd name="connsiteY26" fmla="*/ 12386 h 26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6550" h="26580">
                    <a:moveTo>
                      <a:pt x="0" y="13245"/>
                    </a:moveTo>
                    <a:cubicBezTo>
                      <a:pt x="0" y="5967"/>
                      <a:pt x="5960" y="0"/>
                      <a:pt x="13321" y="0"/>
                    </a:cubicBezTo>
                    <a:cubicBezTo>
                      <a:pt x="20681" y="0"/>
                      <a:pt x="26551" y="5967"/>
                      <a:pt x="26551" y="13245"/>
                    </a:cubicBezTo>
                    <a:cubicBezTo>
                      <a:pt x="26551" y="20523"/>
                      <a:pt x="20636" y="26580"/>
                      <a:pt x="13321" y="26580"/>
                    </a:cubicBezTo>
                    <a:cubicBezTo>
                      <a:pt x="6006" y="26580"/>
                      <a:pt x="0" y="20613"/>
                      <a:pt x="0" y="13245"/>
                    </a:cubicBezTo>
                    <a:close/>
                    <a:moveTo>
                      <a:pt x="24429" y="13245"/>
                    </a:moveTo>
                    <a:cubicBezTo>
                      <a:pt x="24429" y="6781"/>
                      <a:pt x="19733" y="1763"/>
                      <a:pt x="13321" y="1763"/>
                    </a:cubicBezTo>
                    <a:cubicBezTo>
                      <a:pt x="6909" y="1763"/>
                      <a:pt x="2122" y="6826"/>
                      <a:pt x="2122" y="13245"/>
                    </a:cubicBezTo>
                    <a:cubicBezTo>
                      <a:pt x="2122" y="19664"/>
                      <a:pt x="6863" y="24817"/>
                      <a:pt x="13321" y="24817"/>
                    </a:cubicBezTo>
                    <a:cubicBezTo>
                      <a:pt x="19778" y="24817"/>
                      <a:pt x="24429" y="19754"/>
                      <a:pt x="24429" y="13245"/>
                    </a:cubicBezTo>
                    <a:close/>
                    <a:moveTo>
                      <a:pt x="19913" y="20658"/>
                    </a:moveTo>
                    <a:lnTo>
                      <a:pt x="17746" y="20658"/>
                    </a:lnTo>
                    <a:lnTo>
                      <a:pt x="13501" y="13833"/>
                    </a:lnTo>
                    <a:lnTo>
                      <a:pt x="10160" y="13833"/>
                    </a:lnTo>
                    <a:lnTo>
                      <a:pt x="10160" y="20658"/>
                    </a:lnTo>
                    <a:lnTo>
                      <a:pt x="8354" y="20658"/>
                    </a:lnTo>
                    <a:lnTo>
                      <a:pt x="8354" y="5831"/>
                    </a:lnTo>
                    <a:lnTo>
                      <a:pt x="14856" y="5831"/>
                    </a:lnTo>
                    <a:cubicBezTo>
                      <a:pt x="18784" y="5831"/>
                      <a:pt x="20094" y="7323"/>
                      <a:pt x="20094" y="9764"/>
                    </a:cubicBezTo>
                    <a:cubicBezTo>
                      <a:pt x="20094" y="12657"/>
                      <a:pt x="18062" y="13742"/>
                      <a:pt x="15443" y="13833"/>
                    </a:cubicBezTo>
                    <a:lnTo>
                      <a:pt x="19913" y="20658"/>
                    </a:lnTo>
                    <a:close/>
                    <a:moveTo>
                      <a:pt x="12959" y="12386"/>
                    </a:moveTo>
                    <a:cubicBezTo>
                      <a:pt x="15082" y="12386"/>
                      <a:pt x="18152" y="12748"/>
                      <a:pt x="18152" y="9719"/>
                    </a:cubicBezTo>
                    <a:cubicBezTo>
                      <a:pt x="18152" y="7414"/>
                      <a:pt x="16256" y="7142"/>
                      <a:pt x="14450" y="7142"/>
                    </a:cubicBezTo>
                    <a:lnTo>
                      <a:pt x="10205" y="7142"/>
                    </a:lnTo>
                    <a:lnTo>
                      <a:pt x="10205" y="12386"/>
                    </a:lnTo>
                    <a:lnTo>
                      <a:pt x="12959" y="12386"/>
                    </a:lnTo>
                    <a:close/>
                  </a:path>
                </a:pathLst>
              </a:custGeom>
              <a:solidFill>
                <a:srgbClr val="28509C"/>
              </a:solidFill>
              <a:ln w="4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CA7811FA-09CE-E20A-25C2-8B218F80169B}"/>
                </a:ext>
              </a:extLst>
            </p:cNvPr>
            <p:cNvSpPr/>
            <p:nvPr/>
          </p:nvSpPr>
          <p:spPr>
            <a:xfrm>
              <a:off x="10747680" y="6276970"/>
              <a:ext cx="44025" cy="25721"/>
            </a:xfrm>
            <a:custGeom>
              <a:avLst/>
              <a:gdLst>
                <a:gd name="connsiteX0" fmla="*/ 9573 w 44025"/>
                <a:gd name="connsiteY0" fmla="*/ 2757 h 25721"/>
                <a:gd name="connsiteX1" fmla="*/ 5915 w 44025"/>
                <a:gd name="connsiteY1" fmla="*/ 4837 h 25721"/>
                <a:gd name="connsiteX2" fmla="*/ 2709 w 44025"/>
                <a:gd name="connsiteY2" fmla="*/ 7278 h 25721"/>
                <a:gd name="connsiteX3" fmla="*/ 1716 w 44025"/>
                <a:gd name="connsiteY3" fmla="*/ 9493 h 25721"/>
                <a:gd name="connsiteX4" fmla="*/ 406 w 44025"/>
                <a:gd name="connsiteY4" fmla="*/ 11391 h 25721"/>
                <a:gd name="connsiteX5" fmla="*/ 90 w 44025"/>
                <a:gd name="connsiteY5" fmla="*/ 12070 h 25721"/>
                <a:gd name="connsiteX6" fmla="*/ 0 w 44025"/>
                <a:gd name="connsiteY6" fmla="*/ 12748 h 25721"/>
                <a:gd name="connsiteX7" fmla="*/ 181 w 44025"/>
                <a:gd name="connsiteY7" fmla="*/ 13516 h 25721"/>
                <a:gd name="connsiteX8" fmla="*/ 1400 w 44025"/>
                <a:gd name="connsiteY8" fmla="*/ 16861 h 25721"/>
                <a:gd name="connsiteX9" fmla="*/ 3522 w 44025"/>
                <a:gd name="connsiteY9" fmla="*/ 18172 h 25721"/>
                <a:gd name="connsiteX10" fmla="*/ 5960 w 44025"/>
                <a:gd name="connsiteY10" fmla="*/ 20930 h 25721"/>
                <a:gd name="connsiteX11" fmla="*/ 7721 w 44025"/>
                <a:gd name="connsiteY11" fmla="*/ 22602 h 25721"/>
                <a:gd name="connsiteX12" fmla="*/ 10250 w 44025"/>
                <a:gd name="connsiteY12" fmla="*/ 23823 h 25721"/>
                <a:gd name="connsiteX13" fmla="*/ 12779 w 44025"/>
                <a:gd name="connsiteY13" fmla="*/ 24591 h 25721"/>
                <a:gd name="connsiteX14" fmla="*/ 16346 w 44025"/>
                <a:gd name="connsiteY14" fmla="*/ 24591 h 25721"/>
                <a:gd name="connsiteX15" fmla="*/ 18694 w 44025"/>
                <a:gd name="connsiteY15" fmla="*/ 25043 h 25721"/>
                <a:gd name="connsiteX16" fmla="*/ 21223 w 44025"/>
                <a:gd name="connsiteY16" fmla="*/ 25269 h 25721"/>
                <a:gd name="connsiteX17" fmla="*/ 24654 w 44025"/>
                <a:gd name="connsiteY17" fmla="*/ 25495 h 25721"/>
                <a:gd name="connsiteX18" fmla="*/ 27951 w 44025"/>
                <a:gd name="connsiteY18" fmla="*/ 25721 h 25721"/>
                <a:gd name="connsiteX19" fmla="*/ 32060 w 44025"/>
                <a:gd name="connsiteY19" fmla="*/ 25405 h 25721"/>
                <a:gd name="connsiteX20" fmla="*/ 35175 w 44025"/>
                <a:gd name="connsiteY20" fmla="*/ 24501 h 25721"/>
                <a:gd name="connsiteX21" fmla="*/ 38923 w 44025"/>
                <a:gd name="connsiteY21" fmla="*/ 22964 h 25721"/>
                <a:gd name="connsiteX22" fmla="*/ 40594 w 44025"/>
                <a:gd name="connsiteY22" fmla="*/ 21065 h 25721"/>
                <a:gd name="connsiteX23" fmla="*/ 42491 w 44025"/>
                <a:gd name="connsiteY23" fmla="*/ 19302 h 25721"/>
                <a:gd name="connsiteX24" fmla="*/ 44026 w 44025"/>
                <a:gd name="connsiteY24" fmla="*/ 16861 h 25721"/>
                <a:gd name="connsiteX25" fmla="*/ 43935 w 44025"/>
                <a:gd name="connsiteY25" fmla="*/ 14330 h 25721"/>
                <a:gd name="connsiteX26" fmla="*/ 43258 w 44025"/>
                <a:gd name="connsiteY26" fmla="*/ 10668 h 25721"/>
                <a:gd name="connsiteX27" fmla="*/ 39285 w 44025"/>
                <a:gd name="connsiteY27" fmla="*/ 4882 h 25721"/>
                <a:gd name="connsiteX28" fmla="*/ 35762 w 44025"/>
                <a:gd name="connsiteY28" fmla="*/ 2215 h 25721"/>
                <a:gd name="connsiteX29" fmla="*/ 34001 w 44025"/>
                <a:gd name="connsiteY29" fmla="*/ 1356 h 25721"/>
                <a:gd name="connsiteX30" fmla="*/ 32692 w 44025"/>
                <a:gd name="connsiteY30" fmla="*/ 859 h 25721"/>
                <a:gd name="connsiteX31" fmla="*/ 31428 w 44025"/>
                <a:gd name="connsiteY31" fmla="*/ 678 h 25721"/>
                <a:gd name="connsiteX32" fmla="*/ 27319 w 44025"/>
                <a:gd name="connsiteY32" fmla="*/ 994 h 25721"/>
                <a:gd name="connsiteX33" fmla="*/ 23210 w 44025"/>
                <a:gd name="connsiteY33" fmla="*/ 316 h 25721"/>
                <a:gd name="connsiteX34" fmla="*/ 21223 w 44025"/>
                <a:gd name="connsiteY34" fmla="*/ 0 h 25721"/>
                <a:gd name="connsiteX35" fmla="*/ 18694 w 44025"/>
                <a:gd name="connsiteY35" fmla="*/ 542 h 25721"/>
                <a:gd name="connsiteX36" fmla="*/ 15353 w 44025"/>
                <a:gd name="connsiteY36" fmla="*/ 994 h 25721"/>
                <a:gd name="connsiteX37" fmla="*/ 13230 w 44025"/>
                <a:gd name="connsiteY37" fmla="*/ 1763 h 25721"/>
                <a:gd name="connsiteX38" fmla="*/ 9573 w 44025"/>
                <a:gd name="connsiteY38" fmla="*/ 2757 h 25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4025" h="25721">
                  <a:moveTo>
                    <a:pt x="9573" y="2757"/>
                  </a:moveTo>
                  <a:lnTo>
                    <a:pt x="5915" y="4837"/>
                  </a:lnTo>
                  <a:lnTo>
                    <a:pt x="2709" y="7278"/>
                  </a:lnTo>
                  <a:lnTo>
                    <a:pt x="1716" y="9493"/>
                  </a:lnTo>
                  <a:lnTo>
                    <a:pt x="406" y="11391"/>
                  </a:lnTo>
                  <a:lnTo>
                    <a:pt x="90" y="12070"/>
                  </a:lnTo>
                  <a:lnTo>
                    <a:pt x="0" y="12748"/>
                  </a:lnTo>
                  <a:lnTo>
                    <a:pt x="181" y="13516"/>
                  </a:lnTo>
                  <a:lnTo>
                    <a:pt x="1400" y="16861"/>
                  </a:lnTo>
                  <a:lnTo>
                    <a:pt x="3522" y="18172"/>
                  </a:lnTo>
                  <a:lnTo>
                    <a:pt x="5960" y="20930"/>
                  </a:lnTo>
                  <a:lnTo>
                    <a:pt x="7721" y="22602"/>
                  </a:lnTo>
                  <a:lnTo>
                    <a:pt x="10250" y="23823"/>
                  </a:lnTo>
                  <a:lnTo>
                    <a:pt x="12779" y="24591"/>
                  </a:lnTo>
                  <a:lnTo>
                    <a:pt x="16346" y="24591"/>
                  </a:lnTo>
                  <a:lnTo>
                    <a:pt x="18694" y="25043"/>
                  </a:lnTo>
                  <a:lnTo>
                    <a:pt x="21223" y="25269"/>
                  </a:lnTo>
                  <a:lnTo>
                    <a:pt x="24654" y="25495"/>
                  </a:lnTo>
                  <a:lnTo>
                    <a:pt x="27951" y="25721"/>
                  </a:lnTo>
                  <a:lnTo>
                    <a:pt x="32060" y="25405"/>
                  </a:lnTo>
                  <a:lnTo>
                    <a:pt x="35175" y="24501"/>
                  </a:lnTo>
                  <a:lnTo>
                    <a:pt x="38923" y="22964"/>
                  </a:lnTo>
                  <a:lnTo>
                    <a:pt x="40594" y="21065"/>
                  </a:lnTo>
                  <a:lnTo>
                    <a:pt x="42491" y="19302"/>
                  </a:lnTo>
                  <a:lnTo>
                    <a:pt x="44026" y="16861"/>
                  </a:lnTo>
                  <a:lnTo>
                    <a:pt x="43935" y="14330"/>
                  </a:lnTo>
                  <a:lnTo>
                    <a:pt x="43258" y="10668"/>
                  </a:lnTo>
                  <a:lnTo>
                    <a:pt x="39285" y="4882"/>
                  </a:lnTo>
                  <a:lnTo>
                    <a:pt x="35762" y="2215"/>
                  </a:lnTo>
                  <a:lnTo>
                    <a:pt x="34001" y="1356"/>
                  </a:lnTo>
                  <a:lnTo>
                    <a:pt x="32692" y="859"/>
                  </a:lnTo>
                  <a:lnTo>
                    <a:pt x="31428" y="678"/>
                  </a:lnTo>
                  <a:lnTo>
                    <a:pt x="27319" y="994"/>
                  </a:lnTo>
                  <a:lnTo>
                    <a:pt x="23210" y="316"/>
                  </a:lnTo>
                  <a:lnTo>
                    <a:pt x="21223" y="0"/>
                  </a:lnTo>
                  <a:lnTo>
                    <a:pt x="18694" y="542"/>
                  </a:lnTo>
                  <a:lnTo>
                    <a:pt x="15353" y="994"/>
                  </a:lnTo>
                  <a:lnTo>
                    <a:pt x="13230" y="1763"/>
                  </a:lnTo>
                  <a:lnTo>
                    <a:pt x="9573" y="2757"/>
                  </a:lnTo>
                </a:path>
              </a:pathLst>
            </a:custGeom>
            <a:solidFill>
              <a:srgbClr val="F26531"/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1BAAAABF-D623-4B75-4AA9-EA3CFE456CB8}"/>
                </a:ext>
              </a:extLst>
            </p:cNvPr>
            <p:cNvSpPr/>
            <p:nvPr/>
          </p:nvSpPr>
          <p:spPr>
            <a:xfrm>
              <a:off x="10751247" y="6340165"/>
              <a:ext cx="37568" cy="9990"/>
            </a:xfrm>
            <a:custGeom>
              <a:avLst/>
              <a:gdLst>
                <a:gd name="connsiteX0" fmla="*/ 768 w 37568"/>
                <a:gd name="connsiteY0" fmla="*/ 226 h 9990"/>
                <a:gd name="connsiteX1" fmla="*/ 20500 w 37568"/>
                <a:gd name="connsiteY1" fmla="*/ 678 h 9990"/>
                <a:gd name="connsiteX2" fmla="*/ 23435 w 37568"/>
                <a:gd name="connsiteY2" fmla="*/ 90 h 9990"/>
                <a:gd name="connsiteX3" fmla="*/ 27228 w 37568"/>
                <a:gd name="connsiteY3" fmla="*/ 0 h 9990"/>
                <a:gd name="connsiteX4" fmla="*/ 31021 w 37568"/>
                <a:gd name="connsiteY4" fmla="*/ 407 h 9990"/>
                <a:gd name="connsiteX5" fmla="*/ 33911 w 37568"/>
                <a:gd name="connsiteY5" fmla="*/ 1221 h 9990"/>
                <a:gd name="connsiteX6" fmla="*/ 36124 w 37568"/>
                <a:gd name="connsiteY6" fmla="*/ 2712 h 9990"/>
                <a:gd name="connsiteX7" fmla="*/ 36937 w 37568"/>
                <a:gd name="connsiteY7" fmla="*/ 3752 h 9990"/>
                <a:gd name="connsiteX8" fmla="*/ 37433 w 37568"/>
                <a:gd name="connsiteY8" fmla="*/ 4837 h 9990"/>
                <a:gd name="connsiteX9" fmla="*/ 37569 w 37568"/>
                <a:gd name="connsiteY9" fmla="*/ 6012 h 9990"/>
                <a:gd name="connsiteX10" fmla="*/ 37207 w 37568"/>
                <a:gd name="connsiteY10" fmla="*/ 7233 h 9990"/>
                <a:gd name="connsiteX11" fmla="*/ 36349 w 37568"/>
                <a:gd name="connsiteY11" fmla="*/ 8408 h 9990"/>
                <a:gd name="connsiteX12" fmla="*/ 34814 w 37568"/>
                <a:gd name="connsiteY12" fmla="*/ 9538 h 9990"/>
                <a:gd name="connsiteX13" fmla="*/ 32557 w 37568"/>
                <a:gd name="connsiteY13" fmla="*/ 9990 h 9990"/>
                <a:gd name="connsiteX14" fmla="*/ 28538 w 37568"/>
                <a:gd name="connsiteY14" fmla="*/ 9990 h 9990"/>
                <a:gd name="connsiteX15" fmla="*/ 17701 w 37568"/>
                <a:gd name="connsiteY15" fmla="*/ 9176 h 9990"/>
                <a:gd name="connsiteX16" fmla="*/ 1174 w 37568"/>
                <a:gd name="connsiteY16" fmla="*/ 7278 h 9990"/>
                <a:gd name="connsiteX17" fmla="*/ 542 w 37568"/>
                <a:gd name="connsiteY17" fmla="*/ 7007 h 9990"/>
                <a:gd name="connsiteX18" fmla="*/ 181 w 37568"/>
                <a:gd name="connsiteY18" fmla="*/ 6374 h 9990"/>
                <a:gd name="connsiteX19" fmla="*/ 0 w 37568"/>
                <a:gd name="connsiteY19" fmla="*/ 4340 h 9990"/>
                <a:gd name="connsiteX20" fmla="*/ 768 w 37568"/>
                <a:gd name="connsiteY20" fmla="*/ 226 h 9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568" h="9990">
                  <a:moveTo>
                    <a:pt x="768" y="226"/>
                  </a:moveTo>
                  <a:lnTo>
                    <a:pt x="20500" y="678"/>
                  </a:lnTo>
                  <a:lnTo>
                    <a:pt x="23435" y="90"/>
                  </a:lnTo>
                  <a:lnTo>
                    <a:pt x="27228" y="0"/>
                  </a:lnTo>
                  <a:lnTo>
                    <a:pt x="31021" y="407"/>
                  </a:lnTo>
                  <a:lnTo>
                    <a:pt x="33911" y="1221"/>
                  </a:lnTo>
                  <a:lnTo>
                    <a:pt x="36124" y="2712"/>
                  </a:lnTo>
                  <a:lnTo>
                    <a:pt x="36937" y="3752"/>
                  </a:lnTo>
                  <a:lnTo>
                    <a:pt x="37433" y="4837"/>
                  </a:lnTo>
                  <a:lnTo>
                    <a:pt x="37569" y="6012"/>
                  </a:lnTo>
                  <a:lnTo>
                    <a:pt x="37207" y="7233"/>
                  </a:lnTo>
                  <a:lnTo>
                    <a:pt x="36349" y="8408"/>
                  </a:lnTo>
                  <a:lnTo>
                    <a:pt x="34814" y="9538"/>
                  </a:lnTo>
                  <a:lnTo>
                    <a:pt x="32557" y="9990"/>
                  </a:lnTo>
                  <a:lnTo>
                    <a:pt x="28538" y="9990"/>
                  </a:lnTo>
                  <a:lnTo>
                    <a:pt x="17701" y="9176"/>
                  </a:lnTo>
                  <a:lnTo>
                    <a:pt x="1174" y="7278"/>
                  </a:lnTo>
                  <a:lnTo>
                    <a:pt x="542" y="7007"/>
                  </a:lnTo>
                  <a:lnTo>
                    <a:pt x="181" y="6374"/>
                  </a:lnTo>
                  <a:lnTo>
                    <a:pt x="0" y="4340"/>
                  </a:lnTo>
                  <a:lnTo>
                    <a:pt x="768" y="226"/>
                  </a:lnTo>
                </a:path>
              </a:pathLst>
            </a:custGeom>
            <a:solidFill>
              <a:srgbClr val="ED1849"/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D44269F6-CC2C-C9ED-BC52-4619402AE7BF}"/>
                </a:ext>
              </a:extLst>
            </p:cNvPr>
            <p:cNvSpPr/>
            <p:nvPr/>
          </p:nvSpPr>
          <p:spPr>
            <a:xfrm>
              <a:off x="10753144" y="6358609"/>
              <a:ext cx="36214" cy="9809"/>
            </a:xfrm>
            <a:custGeom>
              <a:avLst/>
              <a:gdLst>
                <a:gd name="connsiteX0" fmla="*/ 4425 w 36214"/>
                <a:gd name="connsiteY0" fmla="*/ 0 h 9809"/>
                <a:gd name="connsiteX1" fmla="*/ 6141 w 36214"/>
                <a:gd name="connsiteY1" fmla="*/ 1040 h 9809"/>
                <a:gd name="connsiteX2" fmla="*/ 7225 w 36214"/>
                <a:gd name="connsiteY2" fmla="*/ 1673 h 9809"/>
                <a:gd name="connsiteX3" fmla="*/ 8444 w 36214"/>
                <a:gd name="connsiteY3" fmla="*/ 1989 h 9809"/>
                <a:gd name="connsiteX4" fmla="*/ 9302 w 36214"/>
                <a:gd name="connsiteY4" fmla="*/ 1808 h 9809"/>
                <a:gd name="connsiteX5" fmla="*/ 10295 w 36214"/>
                <a:gd name="connsiteY5" fmla="*/ 1356 h 9809"/>
                <a:gd name="connsiteX6" fmla="*/ 11289 w 36214"/>
                <a:gd name="connsiteY6" fmla="*/ 859 h 9809"/>
                <a:gd name="connsiteX7" fmla="*/ 12282 w 36214"/>
                <a:gd name="connsiteY7" fmla="*/ 633 h 9809"/>
                <a:gd name="connsiteX8" fmla="*/ 13998 w 36214"/>
                <a:gd name="connsiteY8" fmla="*/ 1266 h 9809"/>
                <a:gd name="connsiteX9" fmla="*/ 15849 w 36214"/>
                <a:gd name="connsiteY9" fmla="*/ 1899 h 9809"/>
                <a:gd name="connsiteX10" fmla="*/ 17385 w 36214"/>
                <a:gd name="connsiteY10" fmla="*/ 1401 h 9809"/>
                <a:gd name="connsiteX11" fmla="*/ 18965 w 36214"/>
                <a:gd name="connsiteY11" fmla="*/ 949 h 9809"/>
                <a:gd name="connsiteX12" fmla="*/ 20816 w 36214"/>
                <a:gd name="connsiteY12" fmla="*/ 1627 h 9809"/>
                <a:gd name="connsiteX13" fmla="*/ 21719 w 36214"/>
                <a:gd name="connsiteY13" fmla="*/ 1989 h 9809"/>
                <a:gd name="connsiteX14" fmla="*/ 22622 w 36214"/>
                <a:gd name="connsiteY14" fmla="*/ 1989 h 9809"/>
                <a:gd name="connsiteX15" fmla="*/ 28357 w 36214"/>
                <a:gd name="connsiteY15" fmla="*/ 1221 h 9809"/>
                <a:gd name="connsiteX16" fmla="*/ 32737 w 36214"/>
                <a:gd name="connsiteY16" fmla="*/ 1944 h 9809"/>
                <a:gd name="connsiteX17" fmla="*/ 33008 w 36214"/>
                <a:gd name="connsiteY17" fmla="*/ 2125 h 9809"/>
                <a:gd name="connsiteX18" fmla="*/ 33144 w 36214"/>
                <a:gd name="connsiteY18" fmla="*/ 2351 h 9809"/>
                <a:gd name="connsiteX19" fmla="*/ 33008 w 36214"/>
                <a:gd name="connsiteY19" fmla="*/ 2893 h 9809"/>
                <a:gd name="connsiteX20" fmla="*/ 32827 w 36214"/>
                <a:gd name="connsiteY20" fmla="*/ 3481 h 9809"/>
                <a:gd name="connsiteX21" fmla="*/ 33008 w 36214"/>
                <a:gd name="connsiteY21" fmla="*/ 4023 h 9809"/>
                <a:gd name="connsiteX22" fmla="*/ 34092 w 36214"/>
                <a:gd name="connsiteY22" fmla="*/ 4656 h 9809"/>
                <a:gd name="connsiteX23" fmla="*/ 35311 w 36214"/>
                <a:gd name="connsiteY23" fmla="*/ 5153 h 9809"/>
                <a:gd name="connsiteX24" fmla="*/ 35808 w 36214"/>
                <a:gd name="connsiteY24" fmla="*/ 5515 h 9809"/>
                <a:gd name="connsiteX25" fmla="*/ 36124 w 36214"/>
                <a:gd name="connsiteY25" fmla="*/ 6057 h 9809"/>
                <a:gd name="connsiteX26" fmla="*/ 36214 w 36214"/>
                <a:gd name="connsiteY26" fmla="*/ 6871 h 9809"/>
                <a:gd name="connsiteX27" fmla="*/ 35988 w 36214"/>
                <a:gd name="connsiteY27" fmla="*/ 8001 h 9809"/>
                <a:gd name="connsiteX28" fmla="*/ 35627 w 36214"/>
                <a:gd name="connsiteY28" fmla="*/ 8544 h 9809"/>
                <a:gd name="connsiteX29" fmla="*/ 34814 w 36214"/>
                <a:gd name="connsiteY29" fmla="*/ 8996 h 9809"/>
                <a:gd name="connsiteX30" fmla="*/ 32331 w 36214"/>
                <a:gd name="connsiteY30" fmla="*/ 9538 h 9809"/>
                <a:gd name="connsiteX31" fmla="*/ 24474 w 36214"/>
                <a:gd name="connsiteY31" fmla="*/ 9809 h 9809"/>
                <a:gd name="connsiteX32" fmla="*/ 13230 w 36214"/>
                <a:gd name="connsiteY32" fmla="*/ 8363 h 9809"/>
                <a:gd name="connsiteX33" fmla="*/ 3477 w 36214"/>
                <a:gd name="connsiteY33" fmla="*/ 6555 h 9809"/>
                <a:gd name="connsiteX34" fmla="*/ 2032 w 36214"/>
                <a:gd name="connsiteY34" fmla="*/ 5967 h 9809"/>
                <a:gd name="connsiteX35" fmla="*/ 948 w 36214"/>
                <a:gd name="connsiteY35" fmla="*/ 4656 h 9809"/>
                <a:gd name="connsiteX36" fmla="*/ 226 w 36214"/>
                <a:gd name="connsiteY36" fmla="*/ 3119 h 9809"/>
                <a:gd name="connsiteX37" fmla="*/ 0 w 36214"/>
                <a:gd name="connsiteY37" fmla="*/ 1763 h 9809"/>
                <a:gd name="connsiteX38" fmla="*/ 4425 w 36214"/>
                <a:gd name="connsiteY38" fmla="*/ 0 h 9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6214" h="9809">
                  <a:moveTo>
                    <a:pt x="4425" y="0"/>
                  </a:moveTo>
                  <a:lnTo>
                    <a:pt x="6141" y="1040"/>
                  </a:lnTo>
                  <a:lnTo>
                    <a:pt x="7225" y="1673"/>
                  </a:lnTo>
                  <a:lnTo>
                    <a:pt x="8444" y="1989"/>
                  </a:lnTo>
                  <a:lnTo>
                    <a:pt x="9302" y="1808"/>
                  </a:lnTo>
                  <a:lnTo>
                    <a:pt x="10295" y="1356"/>
                  </a:lnTo>
                  <a:lnTo>
                    <a:pt x="11289" y="859"/>
                  </a:lnTo>
                  <a:lnTo>
                    <a:pt x="12282" y="633"/>
                  </a:lnTo>
                  <a:lnTo>
                    <a:pt x="13998" y="1266"/>
                  </a:lnTo>
                  <a:lnTo>
                    <a:pt x="15849" y="1899"/>
                  </a:lnTo>
                  <a:lnTo>
                    <a:pt x="17385" y="1401"/>
                  </a:lnTo>
                  <a:lnTo>
                    <a:pt x="18965" y="949"/>
                  </a:lnTo>
                  <a:lnTo>
                    <a:pt x="20816" y="1627"/>
                  </a:lnTo>
                  <a:lnTo>
                    <a:pt x="21719" y="1989"/>
                  </a:lnTo>
                  <a:lnTo>
                    <a:pt x="22622" y="1989"/>
                  </a:lnTo>
                  <a:lnTo>
                    <a:pt x="28357" y="1221"/>
                  </a:lnTo>
                  <a:lnTo>
                    <a:pt x="32737" y="1944"/>
                  </a:lnTo>
                  <a:lnTo>
                    <a:pt x="33008" y="2125"/>
                  </a:lnTo>
                  <a:lnTo>
                    <a:pt x="33144" y="2351"/>
                  </a:lnTo>
                  <a:lnTo>
                    <a:pt x="33008" y="2893"/>
                  </a:lnTo>
                  <a:lnTo>
                    <a:pt x="32827" y="3481"/>
                  </a:lnTo>
                  <a:lnTo>
                    <a:pt x="33008" y="4023"/>
                  </a:lnTo>
                  <a:lnTo>
                    <a:pt x="34092" y="4656"/>
                  </a:lnTo>
                  <a:lnTo>
                    <a:pt x="35311" y="5153"/>
                  </a:lnTo>
                  <a:lnTo>
                    <a:pt x="35808" y="5515"/>
                  </a:lnTo>
                  <a:lnTo>
                    <a:pt x="36124" y="6057"/>
                  </a:lnTo>
                  <a:lnTo>
                    <a:pt x="36214" y="6871"/>
                  </a:lnTo>
                  <a:lnTo>
                    <a:pt x="35988" y="8001"/>
                  </a:lnTo>
                  <a:lnTo>
                    <a:pt x="35627" y="8544"/>
                  </a:lnTo>
                  <a:lnTo>
                    <a:pt x="34814" y="8996"/>
                  </a:lnTo>
                  <a:lnTo>
                    <a:pt x="32331" y="9538"/>
                  </a:lnTo>
                  <a:lnTo>
                    <a:pt x="24474" y="9809"/>
                  </a:lnTo>
                  <a:lnTo>
                    <a:pt x="13230" y="8363"/>
                  </a:lnTo>
                  <a:lnTo>
                    <a:pt x="3477" y="6555"/>
                  </a:lnTo>
                  <a:lnTo>
                    <a:pt x="2032" y="5967"/>
                  </a:lnTo>
                  <a:lnTo>
                    <a:pt x="948" y="4656"/>
                  </a:lnTo>
                  <a:lnTo>
                    <a:pt x="226" y="3119"/>
                  </a:lnTo>
                  <a:lnTo>
                    <a:pt x="0" y="1763"/>
                  </a:lnTo>
                  <a:lnTo>
                    <a:pt x="4425" y="0"/>
                  </a:lnTo>
                </a:path>
              </a:pathLst>
            </a:custGeom>
            <a:solidFill>
              <a:srgbClr val="ED037C"/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3BA63403-8C1D-B6C3-5B04-440C7298C8C5}"/>
                </a:ext>
              </a:extLst>
            </p:cNvPr>
            <p:cNvSpPr/>
            <p:nvPr/>
          </p:nvSpPr>
          <p:spPr>
            <a:xfrm>
              <a:off x="10751383" y="6369232"/>
              <a:ext cx="37478" cy="10668"/>
            </a:xfrm>
            <a:custGeom>
              <a:avLst/>
              <a:gdLst>
                <a:gd name="connsiteX0" fmla="*/ 3522 w 37478"/>
                <a:gd name="connsiteY0" fmla="*/ 0 h 10668"/>
                <a:gd name="connsiteX1" fmla="*/ 6547 w 37478"/>
                <a:gd name="connsiteY1" fmla="*/ 1175 h 10668"/>
                <a:gd name="connsiteX2" fmla="*/ 8038 w 37478"/>
                <a:gd name="connsiteY2" fmla="*/ 1718 h 10668"/>
                <a:gd name="connsiteX3" fmla="*/ 9528 w 37478"/>
                <a:gd name="connsiteY3" fmla="*/ 1673 h 10668"/>
                <a:gd name="connsiteX4" fmla="*/ 22939 w 37478"/>
                <a:gd name="connsiteY4" fmla="*/ 1040 h 10668"/>
                <a:gd name="connsiteX5" fmla="*/ 28312 w 37478"/>
                <a:gd name="connsiteY5" fmla="*/ 1537 h 10668"/>
                <a:gd name="connsiteX6" fmla="*/ 32511 w 37478"/>
                <a:gd name="connsiteY6" fmla="*/ 2577 h 10668"/>
                <a:gd name="connsiteX7" fmla="*/ 34408 w 37478"/>
                <a:gd name="connsiteY7" fmla="*/ 3074 h 10668"/>
                <a:gd name="connsiteX8" fmla="*/ 35492 w 37478"/>
                <a:gd name="connsiteY8" fmla="*/ 3526 h 10668"/>
                <a:gd name="connsiteX9" fmla="*/ 36350 w 37478"/>
                <a:gd name="connsiteY9" fmla="*/ 4159 h 10668"/>
                <a:gd name="connsiteX10" fmla="*/ 37298 w 37478"/>
                <a:gd name="connsiteY10" fmla="*/ 5831 h 10668"/>
                <a:gd name="connsiteX11" fmla="*/ 37478 w 37478"/>
                <a:gd name="connsiteY11" fmla="*/ 7459 h 10668"/>
                <a:gd name="connsiteX12" fmla="*/ 37072 w 37478"/>
                <a:gd name="connsiteY12" fmla="*/ 8860 h 10668"/>
                <a:gd name="connsiteX13" fmla="*/ 36350 w 37478"/>
                <a:gd name="connsiteY13" fmla="*/ 9764 h 10668"/>
                <a:gd name="connsiteX14" fmla="*/ 36350 w 37478"/>
                <a:gd name="connsiteY14" fmla="*/ 10668 h 10668"/>
                <a:gd name="connsiteX15" fmla="*/ 23210 w 37478"/>
                <a:gd name="connsiteY15" fmla="*/ 10623 h 10668"/>
                <a:gd name="connsiteX16" fmla="*/ 18830 w 37478"/>
                <a:gd name="connsiteY16" fmla="*/ 10668 h 10668"/>
                <a:gd name="connsiteX17" fmla="*/ 14495 w 37478"/>
                <a:gd name="connsiteY17" fmla="*/ 10307 h 10668"/>
                <a:gd name="connsiteX18" fmla="*/ 10160 w 37478"/>
                <a:gd name="connsiteY18" fmla="*/ 9538 h 10668"/>
                <a:gd name="connsiteX19" fmla="*/ 6277 w 37478"/>
                <a:gd name="connsiteY19" fmla="*/ 8905 h 10668"/>
                <a:gd name="connsiteX20" fmla="*/ 3477 w 37478"/>
                <a:gd name="connsiteY20" fmla="*/ 8453 h 10668"/>
                <a:gd name="connsiteX21" fmla="*/ 2348 w 37478"/>
                <a:gd name="connsiteY21" fmla="*/ 8182 h 10668"/>
                <a:gd name="connsiteX22" fmla="*/ 1580 w 37478"/>
                <a:gd name="connsiteY22" fmla="*/ 7459 h 10668"/>
                <a:gd name="connsiteX23" fmla="*/ 497 w 37478"/>
                <a:gd name="connsiteY23" fmla="*/ 5153 h 10668"/>
                <a:gd name="connsiteX24" fmla="*/ 0 w 37478"/>
                <a:gd name="connsiteY24" fmla="*/ 2667 h 10668"/>
                <a:gd name="connsiteX25" fmla="*/ 3522 w 37478"/>
                <a:gd name="connsiteY25" fmla="*/ 0 h 1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7478" h="10668">
                  <a:moveTo>
                    <a:pt x="3522" y="0"/>
                  </a:moveTo>
                  <a:lnTo>
                    <a:pt x="6547" y="1175"/>
                  </a:lnTo>
                  <a:lnTo>
                    <a:pt x="8038" y="1718"/>
                  </a:lnTo>
                  <a:lnTo>
                    <a:pt x="9528" y="1673"/>
                  </a:lnTo>
                  <a:lnTo>
                    <a:pt x="22939" y="1040"/>
                  </a:lnTo>
                  <a:lnTo>
                    <a:pt x="28312" y="1537"/>
                  </a:lnTo>
                  <a:lnTo>
                    <a:pt x="32511" y="2577"/>
                  </a:lnTo>
                  <a:lnTo>
                    <a:pt x="34408" y="3074"/>
                  </a:lnTo>
                  <a:lnTo>
                    <a:pt x="35492" y="3526"/>
                  </a:lnTo>
                  <a:lnTo>
                    <a:pt x="36350" y="4159"/>
                  </a:lnTo>
                  <a:lnTo>
                    <a:pt x="37298" y="5831"/>
                  </a:lnTo>
                  <a:lnTo>
                    <a:pt x="37478" y="7459"/>
                  </a:lnTo>
                  <a:lnTo>
                    <a:pt x="37072" y="8860"/>
                  </a:lnTo>
                  <a:lnTo>
                    <a:pt x="36350" y="9764"/>
                  </a:lnTo>
                  <a:lnTo>
                    <a:pt x="36350" y="10668"/>
                  </a:lnTo>
                  <a:lnTo>
                    <a:pt x="23210" y="10623"/>
                  </a:lnTo>
                  <a:lnTo>
                    <a:pt x="18830" y="10668"/>
                  </a:lnTo>
                  <a:lnTo>
                    <a:pt x="14495" y="10307"/>
                  </a:lnTo>
                  <a:lnTo>
                    <a:pt x="10160" y="9538"/>
                  </a:lnTo>
                  <a:lnTo>
                    <a:pt x="6277" y="8905"/>
                  </a:lnTo>
                  <a:lnTo>
                    <a:pt x="3477" y="8453"/>
                  </a:lnTo>
                  <a:lnTo>
                    <a:pt x="2348" y="8182"/>
                  </a:lnTo>
                  <a:lnTo>
                    <a:pt x="1580" y="7459"/>
                  </a:lnTo>
                  <a:lnTo>
                    <a:pt x="497" y="5153"/>
                  </a:lnTo>
                  <a:lnTo>
                    <a:pt x="0" y="2667"/>
                  </a:lnTo>
                  <a:lnTo>
                    <a:pt x="3522" y="0"/>
                  </a:lnTo>
                </a:path>
              </a:pathLst>
            </a:custGeom>
            <a:solidFill>
              <a:srgbClr val="ED037C"/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xmlns="" id="{A8058AFF-BB7A-B2B4-40D0-CE4E712A07D4}"/>
                </a:ext>
              </a:extLst>
            </p:cNvPr>
            <p:cNvSpPr/>
            <p:nvPr/>
          </p:nvSpPr>
          <p:spPr>
            <a:xfrm>
              <a:off x="10751428" y="6384918"/>
              <a:ext cx="38110" cy="17494"/>
            </a:xfrm>
            <a:custGeom>
              <a:avLst/>
              <a:gdLst>
                <a:gd name="connsiteX0" fmla="*/ 4470 w 38110"/>
                <a:gd name="connsiteY0" fmla="*/ 0 h 17494"/>
                <a:gd name="connsiteX1" fmla="*/ 10431 w 38110"/>
                <a:gd name="connsiteY1" fmla="*/ 768 h 17494"/>
                <a:gd name="connsiteX2" fmla="*/ 12418 w 38110"/>
                <a:gd name="connsiteY2" fmla="*/ 994 h 17494"/>
                <a:gd name="connsiteX3" fmla="*/ 14133 w 38110"/>
                <a:gd name="connsiteY3" fmla="*/ 678 h 17494"/>
                <a:gd name="connsiteX4" fmla="*/ 16436 w 38110"/>
                <a:gd name="connsiteY4" fmla="*/ 452 h 17494"/>
                <a:gd name="connsiteX5" fmla="*/ 20049 w 38110"/>
                <a:gd name="connsiteY5" fmla="*/ 723 h 17494"/>
                <a:gd name="connsiteX6" fmla="*/ 25241 w 38110"/>
                <a:gd name="connsiteY6" fmla="*/ 814 h 17494"/>
                <a:gd name="connsiteX7" fmla="*/ 30479 w 38110"/>
                <a:gd name="connsiteY7" fmla="*/ 542 h 17494"/>
                <a:gd name="connsiteX8" fmla="*/ 32286 w 38110"/>
                <a:gd name="connsiteY8" fmla="*/ 497 h 17494"/>
                <a:gd name="connsiteX9" fmla="*/ 33821 w 38110"/>
                <a:gd name="connsiteY9" fmla="*/ 1130 h 17494"/>
                <a:gd name="connsiteX10" fmla="*/ 36530 w 38110"/>
                <a:gd name="connsiteY10" fmla="*/ 3390 h 17494"/>
                <a:gd name="connsiteX11" fmla="*/ 37433 w 38110"/>
                <a:gd name="connsiteY11" fmla="*/ 4520 h 17494"/>
                <a:gd name="connsiteX12" fmla="*/ 37975 w 38110"/>
                <a:gd name="connsiteY12" fmla="*/ 5831 h 17494"/>
                <a:gd name="connsiteX13" fmla="*/ 38111 w 38110"/>
                <a:gd name="connsiteY13" fmla="*/ 7278 h 17494"/>
                <a:gd name="connsiteX14" fmla="*/ 37749 w 38110"/>
                <a:gd name="connsiteY14" fmla="*/ 8724 h 17494"/>
                <a:gd name="connsiteX15" fmla="*/ 36169 w 38110"/>
                <a:gd name="connsiteY15" fmla="*/ 13154 h 17494"/>
                <a:gd name="connsiteX16" fmla="*/ 35266 w 38110"/>
                <a:gd name="connsiteY16" fmla="*/ 15098 h 17494"/>
                <a:gd name="connsiteX17" fmla="*/ 33956 w 38110"/>
                <a:gd name="connsiteY17" fmla="*/ 16680 h 17494"/>
                <a:gd name="connsiteX18" fmla="*/ 33189 w 38110"/>
                <a:gd name="connsiteY18" fmla="*/ 17042 h 17494"/>
                <a:gd name="connsiteX19" fmla="*/ 32286 w 38110"/>
                <a:gd name="connsiteY19" fmla="*/ 17087 h 17494"/>
                <a:gd name="connsiteX20" fmla="*/ 30073 w 38110"/>
                <a:gd name="connsiteY20" fmla="*/ 16680 h 17494"/>
                <a:gd name="connsiteX21" fmla="*/ 27770 w 38110"/>
                <a:gd name="connsiteY21" fmla="*/ 16048 h 17494"/>
                <a:gd name="connsiteX22" fmla="*/ 25783 w 38110"/>
                <a:gd name="connsiteY22" fmla="*/ 15776 h 17494"/>
                <a:gd name="connsiteX23" fmla="*/ 24338 w 38110"/>
                <a:gd name="connsiteY23" fmla="*/ 16138 h 17494"/>
                <a:gd name="connsiteX24" fmla="*/ 23074 w 38110"/>
                <a:gd name="connsiteY24" fmla="*/ 16771 h 17494"/>
                <a:gd name="connsiteX25" fmla="*/ 21765 w 38110"/>
                <a:gd name="connsiteY25" fmla="*/ 17313 h 17494"/>
                <a:gd name="connsiteX26" fmla="*/ 20274 w 38110"/>
                <a:gd name="connsiteY26" fmla="*/ 17494 h 17494"/>
                <a:gd name="connsiteX27" fmla="*/ 16030 w 38110"/>
                <a:gd name="connsiteY27" fmla="*/ 16364 h 17494"/>
                <a:gd name="connsiteX28" fmla="*/ 13637 w 38110"/>
                <a:gd name="connsiteY28" fmla="*/ 16048 h 17494"/>
                <a:gd name="connsiteX29" fmla="*/ 10882 w 38110"/>
                <a:gd name="connsiteY29" fmla="*/ 16500 h 17494"/>
                <a:gd name="connsiteX30" fmla="*/ 10160 w 38110"/>
                <a:gd name="connsiteY30" fmla="*/ 16590 h 17494"/>
                <a:gd name="connsiteX31" fmla="*/ 9482 w 38110"/>
                <a:gd name="connsiteY31" fmla="*/ 16274 h 17494"/>
                <a:gd name="connsiteX32" fmla="*/ 8760 w 38110"/>
                <a:gd name="connsiteY32" fmla="*/ 15912 h 17494"/>
                <a:gd name="connsiteX33" fmla="*/ 7992 w 38110"/>
                <a:gd name="connsiteY33" fmla="*/ 15731 h 17494"/>
                <a:gd name="connsiteX34" fmla="*/ 6322 w 38110"/>
                <a:gd name="connsiteY34" fmla="*/ 15686 h 17494"/>
                <a:gd name="connsiteX35" fmla="*/ 5689 w 38110"/>
                <a:gd name="connsiteY35" fmla="*/ 15460 h 17494"/>
                <a:gd name="connsiteX36" fmla="*/ 5373 w 38110"/>
                <a:gd name="connsiteY36" fmla="*/ 15098 h 17494"/>
                <a:gd name="connsiteX37" fmla="*/ 3341 w 38110"/>
                <a:gd name="connsiteY37" fmla="*/ 11979 h 17494"/>
                <a:gd name="connsiteX38" fmla="*/ 1174 w 38110"/>
                <a:gd name="connsiteY38" fmla="*/ 9402 h 17494"/>
                <a:gd name="connsiteX39" fmla="*/ 271 w 38110"/>
                <a:gd name="connsiteY39" fmla="*/ 8227 h 17494"/>
                <a:gd name="connsiteX40" fmla="*/ 0 w 38110"/>
                <a:gd name="connsiteY40" fmla="*/ 6871 h 17494"/>
                <a:gd name="connsiteX41" fmla="*/ 497 w 38110"/>
                <a:gd name="connsiteY41" fmla="*/ 5244 h 17494"/>
                <a:gd name="connsiteX42" fmla="*/ 1671 w 38110"/>
                <a:gd name="connsiteY42" fmla="*/ 3526 h 17494"/>
                <a:gd name="connsiteX43" fmla="*/ 4470 w 38110"/>
                <a:gd name="connsiteY43" fmla="*/ 0 h 1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8110" h="17494">
                  <a:moveTo>
                    <a:pt x="4470" y="0"/>
                  </a:moveTo>
                  <a:lnTo>
                    <a:pt x="10431" y="768"/>
                  </a:lnTo>
                  <a:lnTo>
                    <a:pt x="12418" y="994"/>
                  </a:lnTo>
                  <a:lnTo>
                    <a:pt x="14133" y="678"/>
                  </a:lnTo>
                  <a:lnTo>
                    <a:pt x="16436" y="452"/>
                  </a:lnTo>
                  <a:lnTo>
                    <a:pt x="20049" y="723"/>
                  </a:lnTo>
                  <a:lnTo>
                    <a:pt x="25241" y="814"/>
                  </a:lnTo>
                  <a:lnTo>
                    <a:pt x="30479" y="542"/>
                  </a:lnTo>
                  <a:lnTo>
                    <a:pt x="32286" y="497"/>
                  </a:lnTo>
                  <a:lnTo>
                    <a:pt x="33821" y="1130"/>
                  </a:lnTo>
                  <a:lnTo>
                    <a:pt x="36530" y="3390"/>
                  </a:lnTo>
                  <a:lnTo>
                    <a:pt x="37433" y="4520"/>
                  </a:lnTo>
                  <a:lnTo>
                    <a:pt x="37975" y="5831"/>
                  </a:lnTo>
                  <a:lnTo>
                    <a:pt x="38111" y="7278"/>
                  </a:lnTo>
                  <a:lnTo>
                    <a:pt x="37749" y="8724"/>
                  </a:lnTo>
                  <a:lnTo>
                    <a:pt x="36169" y="13154"/>
                  </a:lnTo>
                  <a:lnTo>
                    <a:pt x="35266" y="15098"/>
                  </a:lnTo>
                  <a:lnTo>
                    <a:pt x="33956" y="16680"/>
                  </a:lnTo>
                  <a:lnTo>
                    <a:pt x="33189" y="17042"/>
                  </a:lnTo>
                  <a:lnTo>
                    <a:pt x="32286" y="17087"/>
                  </a:lnTo>
                  <a:lnTo>
                    <a:pt x="30073" y="16680"/>
                  </a:lnTo>
                  <a:lnTo>
                    <a:pt x="27770" y="16048"/>
                  </a:lnTo>
                  <a:lnTo>
                    <a:pt x="25783" y="15776"/>
                  </a:lnTo>
                  <a:lnTo>
                    <a:pt x="24338" y="16138"/>
                  </a:lnTo>
                  <a:lnTo>
                    <a:pt x="23074" y="16771"/>
                  </a:lnTo>
                  <a:lnTo>
                    <a:pt x="21765" y="17313"/>
                  </a:lnTo>
                  <a:lnTo>
                    <a:pt x="20274" y="17494"/>
                  </a:lnTo>
                  <a:lnTo>
                    <a:pt x="16030" y="16364"/>
                  </a:lnTo>
                  <a:lnTo>
                    <a:pt x="13637" y="16048"/>
                  </a:lnTo>
                  <a:lnTo>
                    <a:pt x="10882" y="16500"/>
                  </a:lnTo>
                  <a:lnTo>
                    <a:pt x="10160" y="16590"/>
                  </a:lnTo>
                  <a:lnTo>
                    <a:pt x="9482" y="16274"/>
                  </a:lnTo>
                  <a:lnTo>
                    <a:pt x="8760" y="15912"/>
                  </a:lnTo>
                  <a:lnTo>
                    <a:pt x="7992" y="15731"/>
                  </a:lnTo>
                  <a:lnTo>
                    <a:pt x="6322" y="15686"/>
                  </a:lnTo>
                  <a:lnTo>
                    <a:pt x="5689" y="15460"/>
                  </a:lnTo>
                  <a:lnTo>
                    <a:pt x="5373" y="15098"/>
                  </a:lnTo>
                  <a:lnTo>
                    <a:pt x="3341" y="11979"/>
                  </a:lnTo>
                  <a:lnTo>
                    <a:pt x="1174" y="9402"/>
                  </a:lnTo>
                  <a:lnTo>
                    <a:pt x="271" y="8227"/>
                  </a:lnTo>
                  <a:lnTo>
                    <a:pt x="0" y="6871"/>
                  </a:lnTo>
                  <a:lnTo>
                    <a:pt x="497" y="5244"/>
                  </a:lnTo>
                  <a:lnTo>
                    <a:pt x="1671" y="3526"/>
                  </a:lnTo>
                  <a:lnTo>
                    <a:pt x="4470" y="0"/>
                  </a:lnTo>
                </a:path>
              </a:pathLst>
            </a:custGeom>
            <a:solidFill>
              <a:srgbClr val="A9218E"/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xmlns="" id="{179E05F0-77A1-0794-14BB-2CE30DC9E14A}"/>
                </a:ext>
              </a:extLst>
            </p:cNvPr>
            <p:cNvSpPr/>
            <p:nvPr/>
          </p:nvSpPr>
          <p:spPr>
            <a:xfrm>
              <a:off x="10748764" y="6415250"/>
              <a:ext cx="43619" cy="24771"/>
            </a:xfrm>
            <a:custGeom>
              <a:avLst/>
              <a:gdLst>
                <a:gd name="connsiteX0" fmla="*/ 13908 w 43619"/>
                <a:gd name="connsiteY0" fmla="*/ 136 h 24771"/>
                <a:gd name="connsiteX1" fmla="*/ 16120 w 43619"/>
                <a:gd name="connsiteY1" fmla="*/ 0 h 24771"/>
                <a:gd name="connsiteX2" fmla="*/ 18333 w 43619"/>
                <a:gd name="connsiteY2" fmla="*/ 226 h 24771"/>
                <a:gd name="connsiteX3" fmla="*/ 31066 w 43619"/>
                <a:gd name="connsiteY3" fmla="*/ 1492 h 24771"/>
                <a:gd name="connsiteX4" fmla="*/ 34634 w 43619"/>
                <a:gd name="connsiteY4" fmla="*/ 2034 h 24771"/>
                <a:gd name="connsiteX5" fmla="*/ 38020 w 43619"/>
                <a:gd name="connsiteY5" fmla="*/ 2983 h 24771"/>
                <a:gd name="connsiteX6" fmla="*/ 39555 w 43619"/>
                <a:gd name="connsiteY6" fmla="*/ 3933 h 24771"/>
                <a:gd name="connsiteX7" fmla="*/ 40910 w 43619"/>
                <a:gd name="connsiteY7" fmla="*/ 5289 h 24771"/>
                <a:gd name="connsiteX8" fmla="*/ 42039 w 43619"/>
                <a:gd name="connsiteY8" fmla="*/ 7323 h 24771"/>
                <a:gd name="connsiteX9" fmla="*/ 42942 w 43619"/>
                <a:gd name="connsiteY9" fmla="*/ 10035 h 24771"/>
                <a:gd name="connsiteX10" fmla="*/ 43619 w 43619"/>
                <a:gd name="connsiteY10" fmla="*/ 14646 h 24771"/>
                <a:gd name="connsiteX11" fmla="*/ 43394 w 43619"/>
                <a:gd name="connsiteY11" fmla="*/ 16952 h 24771"/>
                <a:gd name="connsiteX12" fmla="*/ 42536 w 43619"/>
                <a:gd name="connsiteY12" fmla="*/ 19076 h 24771"/>
                <a:gd name="connsiteX13" fmla="*/ 41362 w 43619"/>
                <a:gd name="connsiteY13" fmla="*/ 20432 h 24771"/>
                <a:gd name="connsiteX14" fmla="*/ 39826 w 43619"/>
                <a:gd name="connsiteY14" fmla="*/ 21608 h 24771"/>
                <a:gd name="connsiteX15" fmla="*/ 35717 w 43619"/>
                <a:gd name="connsiteY15" fmla="*/ 23371 h 24771"/>
                <a:gd name="connsiteX16" fmla="*/ 24925 w 43619"/>
                <a:gd name="connsiteY16" fmla="*/ 24772 h 24771"/>
                <a:gd name="connsiteX17" fmla="*/ 21494 w 43619"/>
                <a:gd name="connsiteY17" fmla="*/ 24320 h 24771"/>
                <a:gd name="connsiteX18" fmla="*/ 18197 w 43619"/>
                <a:gd name="connsiteY18" fmla="*/ 23371 h 24771"/>
                <a:gd name="connsiteX19" fmla="*/ 14901 w 43619"/>
                <a:gd name="connsiteY19" fmla="*/ 22467 h 24771"/>
                <a:gd name="connsiteX20" fmla="*/ 11695 w 43619"/>
                <a:gd name="connsiteY20" fmla="*/ 22105 h 24771"/>
                <a:gd name="connsiteX21" fmla="*/ 7180 w 43619"/>
                <a:gd name="connsiteY21" fmla="*/ 21562 h 24771"/>
                <a:gd name="connsiteX22" fmla="*/ 3793 w 43619"/>
                <a:gd name="connsiteY22" fmla="*/ 19890 h 24771"/>
                <a:gd name="connsiteX23" fmla="*/ 1535 w 43619"/>
                <a:gd name="connsiteY23" fmla="*/ 17494 h 24771"/>
                <a:gd name="connsiteX24" fmla="*/ 316 w 43619"/>
                <a:gd name="connsiteY24" fmla="*/ 14782 h 24771"/>
                <a:gd name="connsiteX25" fmla="*/ 0 w 43619"/>
                <a:gd name="connsiteY25" fmla="*/ 11798 h 24771"/>
                <a:gd name="connsiteX26" fmla="*/ 722 w 43619"/>
                <a:gd name="connsiteY26" fmla="*/ 9222 h 24771"/>
                <a:gd name="connsiteX27" fmla="*/ 2213 w 43619"/>
                <a:gd name="connsiteY27" fmla="*/ 7052 h 24771"/>
                <a:gd name="connsiteX28" fmla="*/ 4154 w 43619"/>
                <a:gd name="connsiteY28" fmla="*/ 5334 h 24771"/>
                <a:gd name="connsiteX29" fmla="*/ 8399 w 43619"/>
                <a:gd name="connsiteY29" fmla="*/ 2983 h 24771"/>
                <a:gd name="connsiteX30" fmla="*/ 11289 w 43619"/>
                <a:gd name="connsiteY30" fmla="*/ 1944 h 24771"/>
                <a:gd name="connsiteX31" fmla="*/ 12011 w 43619"/>
                <a:gd name="connsiteY31" fmla="*/ 1582 h 24771"/>
                <a:gd name="connsiteX32" fmla="*/ 12508 w 43619"/>
                <a:gd name="connsiteY32" fmla="*/ 1085 h 24771"/>
                <a:gd name="connsiteX33" fmla="*/ 13050 w 43619"/>
                <a:gd name="connsiteY33" fmla="*/ 542 h 24771"/>
                <a:gd name="connsiteX34" fmla="*/ 13908 w 43619"/>
                <a:gd name="connsiteY34" fmla="*/ 136 h 2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3619" h="24771">
                  <a:moveTo>
                    <a:pt x="13908" y="136"/>
                  </a:moveTo>
                  <a:lnTo>
                    <a:pt x="16120" y="0"/>
                  </a:lnTo>
                  <a:lnTo>
                    <a:pt x="18333" y="226"/>
                  </a:lnTo>
                  <a:lnTo>
                    <a:pt x="31066" y="1492"/>
                  </a:lnTo>
                  <a:lnTo>
                    <a:pt x="34634" y="2034"/>
                  </a:lnTo>
                  <a:lnTo>
                    <a:pt x="38020" y="2983"/>
                  </a:lnTo>
                  <a:lnTo>
                    <a:pt x="39555" y="3933"/>
                  </a:lnTo>
                  <a:lnTo>
                    <a:pt x="40910" y="5289"/>
                  </a:lnTo>
                  <a:lnTo>
                    <a:pt x="42039" y="7323"/>
                  </a:lnTo>
                  <a:lnTo>
                    <a:pt x="42942" y="10035"/>
                  </a:lnTo>
                  <a:lnTo>
                    <a:pt x="43619" y="14646"/>
                  </a:lnTo>
                  <a:lnTo>
                    <a:pt x="43394" y="16952"/>
                  </a:lnTo>
                  <a:lnTo>
                    <a:pt x="42536" y="19076"/>
                  </a:lnTo>
                  <a:lnTo>
                    <a:pt x="41362" y="20432"/>
                  </a:lnTo>
                  <a:lnTo>
                    <a:pt x="39826" y="21608"/>
                  </a:lnTo>
                  <a:lnTo>
                    <a:pt x="35717" y="23371"/>
                  </a:lnTo>
                  <a:lnTo>
                    <a:pt x="24925" y="24772"/>
                  </a:lnTo>
                  <a:lnTo>
                    <a:pt x="21494" y="24320"/>
                  </a:lnTo>
                  <a:lnTo>
                    <a:pt x="18197" y="23371"/>
                  </a:lnTo>
                  <a:lnTo>
                    <a:pt x="14901" y="22467"/>
                  </a:lnTo>
                  <a:lnTo>
                    <a:pt x="11695" y="22105"/>
                  </a:lnTo>
                  <a:lnTo>
                    <a:pt x="7180" y="21562"/>
                  </a:lnTo>
                  <a:lnTo>
                    <a:pt x="3793" y="19890"/>
                  </a:lnTo>
                  <a:lnTo>
                    <a:pt x="1535" y="17494"/>
                  </a:lnTo>
                  <a:lnTo>
                    <a:pt x="316" y="14782"/>
                  </a:lnTo>
                  <a:lnTo>
                    <a:pt x="0" y="11798"/>
                  </a:lnTo>
                  <a:lnTo>
                    <a:pt x="722" y="9222"/>
                  </a:lnTo>
                  <a:lnTo>
                    <a:pt x="2213" y="7052"/>
                  </a:lnTo>
                  <a:lnTo>
                    <a:pt x="4154" y="5334"/>
                  </a:lnTo>
                  <a:lnTo>
                    <a:pt x="8399" y="2983"/>
                  </a:lnTo>
                  <a:lnTo>
                    <a:pt x="11289" y="1944"/>
                  </a:lnTo>
                  <a:lnTo>
                    <a:pt x="12011" y="1582"/>
                  </a:lnTo>
                  <a:lnTo>
                    <a:pt x="12508" y="1085"/>
                  </a:lnTo>
                  <a:lnTo>
                    <a:pt x="13050" y="542"/>
                  </a:lnTo>
                  <a:lnTo>
                    <a:pt x="13908" y="136"/>
                  </a:lnTo>
                </a:path>
              </a:pathLst>
            </a:custGeom>
            <a:solidFill>
              <a:srgbClr val="353D98"/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72D5B2D6-7D9E-5CF6-585F-540325867BD7}"/>
                </a:ext>
              </a:extLst>
            </p:cNvPr>
            <p:cNvSpPr/>
            <p:nvPr/>
          </p:nvSpPr>
          <p:spPr>
            <a:xfrm>
              <a:off x="10751834" y="6451097"/>
              <a:ext cx="36484" cy="23913"/>
            </a:xfrm>
            <a:custGeom>
              <a:avLst/>
              <a:gdLst>
                <a:gd name="connsiteX0" fmla="*/ 20591 w 36484"/>
                <a:gd name="connsiteY0" fmla="*/ 0 h 23913"/>
                <a:gd name="connsiteX1" fmla="*/ 24745 w 36484"/>
                <a:gd name="connsiteY1" fmla="*/ 362 h 23913"/>
                <a:gd name="connsiteX2" fmla="*/ 29080 w 36484"/>
                <a:gd name="connsiteY2" fmla="*/ 1944 h 23913"/>
                <a:gd name="connsiteX3" fmla="*/ 30344 w 36484"/>
                <a:gd name="connsiteY3" fmla="*/ 3164 h 23913"/>
                <a:gd name="connsiteX4" fmla="*/ 31382 w 36484"/>
                <a:gd name="connsiteY4" fmla="*/ 4114 h 23913"/>
                <a:gd name="connsiteX5" fmla="*/ 33550 w 36484"/>
                <a:gd name="connsiteY5" fmla="*/ 4566 h 23913"/>
                <a:gd name="connsiteX6" fmla="*/ 34588 w 36484"/>
                <a:gd name="connsiteY6" fmla="*/ 4882 h 23913"/>
                <a:gd name="connsiteX7" fmla="*/ 35266 w 36484"/>
                <a:gd name="connsiteY7" fmla="*/ 5470 h 23913"/>
                <a:gd name="connsiteX8" fmla="*/ 36395 w 36484"/>
                <a:gd name="connsiteY8" fmla="*/ 10442 h 23913"/>
                <a:gd name="connsiteX9" fmla="*/ 36485 w 36484"/>
                <a:gd name="connsiteY9" fmla="*/ 13606 h 23913"/>
                <a:gd name="connsiteX10" fmla="*/ 35988 w 36484"/>
                <a:gd name="connsiteY10" fmla="*/ 16228 h 23913"/>
                <a:gd name="connsiteX11" fmla="*/ 35040 w 36484"/>
                <a:gd name="connsiteY11" fmla="*/ 17856 h 23913"/>
                <a:gd name="connsiteX12" fmla="*/ 33685 w 36484"/>
                <a:gd name="connsiteY12" fmla="*/ 19302 h 23913"/>
                <a:gd name="connsiteX13" fmla="*/ 30118 w 36484"/>
                <a:gd name="connsiteY13" fmla="*/ 21562 h 23913"/>
                <a:gd name="connsiteX14" fmla="*/ 25648 w 36484"/>
                <a:gd name="connsiteY14" fmla="*/ 23054 h 23913"/>
                <a:gd name="connsiteX15" fmla="*/ 20636 w 36484"/>
                <a:gd name="connsiteY15" fmla="*/ 23823 h 23913"/>
                <a:gd name="connsiteX16" fmla="*/ 15488 w 36484"/>
                <a:gd name="connsiteY16" fmla="*/ 23913 h 23913"/>
                <a:gd name="connsiteX17" fmla="*/ 10566 w 36484"/>
                <a:gd name="connsiteY17" fmla="*/ 23325 h 23913"/>
                <a:gd name="connsiteX18" fmla="*/ 6231 w 36484"/>
                <a:gd name="connsiteY18" fmla="*/ 22195 h 23913"/>
                <a:gd name="connsiteX19" fmla="*/ 2935 w 36484"/>
                <a:gd name="connsiteY19" fmla="*/ 20523 h 23913"/>
                <a:gd name="connsiteX20" fmla="*/ 1896 w 36484"/>
                <a:gd name="connsiteY20" fmla="*/ 19528 h 23913"/>
                <a:gd name="connsiteX21" fmla="*/ 1174 w 36484"/>
                <a:gd name="connsiteY21" fmla="*/ 18353 h 23913"/>
                <a:gd name="connsiteX22" fmla="*/ 271 w 36484"/>
                <a:gd name="connsiteY22" fmla="*/ 15686 h 23913"/>
                <a:gd name="connsiteX23" fmla="*/ 0 w 36484"/>
                <a:gd name="connsiteY23" fmla="*/ 12748 h 23913"/>
                <a:gd name="connsiteX24" fmla="*/ 587 w 36484"/>
                <a:gd name="connsiteY24" fmla="*/ 10171 h 23913"/>
                <a:gd name="connsiteX25" fmla="*/ 1942 w 36484"/>
                <a:gd name="connsiteY25" fmla="*/ 7956 h 23913"/>
                <a:gd name="connsiteX26" fmla="*/ 3748 w 36484"/>
                <a:gd name="connsiteY26" fmla="*/ 6103 h 23913"/>
                <a:gd name="connsiteX27" fmla="*/ 8218 w 36484"/>
                <a:gd name="connsiteY27" fmla="*/ 3526 h 23913"/>
                <a:gd name="connsiteX28" fmla="*/ 12372 w 36484"/>
                <a:gd name="connsiteY28" fmla="*/ 2396 h 23913"/>
                <a:gd name="connsiteX29" fmla="*/ 16572 w 36484"/>
                <a:gd name="connsiteY29" fmla="*/ 1130 h 23913"/>
                <a:gd name="connsiteX30" fmla="*/ 20591 w 36484"/>
                <a:gd name="connsiteY30" fmla="*/ 0 h 2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6484" h="23913">
                  <a:moveTo>
                    <a:pt x="20591" y="0"/>
                  </a:moveTo>
                  <a:lnTo>
                    <a:pt x="24745" y="362"/>
                  </a:lnTo>
                  <a:lnTo>
                    <a:pt x="29080" y="1944"/>
                  </a:lnTo>
                  <a:lnTo>
                    <a:pt x="30344" y="3164"/>
                  </a:lnTo>
                  <a:lnTo>
                    <a:pt x="31382" y="4114"/>
                  </a:lnTo>
                  <a:lnTo>
                    <a:pt x="33550" y="4566"/>
                  </a:lnTo>
                  <a:lnTo>
                    <a:pt x="34588" y="4882"/>
                  </a:lnTo>
                  <a:lnTo>
                    <a:pt x="35266" y="5470"/>
                  </a:lnTo>
                  <a:lnTo>
                    <a:pt x="36395" y="10442"/>
                  </a:lnTo>
                  <a:lnTo>
                    <a:pt x="36485" y="13606"/>
                  </a:lnTo>
                  <a:lnTo>
                    <a:pt x="35988" y="16228"/>
                  </a:lnTo>
                  <a:lnTo>
                    <a:pt x="35040" y="17856"/>
                  </a:lnTo>
                  <a:lnTo>
                    <a:pt x="33685" y="19302"/>
                  </a:lnTo>
                  <a:lnTo>
                    <a:pt x="30118" y="21562"/>
                  </a:lnTo>
                  <a:lnTo>
                    <a:pt x="25648" y="23054"/>
                  </a:lnTo>
                  <a:lnTo>
                    <a:pt x="20636" y="23823"/>
                  </a:lnTo>
                  <a:lnTo>
                    <a:pt x="15488" y="23913"/>
                  </a:lnTo>
                  <a:lnTo>
                    <a:pt x="10566" y="23325"/>
                  </a:lnTo>
                  <a:lnTo>
                    <a:pt x="6231" y="22195"/>
                  </a:lnTo>
                  <a:lnTo>
                    <a:pt x="2935" y="20523"/>
                  </a:lnTo>
                  <a:lnTo>
                    <a:pt x="1896" y="19528"/>
                  </a:lnTo>
                  <a:lnTo>
                    <a:pt x="1174" y="18353"/>
                  </a:lnTo>
                  <a:lnTo>
                    <a:pt x="271" y="15686"/>
                  </a:lnTo>
                  <a:lnTo>
                    <a:pt x="0" y="12748"/>
                  </a:lnTo>
                  <a:lnTo>
                    <a:pt x="587" y="10171"/>
                  </a:lnTo>
                  <a:lnTo>
                    <a:pt x="1942" y="7956"/>
                  </a:lnTo>
                  <a:lnTo>
                    <a:pt x="3748" y="6103"/>
                  </a:lnTo>
                  <a:lnTo>
                    <a:pt x="8218" y="3526"/>
                  </a:lnTo>
                  <a:lnTo>
                    <a:pt x="12372" y="2396"/>
                  </a:lnTo>
                  <a:lnTo>
                    <a:pt x="16572" y="1130"/>
                  </a:lnTo>
                  <a:lnTo>
                    <a:pt x="20591" y="0"/>
                  </a:lnTo>
                </a:path>
              </a:pathLst>
            </a:custGeom>
            <a:solidFill>
              <a:srgbClr val="002E56"/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5449A724-F820-4031-AE54-C7DE0A0E39E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848031" y="459045"/>
            <a:ext cx="6651242" cy="5622916"/>
          </a:xfrm>
        </p:spPr>
        <p:txBody>
          <a:bodyPr anchor="ctr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6F7E955-D7CF-12FB-6FA1-721A19115856}"/>
              </a:ext>
            </a:extLst>
          </p:cNvPr>
          <p:cNvSpPr/>
          <p:nvPr userDrawn="1"/>
        </p:nvSpPr>
        <p:spPr>
          <a:xfrm flipH="1">
            <a:off x="0" y="6660589"/>
            <a:ext cx="12192000" cy="19741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5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6442198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2C16598-90E2-2C28-6339-21F56A509D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xmlns="" id="{81A818DC-FFF3-C81A-988B-CAEE1F56FD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xmlns="" id="{E382B78E-8795-DDDE-8128-BDE812E24F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xmlns="" id="{734CE3B5-F594-9B2D-25CD-ADC7129B43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158A-C8B1-4493-84AB-72BA730BB114}" type="datetimeFigureOut">
              <a:rPr lang="pt-BR" smtClean="0"/>
              <a:t>03/04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xmlns="" id="{9DB847F4-B8FC-B7C6-9626-B3F8EC4C94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xmlns="" id="{6B15C618-2782-41AA-CCAA-53D6A6FCA0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8E537-934E-4B08-A843-BDA975551D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747506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9103B8A-1762-FFD2-6B83-7E1252100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xmlns="" id="{E64AC9B6-3117-27E5-82B8-21BF59284F0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xmlns="" id="{CCC89273-F6D1-AA37-914D-9A93787D20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xmlns="" id="{42F13FD7-55AD-3675-C416-14A1175BF4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158A-C8B1-4493-84AB-72BA730BB114}" type="datetimeFigureOut">
              <a:rPr lang="pt-BR" smtClean="0"/>
              <a:t>03/04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xmlns="" id="{F3242FE4-8817-61EC-228D-A0A83DCC0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xmlns="" id="{1C09DDD6-B645-8541-8757-B0A833B74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8E537-934E-4B08-A843-BDA975551D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7536813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7DDB5B-7D7D-DCB1-FFD7-32BA9CE4C2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xmlns="" id="{9D0D7DE8-A60A-52D1-1AC0-9652C7CDB1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5FE40DC1-6414-D0A6-8535-66C757CA03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158A-C8B1-4493-84AB-72BA730BB114}" type="datetimeFigureOut">
              <a:rPr lang="pt-BR" smtClean="0"/>
              <a:t>03/04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AEA02196-D8DF-A372-9FB2-071ED00FC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3ED58249-90F1-EB18-5B82-1998372343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8E537-934E-4B08-A843-BDA975551D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627021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87ED2CBB-A1C5-715B-770B-F7245B040F9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xmlns="" id="{F213FFA4-8D5B-4C14-D3A9-EC021DFE6A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1C57A788-B10C-B3AF-60AE-AB99298457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158A-C8B1-4493-84AB-72BA730BB114}" type="datetimeFigureOut">
              <a:rPr lang="pt-BR" smtClean="0"/>
              <a:t>03/04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952ED61D-E2D0-B980-0A48-3D8D2A808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1F63D463-7BF2-07C7-009C-EA6FF66F59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8E537-934E-4B08-A843-BDA975551D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89227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image" Target="../media/image19.emf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image" Target="../media/image18.jpe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23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1E39D8A6-A12C-D25A-1034-3C55D7864349}"/>
              </a:ext>
            </a:extLst>
          </p:cNvPr>
          <p:cNvSpPr/>
          <p:nvPr/>
        </p:nvSpPr>
        <p:spPr>
          <a:xfrm flipH="1">
            <a:off x="0" y="6660589"/>
            <a:ext cx="12192000" cy="19741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5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EAF83DA1-3170-7B43-BA76-309743F6117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89809BC-B6AF-D841-B832-66428CF49965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838200" y="1825625"/>
            <a:ext cx="10515600" cy="41757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CB5DA817-F494-CF01-C394-2BC796CC20AB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42BD9A45-971B-8FCF-A52B-12B5EEDDA4AF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6" name="Picture 4">
              <a:extLst>
                <a:ext uri="{FF2B5EF4-FFF2-40B4-BE49-F238E27FC236}">
                  <a16:creationId xmlns:a16="http://schemas.microsoft.com/office/drawing/2014/main" xmlns="" id="{E1884C77-A37C-7A0B-3547-61EC31D8EE18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xmlns="" id="{A489461B-D056-BE34-0230-EA59AC45E90D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xmlns="" id="{EA93B966-600B-1DF8-DEA3-29F8009AB8C7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CE005FEA-A26C-44EC-A79A-3D355159CFE0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xmlns="" id="{58E6CC80-D256-DF6B-5ED2-DEC97774E72D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xmlns="" id="{81E2F7B2-F534-8AD1-EF26-BC73E6D089BA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CA060406-1322-ADF3-74C8-BBAF4AB4A461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475DF490-048B-0E5C-E595-4C1B35E1DD48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AD97B144-7963-BB44-13B3-3CE94D42CFBA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687CA13A-B6F1-AFB4-39CE-31EDB81E69FE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4707F325-E963-B9B1-F39C-4C3116963019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xmlns="" id="{49BD6235-E686-4B57-AC13-D5E8803DF8A2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3B99537D-E809-26C6-B672-BF5B6BF5FCD9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EB993987-86E8-DA22-1D3E-0012CDF8491C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377D0AD6-2181-1335-28D5-D1D554D120B9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0CF4371F-4049-322C-06E6-9DB09FE9C2C4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57092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756" r:id="rId29"/>
    <p:sldLayoutId id="2147483757" r:id="rId30"/>
  </p:sldLayoutIdLst>
  <p:hf sldNum="0" hdr="0" ftr="0" dt="0"/>
  <p:txStyles>
    <p:titleStyle>
      <a:lvl1pPr marL="0" algn="l" defTabSz="914400" rtl="0" eaLnBrk="1" latinLnBrk="0" hangingPunct="1">
        <a:lnSpc>
          <a:spcPct val="90000"/>
        </a:lnSpc>
        <a:spcBef>
          <a:spcPct val="0"/>
        </a:spcBef>
        <a:buNone/>
        <a:defRPr lang="x-none" sz="3200" kern="1200">
          <a:gradFill flip="none" rotWithShape="1">
            <a:gsLst>
              <a:gs pos="100000">
                <a:schemeClr val="accent5"/>
              </a:gs>
              <a:gs pos="0">
                <a:schemeClr val="accent1"/>
              </a:gs>
            </a:gsLst>
            <a:lin ang="10800000" scaled="1"/>
            <a:tileRect/>
          </a:gradFill>
          <a:latin typeface="+mj-lt"/>
          <a:ea typeface="+mn-ea"/>
          <a:cs typeface="+mn-cs"/>
        </a:defRPr>
      </a:lvl1pPr>
    </p:titleStyle>
    <p:bodyStyle>
      <a:lvl1pPr marL="174625" indent="-174625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68275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19113" indent="-1762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66688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62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0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oy, honeycomb&#10;&#10;Description automatically generated">
            <a:extLst>
              <a:ext uri="{FF2B5EF4-FFF2-40B4-BE49-F238E27FC236}">
                <a16:creationId xmlns:a16="http://schemas.microsoft.com/office/drawing/2014/main" xmlns="" id="{A46CF4D1-489A-4C6F-9982-A2757D34E2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821" t="23683" r="-2491" b="43387"/>
          <a:stretch/>
        </p:blipFill>
        <p:spPr>
          <a:xfrm rot="16200000" flipH="1">
            <a:off x="9532462" y="1467298"/>
            <a:ext cx="4126833" cy="1192241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865C13F-7B3B-9D46-9DB5-F4DEC5956B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6041" y="1662545"/>
            <a:ext cx="9836980" cy="44165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xmlns="" id="{93E81B20-8139-E841-A031-0AE03A0B2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66" y="159119"/>
            <a:ext cx="10769533" cy="1026518"/>
          </a:xfrm>
          <a:prstGeom prst="rect">
            <a:avLst/>
          </a:prstGeom>
        </p:spPr>
        <p:txBody>
          <a:bodyPr vert="horz" anchor="b"/>
          <a:lstStyle/>
          <a:p>
            <a:pPr lvl="0" algn="l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716E0B2C-035A-4355-B187-1691641A7CBA}"/>
              </a:ext>
            </a:extLst>
          </p:cNvPr>
          <p:cNvSpPr txBox="1"/>
          <p:nvPr userDrawn="1"/>
        </p:nvSpPr>
        <p:spPr>
          <a:xfrm>
            <a:off x="669907" y="6592691"/>
            <a:ext cx="1656223" cy="184666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r>
              <a:rPr lang="en-US" sz="6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|  © 2020 BioMarin Global Medical Affairs </a:t>
            </a:r>
            <a:endParaRPr kumimoji="0" lang="en-US" sz="600" i="0" u="none" strike="noStrike" kern="1200" spc="0" normalizeH="0" baseline="0" noProof="0" err="1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74C5390B-D060-4A00-B841-EAD82F83B1DF}"/>
              </a:ext>
            </a:extLst>
          </p:cNvPr>
          <p:cNvSpPr txBox="1"/>
          <p:nvPr userDrawn="1"/>
        </p:nvSpPr>
        <p:spPr>
          <a:xfrm>
            <a:off x="536809" y="6592691"/>
            <a:ext cx="279244" cy="184666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fld id="{F82A0079-4CF8-4C9D-8029-646BECB570D1}" type="slidenum">
              <a:rPr lang="en-US" sz="60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pPr marL="0" marR="0" indent="0" algn="r" defTabSz="4572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</a:pPr>
              <a:t>‹nº›</a:t>
            </a:fld>
            <a:endParaRPr kumimoji="0" lang="en-US" sz="600" i="0" u="none" strike="noStrike" kern="1200" spc="0" normalizeH="0" baseline="0" noProof="0" err="1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BA60ED77-02CC-486D-9D01-5C4C8A0D0AB5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9900" y="6218915"/>
            <a:ext cx="1193132" cy="49371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61A48A83-3E4B-4884-BC36-AFDCB6D23314}"/>
              </a:ext>
            </a:extLst>
          </p:cNvPr>
          <p:cNvSpPr/>
          <p:nvPr userDrawn="1"/>
        </p:nvSpPr>
        <p:spPr>
          <a:xfrm>
            <a:off x="0" y="0"/>
            <a:ext cx="12192000" cy="7612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75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</p:sldLayoutIdLst>
  <p:transition spd="med">
    <p:fade/>
  </p:transition>
  <p:hf hdr="0" ftr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2800" b="1" kern="1200" smtClean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230188" marR="0" indent="-230188" algn="l" defTabSz="457200" rtl="0" eaLnBrk="0" fontAlgn="base" latinLnBrk="0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3"/>
        </a:buClr>
        <a:buSzTx/>
        <a:buFont typeface="Arial" panose="020B0604020202020204" pitchFamily="34" charset="0"/>
        <a:buChar char="•"/>
        <a:tabLst/>
        <a:defRPr sz="20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5938" indent="-250825" algn="l" defTabSz="45720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accent3"/>
        </a:buClr>
        <a:buFont typeface="Arial" panose="020B0604020202020204" pitchFamily="34" charset="0"/>
        <a:buChar char="–"/>
        <a:tabLst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46125" indent="-174625" algn="l" defTabSz="45720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accent3"/>
        </a:buClr>
        <a:buFont typeface="Arial" panose="020B0604020202020204" pitchFamily="34" charset="0"/>
        <a:buChar char="•"/>
        <a:tabLst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76313" indent="-174625" algn="l" defTabSz="45720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accent3"/>
        </a:buClr>
        <a:buFont typeface="Arial" panose="020B0604020202020204" pitchFamily="34" charset="0"/>
        <a:buChar char="•"/>
        <a:tabLst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00150" indent="-168275" algn="l" defTabSz="45720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accent3"/>
        </a:buClr>
        <a:buFont typeface="Arial" panose="020B0604020202020204" pitchFamily="34" charset="0"/>
        <a:buChar char="•"/>
        <a:tabLst/>
        <a:defRPr sz="12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80">
          <p15:clr>
            <a:srgbClr val="F26B43"/>
          </p15:clr>
        </p15:guide>
        <p15:guide id="4" pos="7200">
          <p15:clr>
            <a:srgbClr val="F26B43"/>
          </p15:clr>
        </p15:guide>
        <p15:guide id="5" pos="7440">
          <p15:clr>
            <a:srgbClr val="F26B43"/>
          </p15:clr>
        </p15:guide>
        <p15:guide id="6" pos="240">
          <p15:clr>
            <a:srgbClr val="F26B43"/>
          </p15:clr>
        </p15:guide>
        <p15:guide id="7" orient="horz" pos="4224">
          <p15:clr>
            <a:srgbClr val="F26B43"/>
          </p15:clr>
        </p15:guide>
        <p15:guide id="8" orient="horz" pos="6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1E39D8A6-A12C-D25A-1034-3C55D7864349}"/>
              </a:ext>
            </a:extLst>
          </p:cNvPr>
          <p:cNvSpPr/>
          <p:nvPr/>
        </p:nvSpPr>
        <p:spPr>
          <a:xfrm flipH="1">
            <a:off x="0" y="6660589"/>
            <a:ext cx="12192000" cy="19741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5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EAF83DA1-3170-7B43-BA76-309743F6117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89809BC-B6AF-D841-B832-66428CF49965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838200" y="1825625"/>
            <a:ext cx="10515600" cy="41757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CB5DA817-F494-CF01-C394-2BC796CC20AB}"/>
              </a:ext>
            </a:extLst>
          </p:cNvPr>
          <p:cNvSpPr txBox="1">
            <a:spLocks/>
          </p:cNvSpPr>
          <p:nvPr userDrawn="1"/>
        </p:nvSpPr>
        <p:spPr>
          <a:xfrm>
            <a:off x="240709" y="6268015"/>
            <a:ext cx="321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602608-15A0-1B42-ADE4-514EC6B8A495}" type="slidenum">
              <a:rPr lang="en-US" sz="800" b="1" smtClean="0">
                <a:solidFill>
                  <a:schemeClr val="tx2"/>
                </a:solidFill>
                <a:cs typeface="Arial"/>
              </a:rPr>
              <a:pPr algn="r"/>
              <a:t>‹nº›</a:t>
            </a:fld>
            <a:endParaRPr lang="en-US" sz="800" b="1">
              <a:solidFill>
                <a:schemeClr val="tx2"/>
              </a:solidFill>
              <a:cs typeface="Arial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42BD9A45-971B-8FCF-A52B-12B5EEDDA4AF}"/>
              </a:ext>
            </a:extLst>
          </p:cNvPr>
          <p:cNvGrpSpPr/>
          <p:nvPr userDrawn="1"/>
        </p:nvGrpSpPr>
        <p:grpSpPr>
          <a:xfrm>
            <a:off x="10305727" y="6265855"/>
            <a:ext cx="1496572" cy="218595"/>
            <a:chOff x="10305727" y="6265855"/>
            <a:chExt cx="1496572" cy="218595"/>
          </a:xfrm>
        </p:grpSpPr>
        <p:grpSp>
          <p:nvGrpSpPr>
            <p:cNvPr id="6" name="Picture 4">
              <a:extLst>
                <a:ext uri="{FF2B5EF4-FFF2-40B4-BE49-F238E27FC236}">
                  <a16:creationId xmlns:a16="http://schemas.microsoft.com/office/drawing/2014/main" xmlns="" id="{E1884C77-A37C-7A0B-3547-61EC31D8EE18}"/>
                </a:ext>
              </a:extLst>
            </p:cNvPr>
            <p:cNvGrpSpPr/>
            <p:nvPr/>
          </p:nvGrpSpPr>
          <p:grpSpPr>
            <a:xfrm>
              <a:off x="10305727" y="6265855"/>
              <a:ext cx="1496572" cy="215632"/>
              <a:chOff x="10305727" y="6265855"/>
              <a:chExt cx="1496572" cy="215632"/>
            </a:xfrm>
            <a:solidFill>
              <a:srgbClr val="28509C"/>
            </a:solidFill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xmlns="" id="{A489461B-D056-BE34-0230-EA59AC45E90D}"/>
                  </a:ext>
                </a:extLst>
              </p:cNvPr>
              <p:cNvSpPr/>
              <p:nvPr/>
            </p:nvSpPr>
            <p:spPr>
              <a:xfrm>
                <a:off x="11067851" y="6265855"/>
                <a:ext cx="185055" cy="211237"/>
              </a:xfrm>
              <a:custGeom>
                <a:avLst/>
                <a:gdLst>
                  <a:gd name="connsiteX0" fmla="*/ 92503 w 185055"/>
                  <a:gd name="connsiteY0" fmla="*/ 0 h 211237"/>
                  <a:gd name="connsiteX1" fmla="*/ 0 w 185055"/>
                  <a:gd name="connsiteY1" fmla="*/ 211237 h 211237"/>
                  <a:gd name="connsiteX2" fmla="*/ 19833 w 185055"/>
                  <a:gd name="connsiteY2" fmla="*/ 211237 h 211237"/>
                  <a:gd name="connsiteX3" fmla="*/ 52246 w 185055"/>
                  <a:gd name="connsiteY3" fmla="*/ 137203 h 211237"/>
                  <a:gd name="connsiteX4" fmla="*/ 132859 w 185055"/>
                  <a:gd name="connsiteY4" fmla="*/ 137203 h 211237"/>
                  <a:gd name="connsiteX5" fmla="*/ 165469 w 185055"/>
                  <a:gd name="connsiteY5" fmla="*/ 211237 h 211237"/>
                  <a:gd name="connsiteX6" fmla="*/ 185055 w 185055"/>
                  <a:gd name="connsiteY6" fmla="*/ 211237 h 211237"/>
                  <a:gd name="connsiteX7" fmla="*/ 92503 w 185055"/>
                  <a:gd name="connsiteY7" fmla="*/ 0 h 211237"/>
                  <a:gd name="connsiteX8" fmla="*/ 60041 w 185055"/>
                  <a:gd name="connsiteY8" fmla="*/ 119275 h 211237"/>
                  <a:gd name="connsiteX9" fmla="*/ 92355 w 185055"/>
                  <a:gd name="connsiteY9" fmla="*/ 45339 h 211237"/>
                  <a:gd name="connsiteX10" fmla="*/ 124916 w 185055"/>
                  <a:gd name="connsiteY10" fmla="*/ 119275 h 211237"/>
                  <a:gd name="connsiteX11" fmla="*/ 59991 w 185055"/>
                  <a:gd name="connsiteY11" fmla="*/ 119275 h 211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5055" h="211237">
                    <a:moveTo>
                      <a:pt x="92503" y="0"/>
                    </a:moveTo>
                    <a:lnTo>
                      <a:pt x="0" y="211237"/>
                    </a:lnTo>
                    <a:lnTo>
                      <a:pt x="19833" y="211237"/>
                    </a:lnTo>
                    <a:lnTo>
                      <a:pt x="52246" y="137203"/>
                    </a:lnTo>
                    <a:lnTo>
                      <a:pt x="132859" y="137203"/>
                    </a:lnTo>
                    <a:lnTo>
                      <a:pt x="165469" y="211237"/>
                    </a:lnTo>
                    <a:lnTo>
                      <a:pt x="185055" y="211237"/>
                    </a:lnTo>
                    <a:lnTo>
                      <a:pt x="92503" y="0"/>
                    </a:lnTo>
                    <a:close/>
                    <a:moveTo>
                      <a:pt x="60041" y="119275"/>
                    </a:moveTo>
                    <a:lnTo>
                      <a:pt x="92355" y="45339"/>
                    </a:lnTo>
                    <a:lnTo>
                      <a:pt x="124916" y="119275"/>
                    </a:lnTo>
                    <a:lnTo>
                      <a:pt x="59991" y="119275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xmlns="" id="{EA93B966-600B-1DF8-DEA3-29F8009AB8C7}"/>
                  </a:ext>
                </a:extLst>
              </p:cNvPr>
              <p:cNvSpPr/>
              <p:nvPr/>
            </p:nvSpPr>
            <p:spPr>
              <a:xfrm>
                <a:off x="11496768" y="6270250"/>
                <a:ext cx="17908" cy="206792"/>
              </a:xfrm>
              <a:custGeom>
                <a:avLst/>
                <a:gdLst>
                  <a:gd name="connsiteX0" fmla="*/ 0 w 17908"/>
                  <a:gd name="connsiteY0" fmla="*/ 0 h 206792"/>
                  <a:gd name="connsiteX1" fmla="*/ 17909 w 17908"/>
                  <a:gd name="connsiteY1" fmla="*/ 0 h 206792"/>
                  <a:gd name="connsiteX2" fmla="*/ 17909 w 17908"/>
                  <a:gd name="connsiteY2" fmla="*/ 206792 h 206792"/>
                  <a:gd name="connsiteX3" fmla="*/ 0 w 17908"/>
                  <a:gd name="connsiteY3" fmla="*/ 206792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08" h="206792">
                    <a:moveTo>
                      <a:pt x="0" y="0"/>
                    </a:moveTo>
                    <a:lnTo>
                      <a:pt x="17909" y="0"/>
                    </a:lnTo>
                    <a:lnTo>
                      <a:pt x="17909" y="206792"/>
                    </a:lnTo>
                    <a:lnTo>
                      <a:pt x="0" y="206792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xmlns="" id="{CE005FEA-A26C-44EC-A79A-3D355159CFE0}"/>
                  </a:ext>
                </a:extLst>
              </p:cNvPr>
              <p:cNvSpPr/>
              <p:nvPr/>
            </p:nvSpPr>
            <p:spPr>
              <a:xfrm>
                <a:off x="10840714" y="6266200"/>
                <a:ext cx="189643" cy="210842"/>
              </a:xfrm>
              <a:custGeom>
                <a:avLst/>
                <a:gdLst>
                  <a:gd name="connsiteX0" fmla="*/ 94378 w 189643"/>
                  <a:gd name="connsiteY0" fmla="*/ 95321 h 210842"/>
                  <a:gd name="connsiteX1" fmla="*/ 0 w 189643"/>
                  <a:gd name="connsiteY1" fmla="*/ 99 h 210842"/>
                  <a:gd name="connsiteX2" fmla="*/ 99 w 189643"/>
                  <a:gd name="connsiteY2" fmla="*/ 210842 h 210842"/>
                  <a:gd name="connsiteX3" fmla="*/ 18007 w 189643"/>
                  <a:gd name="connsiteY3" fmla="*/ 210842 h 210842"/>
                  <a:gd name="connsiteX4" fmla="*/ 18007 w 189643"/>
                  <a:gd name="connsiteY4" fmla="*/ 43808 h 210842"/>
                  <a:gd name="connsiteX5" fmla="*/ 94180 w 189643"/>
                  <a:gd name="connsiteY5" fmla="*/ 120954 h 210842"/>
                  <a:gd name="connsiteX6" fmla="*/ 171735 w 189643"/>
                  <a:gd name="connsiteY6" fmla="*/ 43413 h 210842"/>
                  <a:gd name="connsiteX7" fmla="*/ 171735 w 189643"/>
                  <a:gd name="connsiteY7" fmla="*/ 210842 h 210842"/>
                  <a:gd name="connsiteX8" fmla="*/ 189643 w 189643"/>
                  <a:gd name="connsiteY8" fmla="*/ 210842 h 210842"/>
                  <a:gd name="connsiteX9" fmla="*/ 189643 w 189643"/>
                  <a:gd name="connsiteY9" fmla="*/ 0 h 210842"/>
                  <a:gd name="connsiteX10" fmla="*/ 94378 w 189643"/>
                  <a:gd name="connsiteY10" fmla="*/ 95321 h 21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9643" h="210842">
                    <a:moveTo>
                      <a:pt x="94378" y="95321"/>
                    </a:moveTo>
                    <a:lnTo>
                      <a:pt x="0" y="99"/>
                    </a:lnTo>
                    <a:lnTo>
                      <a:pt x="99" y="210842"/>
                    </a:lnTo>
                    <a:lnTo>
                      <a:pt x="18007" y="210842"/>
                    </a:lnTo>
                    <a:lnTo>
                      <a:pt x="18007" y="43808"/>
                    </a:lnTo>
                    <a:lnTo>
                      <a:pt x="94180" y="120954"/>
                    </a:lnTo>
                    <a:lnTo>
                      <a:pt x="171735" y="43413"/>
                    </a:lnTo>
                    <a:lnTo>
                      <a:pt x="171735" y="210842"/>
                    </a:lnTo>
                    <a:lnTo>
                      <a:pt x="189643" y="210842"/>
                    </a:lnTo>
                    <a:lnTo>
                      <a:pt x="189643" y="0"/>
                    </a:lnTo>
                    <a:lnTo>
                      <a:pt x="94378" y="95321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xmlns="" id="{58E6CC80-D256-DF6B-5ED2-DEC97774E72D}"/>
                  </a:ext>
                </a:extLst>
              </p:cNvPr>
              <p:cNvSpPr/>
              <p:nvPr/>
            </p:nvSpPr>
            <p:spPr>
              <a:xfrm>
                <a:off x="11587989" y="6266744"/>
                <a:ext cx="156342" cy="214743"/>
              </a:xfrm>
              <a:custGeom>
                <a:avLst/>
                <a:gdLst>
                  <a:gd name="connsiteX0" fmla="*/ 138384 w 156342"/>
                  <a:gd name="connsiteY0" fmla="*/ 3507 h 214743"/>
                  <a:gd name="connsiteX1" fmla="*/ 138384 w 156342"/>
                  <a:gd name="connsiteY1" fmla="*/ 164564 h 214743"/>
                  <a:gd name="connsiteX2" fmla="*/ 0 w 156342"/>
                  <a:gd name="connsiteY2" fmla="*/ 0 h 214743"/>
                  <a:gd name="connsiteX3" fmla="*/ 0 w 156342"/>
                  <a:gd name="connsiteY3" fmla="*/ 28646 h 214743"/>
                  <a:gd name="connsiteX4" fmla="*/ 0 w 156342"/>
                  <a:gd name="connsiteY4" fmla="*/ 210299 h 214743"/>
                  <a:gd name="connsiteX5" fmla="*/ 17909 w 156342"/>
                  <a:gd name="connsiteY5" fmla="*/ 210299 h 214743"/>
                  <a:gd name="connsiteX6" fmla="*/ 17909 w 156342"/>
                  <a:gd name="connsiteY6" fmla="*/ 49982 h 214743"/>
                  <a:gd name="connsiteX7" fmla="*/ 156342 w 156342"/>
                  <a:gd name="connsiteY7" fmla="*/ 214744 h 214743"/>
                  <a:gd name="connsiteX8" fmla="*/ 156342 w 156342"/>
                  <a:gd name="connsiteY8" fmla="*/ 3507 h 214743"/>
                  <a:gd name="connsiteX9" fmla="*/ 138384 w 156342"/>
                  <a:gd name="connsiteY9" fmla="*/ 3507 h 21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342" h="214743">
                    <a:moveTo>
                      <a:pt x="138384" y="3507"/>
                    </a:moveTo>
                    <a:lnTo>
                      <a:pt x="138384" y="164564"/>
                    </a:lnTo>
                    <a:lnTo>
                      <a:pt x="0" y="0"/>
                    </a:lnTo>
                    <a:lnTo>
                      <a:pt x="0" y="28646"/>
                    </a:lnTo>
                    <a:lnTo>
                      <a:pt x="0" y="210299"/>
                    </a:lnTo>
                    <a:lnTo>
                      <a:pt x="17909" y="210299"/>
                    </a:lnTo>
                    <a:lnTo>
                      <a:pt x="17909" y="49982"/>
                    </a:lnTo>
                    <a:lnTo>
                      <a:pt x="156342" y="214744"/>
                    </a:lnTo>
                    <a:lnTo>
                      <a:pt x="156342" y="3507"/>
                    </a:lnTo>
                    <a:lnTo>
                      <a:pt x="138384" y="3507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xmlns="" id="{81E2F7B2-F534-8AD1-EF26-BC73E6D089BA}"/>
                  </a:ext>
                </a:extLst>
              </p:cNvPr>
              <p:cNvSpPr/>
              <p:nvPr/>
            </p:nvSpPr>
            <p:spPr>
              <a:xfrm>
                <a:off x="11291980" y="6270398"/>
                <a:ext cx="150027" cy="206742"/>
              </a:xfrm>
              <a:custGeom>
                <a:avLst/>
                <a:gdLst>
                  <a:gd name="connsiteX0" fmla="*/ 129800 w 150027"/>
                  <a:gd name="connsiteY0" fmla="*/ 206743 h 206742"/>
                  <a:gd name="connsiteX1" fmla="*/ 150027 w 150027"/>
                  <a:gd name="connsiteY1" fmla="*/ 206743 h 206742"/>
                  <a:gd name="connsiteX2" fmla="*/ 100495 w 150027"/>
                  <a:gd name="connsiteY2" fmla="*/ 109940 h 206742"/>
                  <a:gd name="connsiteX3" fmla="*/ 141344 w 150027"/>
                  <a:gd name="connsiteY3" fmla="*/ 61292 h 206742"/>
                  <a:gd name="connsiteX4" fmla="*/ 141394 w 150027"/>
                  <a:gd name="connsiteY4" fmla="*/ 61292 h 206742"/>
                  <a:gd name="connsiteX5" fmla="*/ 141394 w 150027"/>
                  <a:gd name="connsiteY5" fmla="*/ 60156 h 206742"/>
                  <a:gd name="connsiteX6" fmla="*/ 141591 w 150027"/>
                  <a:gd name="connsiteY6" fmla="*/ 56847 h 206742"/>
                  <a:gd name="connsiteX7" fmla="*/ 141394 w 150027"/>
                  <a:gd name="connsiteY7" fmla="*/ 56847 h 206742"/>
                  <a:gd name="connsiteX8" fmla="*/ 141394 w 150027"/>
                  <a:gd name="connsiteY8" fmla="*/ 54921 h 206742"/>
                  <a:gd name="connsiteX9" fmla="*/ 141591 w 150027"/>
                  <a:gd name="connsiteY9" fmla="*/ 54921 h 206742"/>
                  <a:gd name="connsiteX10" fmla="*/ 141394 w 150027"/>
                  <a:gd name="connsiteY10" fmla="*/ 51562 h 206742"/>
                  <a:gd name="connsiteX11" fmla="*/ 141394 w 150027"/>
                  <a:gd name="connsiteY11" fmla="*/ 51562 h 206742"/>
                  <a:gd name="connsiteX12" fmla="*/ 86731 w 150027"/>
                  <a:gd name="connsiteY12" fmla="*/ 0 h 206742"/>
                  <a:gd name="connsiteX13" fmla="*/ 0 w 150027"/>
                  <a:gd name="connsiteY13" fmla="*/ 0 h 206742"/>
                  <a:gd name="connsiteX14" fmla="*/ 0 w 150027"/>
                  <a:gd name="connsiteY14" fmla="*/ 206693 h 206742"/>
                  <a:gd name="connsiteX15" fmla="*/ 17909 w 150027"/>
                  <a:gd name="connsiteY15" fmla="*/ 206693 h 206742"/>
                  <a:gd name="connsiteX16" fmla="*/ 17909 w 150027"/>
                  <a:gd name="connsiteY16" fmla="*/ 111669 h 206742"/>
                  <a:gd name="connsiteX17" fmla="*/ 81107 w 150027"/>
                  <a:gd name="connsiteY17" fmla="*/ 111669 h 206742"/>
                  <a:gd name="connsiteX18" fmla="*/ 129800 w 150027"/>
                  <a:gd name="connsiteY18" fmla="*/ 206743 h 206742"/>
                  <a:gd name="connsiteX19" fmla="*/ 17909 w 150027"/>
                  <a:gd name="connsiteY19" fmla="*/ 17978 h 206742"/>
                  <a:gd name="connsiteX20" fmla="*/ 86731 w 150027"/>
                  <a:gd name="connsiteY20" fmla="*/ 17978 h 206742"/>
                  <a:gd name="connsiteX21" fmla="*/ 123485 w 150027"/>
                  <a:gd name="connsiteY21" fmla="*/ 54130 h 206742"/>
                  <a:gd name="connsiteX22" fmla="*/ 123485 w 150027"/>
                  <a:gd name="connsiteY22" fmla="*/ 57538 h 206742"/>
                  <a:gd name="connsiteX23" fmla="*/ 86731 w 150027"/>
                  <a:gd name="connsiteY23" fmla="*/ 93642 h 206742"/>
                  <a:gd name="connsiteX24" fmla="*/ 86731 w 150027"/>
                  <a:gd name="connsiteY24" fmla="*/ 93642 h 206742"/>
                  <a:gd name="connsiteX25" fmla="*/ 17909 w 150027"/>
                  <a:gd name="connsiteY25" fmla="*/ 93691 h 206742"/>
                  <a:gd name="connsiteX26" fmla="*/ 17909 w 150027"/>
                  <a:gd name="connsiteY26" fmla="*/ 17978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0027" h="206742">
                    <a:moveTo>
                      <a:pt x="129800" y="206743"/>
                    </a:moveTo>
                    <a:lnTo>
                      <a:pt x="150027" y="206743"/>
                    </a:lnTo>
                    <a:cubicBezTo>
                      <a:pt x="150027" y="206743"/>
                      <a:pt x="100495" y="109940"/>
                      <a:pt x="100495" y="109940"/>
                    </a:cubicBezTo>
                    <a:cubicBezTo>
                      <a:pt x="122696" y="104162"/>
                      <a:pt x="139470" y="84850"/>
                      <a:pt x="141344" y="61292"/>
                    </a:cubicBezTo>
                    <a:lnTo>
                      <a:pt x="141394" y="61292"/>
                    </a:lnTo>
                    <a:lnTo>
                      <a:pt x="141394" y="60156"/>
                    </a:lnTo>
                    <a:cubicBezTo>
                      <a:pt x="141443" y="59069"/>
                      <a:pt x="141591" y="57933"/>
                      <a:pt x="141591" y="56847"/>
                    </a:cubicBezTo>
                    <a:lnTo>
                      <a:pt x="141394" y="56847"/>
                    </a:lnTo>
                    <a:lnTo>
                      <a:pt x="141394" y="54921"/>
                    </a:lnTo>
                    <a:lnTo>
                      <a:pt x="141591" y="54921"/>
                    </a:lnTo>
                    <a:cubicBezTo>
                      <a:pt x="141591" y="53785"/>
                      <a:pt x="141492" y="52698"/>
                      <a:pt x="141394" y="51562"/>
                    </a:cubicBezTo>
                    <a:lnTo>
                      <a:pt x="141394" y="51562"/>
                    </a:lnTo>
                    <a:cubicBezTo>
                      <a:pt x="139618" y="22768"/>
                      <a:pt x="115888" y="0"/>
                      <a:pt x="86731" y="0"/>
                    </a:cubicBezTo>
                    <a:lnTo>
                      <a:pt x="0" y="0"/>
                    </a:lnTo>
                    <a:lnTo>
                      <a:pt x="0" y="206693"/>
                    </a:lnTo>
                    <a:lnTo>
                      <a:pt x="17909" y="206693"/>
                    </a:lnTo>
                    <a:lnTo>
                      <a:pt x="17909" y="111669"/>
                    </a:lnTo>
                    <a:lnTo>
                      <a:pt x="81107" y="111669"/>
                    </a:lnTo>
                    <a:lnTo>
                      <a:pt x="129800" y="206743"/>
                    </a:lnTo>
                    <a:close/>
                    <a:moveTo>
                      <a:pt x="17909" y="17978"/>
                    </a:moveTo>
                    <a:lnTo>
                      <a:pt x="86731" y="17978"/>
                    </a:lnTo>
                    <a:cubicBezTo>
                      <a:pt x="106810" y="17978"/>
                      <a:pt x="123090" y="34128"/>
                      <a:pt x="123485" y="54130"/>
                    </a:cubicBezTo>
                    <a:lnTo>
                      <a:pt x="123485" y="57538"/>
                    </a:lnTo>
                    <a:cubicBezTo>
                      <a:pt x="123090" y="77541"/>
                      <a:pt x="106810" y="93642"/>
                      <a:pt x="86731" y="93642"/>
                    </a:cubicBezTo>
                    <a:lnTo>
                      <a:pt x="86731" y="93642"/>
                    </a:lnTo>
                    <a:cubicBezTo>
                      <a:pt x="86731" y="93642"/>
                      <a:pt x="17909" y="93691"/>
                      <a:pt x="17909" y="93691"/>
                    </a:cubicBezTo>
                    <a:lnTo>
                      <a:pt x="17909" y="17978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xmlns="" id="{CA060406-1322-ADF3-74C8-BBAF4AB4A461}"/>
                  </a:ext>
                </a:extLst>
              </p:cNvPr>
              <p:cNvSpPr/>
              <p:nvPr/>
            </p:nvSpPr>
            <p:spPr>
              <a:xfrm>
                <a:off x="10305727" y="6270300"/>
                <a:ext cx="145883" cy="206792"/>
              </a:xfrm>
              <a:custGeom>
                <a:avLst/>
                <a:gdLst>
                  <a:gd name="connsiteX0" fmla="*/ 145686 w 145883"/>
                  <a:gd name="connsiteY0" fmla="*/ 145797 h 206792"/>
                  <a:gd name="connsiteX1" fmla="*/ 137990 w 145883"/>
                  <a:gd name="connsiteY1" fmla="*/ 118830 h 206792"/>
                  <a:gd name="connsiteX2" fmla="*/ 119390 w 145883"/>
                  <a:gd name="connsiteY2" fmla="*/ 100951 h 206792"/>
                  <a:gd name="connsiteX3" fmla="*/ 141295 w 145883"/>
                  <a:gd name="connsiteY3" fmla="*/ 61341 h 206792"/>
                  <a:gd name="connsiteX4" fmla="*/ 141344 w 145883"/>
                  <a:gd name="connsiteY4" fmla="*/ 61341 h 206792"/>
                  <a:gd name="connsiteX5" fmla="*/ 141344 w 145883"/>
                  <a:gd name="connsiteY5" fmla="*/ 60205 h 206792"/>
                  <a:gd name="connsiteX6" fmla="*/ 141492 w 145883"/>
                  <a:gd name="connsiteY6" fmla="*/ 56896 h 206792"/>
                  <a:gd name="connsiteX7" fmla="*/ 141344 w 145883"/>
                  <a:gd name="connsiteY7" fmla="*/ 56896 h 206792"/>
                  <a:gd name="connsiteX8" fmla="*/ 141344 w 145883"/>
                  <a:gd name="connsiteY8" fmla="*/ 54970 h 206792"/>
                  <a:gd name="connsiteX9" fmla="*/ 141492 w 145883"/>
                  <a:gd name="connsiteY9" fmla="*/ 54970 h 206792"/>
                  <a:gd name="connsiteX10" fmla="*/ 141344 w 145883"/>
                  <a:gd name="connsiteY10" fmla="*/ 51612 h 206792"/>
                  <a:gd name="connsiteX11" fmla="*/ 141344 w 145883"/>
                  <a:gd name="connsiteY11" fmla="*/ 51612 h 206792"/>
                  <a:gd name="connsiteX12" fmla="*/ 141344 w 145883"/>
                  <a:gd name="connsiteY12" fmla="*/ 51562 h 206792"/>
                  <a:gd name="connsiteX13" fmla="*/ 86632 w 145883"/>
                  <a:gd name="connsiteY13" fmla="*/ 49 h 206792"/>
                  <a:gd name="connsiteX14" fmla="*/ 86632 w 145883"/>
                  <a:gd name="connsiteY14" fmla="*/ 148 h 206792"/>
                  <a:gd name="connsiteX15" fmla="*/ 0 w 145883"/>
                  <a:gd name="connsiteY15" fmla="*/ 0 h 206792"/>
                  <a:gd name="connsiteX16" fmla="*/ 0 w 145883"/>
                  <a:gd name="connsiteY16" fmla="*/ 206792 h 206792"/>
                  <a:gd name="connsiteX17" fmla="*/ 90036 w 145883"/>
                  <a:gd name="connsiteY17" fmla="*/ 206792 h 206792"/>
                  <a:gd name="connsiteX18" fmla="*/ 145784 w 145883"/>
                  <a:gd name="connsiteY18" fmla="*/ 151773 h 206792"/>
                  <a:gd name="connsiteX19" fmla="*/ 145883 w 145883"/>
                  <a:gd name="connsiteY19" fmla="*/ 151773 h 206792"/>
                  <a:gd name="connsiteX20" fmla="*/ 145883 w 145883"/>
                  <a:gd name="connsiteY20" fmla="*/ 145797 h 206792"/>
                  <a:gd name="connsiteX21" fmla="*/ 145784 w 145883"/>
                  <a:gd name="connsiteY21" fmla="*/ 145797 h 206792"/>
                  <a:gd name="connsiteX22" fmla="*/ 86681 w 145883"/>
                  <a:gd name="connsiteY22" fmla="*/ 18076 h 206792"/>
                  <a:gd name="connsiteX23" fmla="*/ 86681 w 145883"/>
                  <a:gd name="connsiteY23" fmla="*/ 18076 h 206792"/>
                  <a:gd name="connsiteX24" fmla="*/ 123485 w 145883"/>
                  <a:gd name="connsiteY24" fmla="*/ 54328 h 206792"/>
                  <a:gd name="connsiteX25" fmla="*/ 123485 w 145883"/>
                  <a:gd name="connsiteY25" fmla="*/ 57538 h 206792"/>
                  <a:gd name="connsiteX26" fmla="*/ 86681 w 145883"/>
                  <a:gd name="connsiteY26" fmla="*/ 93889 h 206792"/>
                  <a:gd name="connsiteX27" fmla="*/ 17909 w 145883"/>
                  <a:gd name="connsiteY27" fmla="*/ 93889 h 206792"/>
                  <a:gd name="connsiteX28" fmla="*/ 17909 w 145883"/>
                  <a:gd name="connsiteY28" fmla="*/ 18076 h 206792"/>
                  <a:gd name="connsiteX29" fmla="*/ 86681 w 145883"/>
                  <a:gd name="connsiteY29" fmla="*/ 18076 h 206792"/>
                  <a:gd name="connsiteX30" fmla="*/ 127876 w 145883"/>
                  <a:gd name="connsiteY30" fmla="*/ 150834 h 206792"/>
                  <a:gd name="connsiteX31" fmla="*/ 127728 w 145883"/>
                  <a:gd name="connsiteY31" fmla="*/ 150834 h 206792"/>
                  <a:gd name="connsiteX32" fmla="*/ 89691 w 145883"/>
                  <a:gd name="connsiteY32" fmla="*/ 188913 h 206792"/>
                  <a:gd name="connsiteX33" fmla="*/ 89691 w 145883"/>
                  <a:gd name="connsiteY33" fmla="*/ 188913 h 206792"/>
                  <a:gd name="connsiteX34" fmla="*/ 17909 w 145883"/>
                  <a:gd name="connsiteY34" fmla="*/ 188913 h 206792"/>
                  <a:gd name="connsiteX35" fmla="*/ 17909 w 145883"/>
                  <a:gd name="connsiteY35" fmla="*/ 111916 h 206792"/>
                  <a:gd name="connsiteX36" fmla="*/ 92207 w 145883"/>
                  <a:gd name="connsiteY36" fmla="*/ 112212 h 206792"/>
                  <a:gd name="connsiteX37" fmla="*/ 92207 w 145883"/>
                  <a:gd name="connsiteY37" fmla="*/ 112212 h 206792"/>
                  <a:gd name="connsiteX38" fmla="*/ 122942 w 145883"/>
                  <a:gd name="connsiteY38" fmla="*/ 128757 h 206792"/>
                  <a:gd name="connsiteX39" fmla="*/ 127777 w 145883"/>
                  <a:gd name="connsiteY39" fmla="*/ 147180 h 206792"/>
                  <a:gd name="connsiteX40" fmla="*/ 127925 w 145883"/>
                  <a:gd name="connsiteY40" fmla="*/ 147180 h 206792"/>
                  <a:gd name="connsiteX41" fmla="*/ 127925 w 145883"/>
                  <a:gd name="connsiteY41" fmla="*/ 150834 h 2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45883" h="206792">
                    <a:moveTo>
                      <a:pt x="145686" y="145797"/>
                    </a:moveTo>
                    <a:cubicBezTo>
                      <a:pt x="145439" y="135771"/>
                      <a:pt x="142923" y="126831"/>
                      <a:pt x="137990" y="118830"/>
                    </a:cubicBezTo>
                    <a:cubicBezTo>
                      <a:pt x="133253" y="111274"/>
                      <a:pt x="126889" y="105199"/>
                      <a:pt x="119390" y="100951"/>
                    </a:cubicBezTo>
                    <a:cubicBezTo>
                      <a:pt x="131675" y="91765"/>
                      <a:pt x="140012" y="77541"/>
                      <a:pt x="141295" y="61341"/>
                    </a:cubicBezTo>
                    <a:lnTo>
                      <a:pt x="141344" y="61341"/>
                    </a:lnTo>
                    <a:lnTo>
                      <a:pt x="141344" y="60205"/>
                    </a:lnTo>
                    <a:cubicBezTo>
                      <a:pt x="141394" y="59119"/>
                      <a:pt x="141492" y="57983"/>
                      <a:pt x="141492" y="56896"/>
                    </a:cubicBezTo>
                    <a:lnTo>
                      <a:pt x="141344" y="56896"/>
                    </a:lnTo>
                    <a:lnTo>
                      <a:pt x="141344" y="54970"/>
                    </a:lnTo>
                    <a:lnTo>
                      <a:pt x="141492" y="54970"/>
                    </a:lnTo>
                    <a:cubicBezTo>
                      <a:pt x="141492" y="53834"/>
                      <a:pt x="141394" y="52748"/>
                      <a:pt x="141344" y="51612"/>
                    </a:cubicBezTo>
                    <a:lnTo>
                      <a:pt x="141344" y="51612"/>
                    </a:lnTo>
                    <a:cubicBezTo>
                      <a:pt x="141344" y="51612"/>
                      <a:pt x="141344" y="51562"/>
                      <a:pt x="141344" y="51562"/>
                    </a:cubicBezTo>
                    <a:cubicBezTo>
                      <a:pt x="139568" y="22818"/>
                      <a:pt x="115789" y="49"/>
                      <a:pt x="86632" y="49"/>
                    </a:cubicBezTo>
                    <a:lnTo>
                      <a:pt x="86632" y="148"/>
                    </a:lnTo>
                    <a:lnTo>
                      <a:pt x="0" y="0"/>
                    </a:lnTo>
                    <a:lnTo>
                      <a:pt x="0" y="206792"/>
                    </a:lnTo>
                    <a:lnTo>
                      <a:pt x="90036" y="206792"/>
                    </a:lnTo>
                    <a:cubicBezTo>
                      <a:pt x="120476" y="206595"/>
                      <a:pt x="145143" y="182147"/>
                      <a:pt x="145784" y="151773"/>
                    </a:cubicBezTo>
                    <a:lnTo>
                      <a:pt x="145883" y="151773"/>
                    </a:lnTo>
                    <a:lnTo>
                      <a:pt x="145883" y="145797"/>
                    </a:lnTo>
                    <a:lnTo>
                      <a:pt x="145784" y="145797"/>
                    </a:lnTo>
                    <a:close/>
                    <a:moveTo>
                      <a:pt x="86681" y="18076"/>
                    </a:moveTo>
                    <a:lnTo>
                      <a:pt x="86681" y="18076"/>
                    </a:lnTo>
                    <a:cubicBezTo>
                      <a:pt x="106810" y="18076"/>
                      <a:pt x="123140" y="34276"/>
                      <a:pt x="123485" y="54328"/>
                    </a:cubicBezTo>
                    <a:lnTo>
                      <a:pt x="123485" y="57538"/>
                    </a:lnTo>
                    <a:cubicBezTo>
                      <a:pt x="123140" y="77590"/>
                      <a:pt x="106810" y="93889"/>
                      <a:pt x="86681" y="93889"/>
                    </a:cubicBezTo>
                    <a:lnTo>
                      <a:pt x="17909" y="93889"/>
                    </a:lnTo>
                    <a:lnTo>
                      <a:pt x="17909" y="18076"/>
                    </a:lnTo>
                    <a:lnTo>
                      <a:pt x="86681" y="18076"/>
                    </a:lnTo>
                    <a:close/>
                    <a:moveTo>
                      <a:pt x="127876" y="150834"/>
                    </a:moveTo>
                    <a:lnTo>
                      <a:pt x="127728" y="150834"/>
                    </a:lnTo>
                    <a:cubicBezTo>
                      <a:pt x="127728" y="171874"/>
                      <a:pt x="110707" y="188913"/>
                      <a:pt x="89691" y="188913"/>
                    </a:cubicBezTo>
                    <a:lnTo>
                      <a:pt x="89691" y="188913"/>
                    </a:lnTo>
                    <a:cubicBezTo>
                      <a:pt x="89691" y="188913"/>
                      <a:pt x="17909" y="188913"/>
                      <a:pt x="17909" y="188913"/>
                    </a:cubicBezTo>
                    <a:lnTo>
                      <a:pt x="17909" y="111916"/>
                    </a:lnTo>
                    <a:lnTo>
                      <a:pt x="92207" y="112212"/>
                    </a:lnTo>
                    <a:lnTo>
                      <a:pt x="92207" y="112212"/>
                    </a:lnTo>
                    <a:cubicBezTo>
                      <a:pt x="105133" y="112212"/>
                      <a:pt x="116381" y="118583"/>
                      <a:pt x="122942" y="128757"/>
                    </a:cubicBezTo>
                    <a:cubicBezTo>
                      <a:pt x="125705" y="134536"/>
                      <a:pt x="127777" y="140364"/>
                      <a:pt x="127777" y="147180"/>
                    </a:cubicBezTo>
                    <a:lnTo>
                      <a:pt x="127925" y="147180"/>
                    </a:lnTo>
                    <a:lnTo>
                      <a:pt x="127925" y="150834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xmlns="" id="{475DF490-048B-0E5C-E595-4C1B35E1DD48}"/>
                  </a:ext>
                </a:extLst>
              </p:cNvPr>
              <p:cNvSpPr/>
              <p:nvPr/>
            </p:nvSpPr>
            <p:spPr>
              <a:xfrm>
                <a:off x="10582446" y="6266744"/>
                <a:ext cx="213619" cy="213755"/>
              </a:xfrm>
              <a:custGeom>
                <a:avLst/>
                <a:gdLst>
                  <a:gd name="connsiteX0" fmla="*/ 937 w 213619"/>
                  <a:gd name="connsiteY0" fmla="*/ 120312 h 213755"/>
                  <a:gd name="connsiteX1" fmla="*/ 106859 w 213619"/>
                  <a:gd name="connsiteY1" fmla="*/ 213756 h 213755"/>
                  <a:gd name="connsiteX2" fmla="*/ 212781 w 213619"/>
                  <a:gd name="connsiteY2" fmla="*/ 120262 h 213755"/>
                  <a:gd name="connsiteX3" fmla="*/ 213620 w 213619"/>
                  <a:gd name="connsiteY3" fmla="*/ 107224 h 213755"/>
                  <a:gd name="connsiteX4" fmla="*/ 213028 w 213619"/>
                  <a:gd name="connsiteY4" fmla="*/ 95568 h 213755"/>
                  <a:gd name="connsiteX5" fmla="*/ 106859 w 213619"/>
                  <a:gd name="connsiteY5" fmla="*/ 0 h 213755"/>
                  <a:gd name="connsiteX6" fmla="*/ 691 w 213619"/>
                  <a:gd name="connsiteY6" fmla="*/ 95568 h 213755"/>
                  <a:gd name="connsiteX7" fmla="*/ 592 w 213619"/>
                  <a:gd name="connsiteY7" fmla="*/ 95568 h 213755"/>
                  <a:gd name="connsiteX8" fmla="*/ 0 w 213619"/>
                  <a:gd name="connsiteY8" fmla="*/ 107224 h 213755"/>
                  <a:gd name="connsiteX9" fmla="*/ 839 w 213619"/>
                  <a:gd name="connsiteY9" fmla="*/ 120262 h 213755"/>
                  <a:gd name="connsiteX10" fmla="*/ 106859 w 213619"/>
                  <a:gd name="connsiteY10" fmla="*/ 195581 h 213755"/>
                  <a:gd name="connsiteX11" fmla="*/ 19241 w 213619"/>
                  <a:gd name="connsiteY11" fmla="*/ 120312 h 213755"/>
                  <a:gd name="connsiteX12" fmla="*/ 19142 w 213619"/>
                  <a:gd name="connsiteY12" fmla="*/ 120312 h 213755"/>
                  <a:gd name="connsiteX13" fmla="*/ 18155 w 213619"/>
                  <a:gd name="connsiteY13" fmla="*/ 107224 h 213755"/>
                  <a:gd name="connsiteX14" fmla="*/ 18846 w 213619"/>
                  <a:gd name="connsiteY14" fmla="*/ 95914 h 213755"/>
                  <a:gd name="connsiteX15" fmla="*/ 18895 w 213619"/>
                  <a:gd name="connsiteY15" fmla="*/ 95914 h 213755"/>
                  <a:gd name="connsiteX16" fmla="*/ 106810 w 213619"/>
                  <a:gd name="connsiteY16" fmla="*/ 18175 h 213755"/>
                  <a:gd name="connsiteX17" fmla="*/ 194675 w 213619"/>
                  <a:gd name="connsiteY17" fmla="*/ 95765 h 213755"/>
                  <a:gd name="connsiteX18" fmla="*/ 195415 w 213619"/>
                  <a:gd name="connsiteY18" fmla="*/ 107273 h 213755"/>
                  <a:gd name="connsiteX19" fmla="*/ 194429 w 213619"/>
                  <a:gd name="connsiteY19" fmla="*/ 120509 h 213755"/>
                  <a:gd name="connsiteX20" fmla="*/ 106810 w 213619"/>
                  <a:gd name="connsiteY20" fmla="*/ 195630 h 21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3619" h="213755">
                    <a:moveTo>
                      <a:pt x="937" y="120312"/>
                    </a:moveTo>
                    <a:cubicBezTo>
                      <a:pt x="7548" y="173010"/>
                      <a:pt x="52443" y="213756"/>
                      <a:pt x="106859" y="213756"/>
                    </a:cubicBezTo>
                    <a:cubicBezTo>
                      <a:pt x="161276" y="213756"/>
                      <a:pt x="206170" y="172961"/>
                      <a:pt x="212781" y="120262"/>
                    </a:cubicBezTo>
                    <a:cubicBezTo>
                      <a:pt x="213275" y="116015"/>
                      <a:pt x="213620" y="111619"/>
                      <a:pt x="213620" y="107224"/>
                    </a:cubicBezTo>
                    <a:cubicBezTo>
                      <a:pt x="213620" y="103174"/>
                      <a:pt x="213472" y="99519"/>
                      <a:pt x="213028" y="95568"/>
                    </a:cubicBezTo>
                    <a:cubicBezTo>
                      <a:pt x="207502" y="41684"/>
                      <a:pt x="162114" y="0"/>
                      <a:pt x="106859" y="0"/>
                    </a:cubicBezTo>
                    <a:cubicBezTo>
                      <a:pt x="51604" y="0"/>
                      <a:pt x="6315" y="41882"/>
                      <a:pt x="691" y="95568"/>
                    </a:cubicBezTo>
                    <a:lnTo>
                      <a:pt x="592" y="95568"/>
                    </a:lnTo>
                    <a:cubicBezTo>
                      <a:pt x="148" y="99519"/>
                      <a:pt x="0" y="103174"/>
                      <a:pt x="0" y="107224"/>
                    </a:cubicBezTo>
                    <a:cubicBezTo>
                      <a:pt x="0" y="111619"/>
                      <a:pt x="296" y="116015"/>
                      <a:pt x="839" y="120262"/>
                    </a:cubicBezTo>
                    <a:moveTo>
                      <a:pt x="106859" y="195581"/>
                    </a:moveTo>
                    <a:cubicBezTo>
                      <a:pt x="62458" y="195581"/>
                      <a:pt x="25703" y="162935"/>
                      <a:pt x="19241" y="120312"/>
                    </a:cubicBezTo>
                    <a:lnTo>
                      <a:pt x="19142" y="120312"/>
                    </a:lnTo>
                    <a:cubicBezTo>
                      <a:pt x="18501" y="116015"/>
                      <a:pt x="18155" y="111718"/>
                      <a:pt x="18155" y="107224"/>
                    </a:cubicBezTo>
                    <a:cubicBezTo>
                      <a:pt x="18155" y="103322"/>
                      <a:pt x="18353" y="99667"/>
                      <a:pt x="18846" y="95914"/>
                    </a:cubicBezTo>
                    <a:lnTo>
                      <a:pt x="18895" y="95914"/>
                    </a:lnTo>
                    <a:cubicBezTo>
                      <a:pt x="24273" y="52105"/>
                      <a:pt x="61570" y="18175"/>
                      <a:pt x="106810" y="18175"/>
                    </a:cubicBezTo>
                    <a:cubicBezTo>
                      <a:pt x="152050" y="18175"/>
                      <a:pt x="189298" y="51908"/>
                      <a:pt x="194675" y="95765"/>
                    </a:cubicBezTo>
                    <a:cubicBezTo>
                      <a:pt x="195169" y="99618"/>
                      <a:pt x="195415" y="103322"/>
                      <a:pt x="195415" y="107273"/>
                    </a:cubicBezTo>
                    <a:cubicBezTo>
                      <a:pt x="195415" y="111817"/>
                      <a:pt x="195070" y="116163"/>
                      <a:pt x="194429" y="120509"/>
                    </a:cubicBezTo>
                    <a:cubicBezTo>
                      <a:pt x="187966" y="163132"/>
                      <a:pt x="151211" y="195630"/>
                      <a:pt x="106810" y="195630"/>
                    </a:cubicBez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xmlns="" id="{AD97B144-7963-BB44-13B3-3CE94D42CFBA}"/>
                  </a:ext>
                </a:extLst>
              </p:cNvPr>
              <p:cNvSpPr/>
              <p:nvPr/>
            </p:nvSpPr>
            <p:spPr>
              <a:xfrm>
                <a:off x="11773290" y="6266299"/>
                <a:ext cx="29008" cy="29040"/>
              </a:xfrm>
              <a:custGeom>
                <a:avLst/>
                <a:gdLst>
                  <a:gd name="connsiteX0" fmla="*/ 0 w 29008"/>
                  <a:gd name="connsiteY0" fmla="*/ 14471 h 29040"/>
                  <a:gd name="connsiteX1" fmla="*/ 14554 w 29008"/>
                  <a:gd name="connsiteY1" fmla="*/ 0 h 29040"/>
                  <a:gd name="connsiteX2" fmla="*/ 29009 w 29008"/>
                  <a:gd name="connsiteY2" fmla="*/ 14471 h 29040"/>
                  <a:gd name="connsiteX3" fmla="*/ 14554 w 29008"/>
                  <a:gd name="connsiteY3" fmla="*/ 29041 h 29040"/>
                  <a:gd name="connsiteX4" fmla="*/ 0 w 29008"/>
                  <a:gd name="connsiteY4" fmla="*/ 14471 h 29040"/>
                  <a:gd name="connsiteX5" fmla="*/ 26690 w 29008"/>
                  <a:gd name="connsiteY5" fmla="*/ 14471 h 29040"/>
                  <a:gd name="connsiteX6" fmla="*/ 14554 w 29008"/>
                  <a:gd name="connsiteY6" fmla="*/ 1926 h 29040"/>
                  <a:gd name="connsiteX7" fmla="*/ 2319 w 29008"/>
                  <a:gd name="connsiteY7" fmla="*/ 14471 h 29040"/>
                  <a:gd name="connsiteX8" fmla="*/ 14554 w 29008"/>
                  <a:gd name="connsiteY8" fmla="*/ 27115 h 29040"/>
                  <a:gd name="connsiteX9" fmla="*/ 26690 w 29008"/>
                  <a:gd name="connsiteY9" fmla="*/ 14471 h 29040"/>
                  <a:gd name="connsiteX10" fmla="*/ 21757 w 29008"/>
                  <a:gd name="connsiteY10" fmla="*/ 22571 h 29040"/>
                  <a:gd name="connsiteX11" fmla="*/ 19389 w 29008"/>
                  <a:gd name="connsiteY11" fmla="*/ 22571 h 29040"/>
                  <a:gd name="connsiteX12" fmla="*/ 14751 w 29008"/>
                  <a:gd name="connsiteY12" fmla="*/ 15113 h 29040"/>
                  <a:gd name="connsiteX13" fmla="*/ 11100 w 29008"/>
                  <a:gd name="connsiteY13" fmla="*/ 15113 h 29040"/>
                  <a:gd name="connsiteX14" fmla="*/ 11100 w 29008"/>
                  <a:gd name="connsiteY14" fmla="*/ 22571 h 29040"/>
                  <a:gd name="connsiteX15" fmla="*/ 9127 w 29008"/>
                  <a:gd name="connsiteY15" fmla="*/ 22571 h 29040"/>
                  <a:gd name="connsiteX16" fmla="*/ 9127 w 29008"/>
                  <a:gd name="connsiteY16" fmla="*/ 6371 h 29040"/>
                  <a:gd name="connsiteX17" fmla="*/ 16231 w 29008"/>
                  <a:gd name="connsiteY17" fmla="*/ 6371 h 29040"/>
                  <a:gd name="connsiteX18" fmla="*/ 21954 w 29008"/>
                  <a:gd name="connsiteY18" fmla="*/ 10668 h 29040"/>
                  <a:gd name="connsiteX19" fmla="*/ 16873 w 29008"/>
                  <a:gd name="connsiteY19" fmla="*/ 15113 h 29040"/>
                  <a:gd name="connsiteX20" fmla="*/ 21757 w 29008"/>
                  <a:gd name="connsiteY20" fmla="*/ 22571 h 29040"/>
                  <a:gd name="connsiteX21" fmla="*/ 14159 w 29008"/>
                  <a:gd name="connsiteY21" fmla="*/ 13533 h 29040"/>
                  <a:gd name="connsiteX22" fmla="*/ 19833 w 29008"/>
                  <a:gd name="connsiteY22" fmla="*/ 10619 h 29040"/>
                  <a:gd name="connsiteX23" fmla="*/ 15787 w 29008"/>
                  <a:gd name="connsiteY23" fmla="*/ 7803 h 29040"/>
                  <a:gd name="connsiteX24" fmla="*/ 11150 w 29008"/>
                  <a:gd name="connsiteY24" fmla="*/ 7803 h 29040"/>
                  <a:gd name="connsiteX25" fmla="*/ 11150 w 29008"/>
                  <a:gd name="connsiteY25" fmla="*/ 13533 h 29040"/>
                  <a:gd name="connsiteX26" fmla="*/ 14159 w 29008"/>
                  <a:gd name="connsiteY26" fmla="*/ 13533 h 2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008" h="29040">
                    <a:moveTo>
                      <a:pt x="0" y="14471"/>
                    </a:moveTo>
                    <a:cubicBezTo>
                      <a:pt x="0" y="6519"/>
                      <a:pt x="6512" y="0"/>
                      <a:pt x="14554" y="0"/>
                    </a:cubicBezTo>
                    <a:cubicBezTo>
                      <a:pt x="22595" y="0"/>
                      <a:pt x="29009" y="6519"/>
                      <a:pt x="29009" y="14471"/>
                    </a:cubicBezTo>
                    <a:cubicBezTo>
                      <a:pt x="29009" y="22423"/>
                      <a:pt x="22546" y="29041"/>
                      <a:pt x="14554" y="29041"/>
                    </a:cubicBezTo>
                    <a:cubicBezTo>
                      <a:pt x="6561" y="29041"/>
                      <a:pt x="0" y="22521"/>
                      <a:pt x="0" y="14471"/>
                    </a:cubicBezTo>
                    <a:close/>
                    <a:moveTo>
                      <a:pt x="26690" y="14471"/>
                    </a:moveTo>
                    <a:cubicBezTo>
                      <a:pt x="26690" y="7408"/>
                      <a:pt x="21559" y="1926"/>
                      <a:pt x="14554" y="1926"/>
                    </a:cubicBezTo>
                    <a:cubicBezTo>
                      <a:pt x="7548" y="1926"/>
                      <a:pt x="2319" y="7458"/>
                      <a:pt x="2319" y="14471"/>
                    </a:cubicBezTo>
                    <a:cubicBezTo>
                      <a:pt x="2319" y="21484"/>
                      <a:pt x="7499" y="27115"/>
                      <a:pt x="14554" y="27115"/>
                    </a:cubicBezTo>
                    <a:cubicBezTo>
                      <a:pt x="21609" y="27115"/>
                      <a:pt x="26690" y="21583"/>
                      <a:pt x="26690" y="14471"/>
                    </a:cubicBezTo>
                    <a:close/>
                    <a:moveTo>
                      <a:pt x="21757" y="22571"/>
                    </a:moveTo>
                    <a:lnTo>
                      <a:pt x="19389" y="22571"/>
                    </a:lnTo>
                    <a:lnTo>
                      <a:pt x="14751" y="15113"/>
                    </a:lnTo>
                    <a:lnTo>
                      <a:pt x="11100" y="15113"/>
                    </a:lnTo>
                    <a:lnTo>
                      <a:pt x="11100" y="22571"/>
                    </a:lnTo>
                    <a:lnTo>
                      <a:pt x="9127" y="22571"/>
                    </a:lnTo>
                    <a:lnTo>
                      <a:pt x="9127" y="6371"/>
                    </a:lnTo>
                    <a:lnTo>
                      <a:pt x="16231" y="6371"/>
                    </a:lnTo>
                    <a:cubicBezTo>
                      <a:pt x="20523" y="6371"/>
                      <a:pt x="21954" y="8001"/>
                      <a:pt x="21954" y="10668"/>
                    </a:cubicBezTo>
                    <a:cubicBezTo>
                      <a:pt x="21954" y="13829"/>
                      <a:pt x="19734" y="15014"/>
                      <a:pt x="16873" y="15113"/>
                    </a:cubicBezTo>
                    <a:lnTo>
                      <a:pt x="21757" y="22571"/>
                    </a:lnTo>
                    <a:close/>
                    <a:moveTo>
                      <a:pt x="14159" y="13533"/>
                    </a:moveTo>
                    <a:cubicBezTo>
                      <a:pt x="16478" y="13533"/>
                      <a:pt x="19833" y="13928"/>
                      <a:pt x="19833" y="10619"/>
                    </a:cubicBezTo>
                    <a:cubicBezTo>
                      <a:pt x="19833" y="8100"/>
                      <a:pt x="17761" y="7803"/>
                      <a:pt x="15787" y="7803"/>
                    </a:cubicBezTo>
                    <a:lnTo>
                      <a:pt x="11150" y="7803"/>
                    </a:lnTo>
                    <a:lnTo>
                      <a:pt x="11150" y="13533"/>
                    </a:lnTo>
                    <a:lnTo>
                      <a:pt x="14159" y="13533"/>
                    </a:lnTo>
                    <a:close/>
                  </a:path>
                </a:pathLst>
              </a:custGeom>
              <a:solidFill>
                <a:srgbClr val="28509C"/>
              </a:solidFill>
              <a:ln w="49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687CA13A-B6F1-AFB4-39CE-31EDB81E69FE}"/>
                </a:ext>
              </a:extLst>
            </p:cNvPr>
            <p:cNvSpPr/>
            <p:nvPr/>
          </p:nvSpPr>
          <p:spPr>
            <a:xfrm>
              <a:off x="10494136" y="6268077"/>
              <a:ext cx="48101" cy="28102"/>
            </a:xfrm>
            <a:custGeom>
              <a:avLst/>
              <a:gdLst>
                <a:gd name="connsiteX0" fmla="*/ 10459 w 48101"/>
                <a:gd name="connsiteY0" fmla="*/ 3013 h 28102"/>
                <a:gd name="connsiteX1" fmla="*/ 6463 w 48101"/>
                <a:gd name="connsiteY1" fmla="*/ 5285 h 28102"/>
                <a:gd name="connsiteX2" fmla="*/ 2960 w 48101"/>
                <a:gd name="connsiteY2" fmla="*/ 7952 h 28102"/>
                <a:gd name="connsiteX3" fmla="*/ 1875 w 48101"/>
                <a:gd name="connsiteY3" fmla="*/ 10372 h 28102"/>
                <a:gd name="connsiteX4" fmla="*/ 444 w 48101"/>
                <a:gd name="connsiteY4" fmla="*/ 12446 h 28102"/>
                <a:gd name="connsiteX5" fmla="*/ 99 w 48101"/>
                <a:gd name="connsiteY5" fmla="*/ 13187 h 28102"/>
                <a:gd name="connsiteX6" fmla="*/ 0 w 48101"/>
                <a:gd name="connsiteY6" fmla="*/ 13928 h 28102"/>
                <a:gd name="connsiteX7" fmla="*/ 197 w 48101"/>
                <a:gd name="connsiteY7" fmla="*/ 14767 h 28102"/>
                <a:gd name="connsiteX8" fmla="*/ 1529 w 48101"/>
                <a:gd name="connsiteY8" fmla="*/ 18422 h 28102"/>
                <a:gd name="connsiteX9" fmla="*/ 3848 w 48101"/>
                <a:gd name="connsiteY9" fmla="*/ 19854 h 28102"/>
                <a:gd name="connsiteX10" fmla="*/ 6512 w 48101"/>
                <a:gd name="connsiteY10" fmla="*/ 22867 h 28102"/>
                <a:gd name="connsiteX11" fmla="*/ 8436 w 48101"/>
                <a:gd name="connsiteY11" fmla="*/ 24695 h 28102"/>
                <a:gd name="connsiteX12" fmla="*/ 11199 w 48101"/>
                <a:gd name="connsiteY12" fmla="*/ 26028 h 28102"/>
                <a:gd name="connsiteX13" fmla="*/ 13962 w 48101"/>
                <a:gd name="connsiteY13" fmla="*/ 26868 h 28102"/>
                <a:gd name="connsiteX14" fmla="*/ 17859 w 48101"/>
                <a:gd name="connsiteY14" fmla="*/ 26868 h 28102"/>
                <a:gd name="connsiteX15" fmla="*/ 20425 w 48101"/>
                <a:gd name="connsiteY15" fmla="*/ 27362 h 28102"/>
                <a:gd name="connsiteX16" fmla="*/ 23187 w 48101"/>
                <a:gd name="connsiteY16" fmla="*/ 27609 h 28102"/>
                <a:gd name="connsiteX17" fmla="*/ 26937 w 48101"/>
                <a:gd name="connsiteY17" fmla="*/ 27855 h 28102"/>
                <a:gd name="connsiteX18" fmla="*/ 30538 w 48101"/>
                <a:gd name="connsiteY18" fmla="*/ 28102 h 28102"/>
                <a:gd name="connsiteX19" fmla="*/ 35028 w 48101"/>
                <a:gd name="connsiteY19" fmla="*/ 27757 h 28102"/>
                <a:gd name="connsiteX20" fmla="*/ 38432 w 48101"/>
                <a:gd name="connsiteY20" fmla="*/ 26769 h 28102"/>
                <a:gd name="connsiteX21" fmla="*/ 42527 w 48101"/>
                <a:gd name="connsiteY21" fmla="*/ 25090 h 28102"/>
                <a:gd name="connsiteX22" fmla="*/ 44352 w 48101"/>
                <a:gd name="connsiteY22" fmla="*/ 23015 h 28102"/>
                <a:gd name="connsiteX23" fmla="*/ 46424 w 48101"/>
                <a:gd name="connsiteY23" fmla="*/ 21089 h 28102"/>
                <a:gd name="connsiteX24" fmla="*/ 48101 w 48101"/>
                <a:gd name="connsiteY24" fmla="*/ 18422 h 28102"/>
                <a:gd name="connsiteX25" fmla="*/ 48003 w 48101"/>
                <a:gd name="connsiteY25" fmla="*/ 15656 h 28102"/>
                <a:gd name="connsiteX26" fmla="*/ 47263 w 48101"/>
                <a:gd name="connsiteY26" fmla="*/ 11656 h 28102"/>
                <a:gd name="connsiteX27" fmla="*/ 42921 w 48101"/>
                <a:gd name="connsiteY27" fmla="*/ 5334 h 28102"/>
                <a:gd name="connsiteX28" fmla="*/ 39073 w 48101"/>
                <a:gd name="connsiteY28" fmla="*/ 2420 h 28102"/>
                <a:gd name="connsiteX29" fmla="*/ 37149 w 48101"/>
                <a:gd name="connsiteY29" fmla="*/ 1482 h 28102"/>
                <a:gd name="connsiteX30" fmla="*/ 35718 w 48101"/>
                <a:gd name="connsiteY30" fmla="*/ 938 h 28102"/>
                <a:gd name="connsiteX31" fmla="*/ 34337 w 48101"/>
                <a:gd name="connsiteY31" fmla="*/ 741 h 28102"/>
                <a:gd name="connsiteX32" fmla="*/ 29848 w 48101"/>
                <a:gd name="connsiteY32" fmla="*/ 1087 h 28102"/>
                <a:gd name="connsiteX33" fmla="*/ 25358 w 48101"/>
                <a:gd name="connsiteY33" fmla="*/ 346 h 28102"/>
                <a:gd name="connsiteX34" fmla="*/ 23187 w 48101"/>
                <a:gd name="connsiteY34" fmla="*/ 0 h 28102"/>
                <a:gd name="connsiteX35" fmla="*/ 20425 w 48101"/>
                <a:gd name="connsiteY35" fmla="*/ 593 h 28102"/>
                <a:gd name="connsiteX36" fmla="*/ 16774 w 48101"/>
                <a:gd name="connsiteY36" fmla="*/ 1087 h 28102"/>
                <a:gd name="connsiteX37" fmla="*/ 14455 w 48101"/>
                <a:gd name="connsiteY37" fmla="*/ 1926 h 28102"/>
                <a:gd name="connsiteX38" fmla="*/ 10459 w 48101"/>
                <a:gd name="connsiteY38" fmla="*/ 3013 h 2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101" h="28102">
                  <a:moveTo>
                    <a:pt x="10459" y="3013"/>
                  </a:moveTo>
                  <a:lnTo>
                    <a:pt x="6463" y="5285"/>
                  </a:lnTo>
                  <a:lnTo>
                    <a:pt x="2960" y="7952"/>
                  </a:lnTo>
                  <a:lnTo>
                    <a:pt x="1875" y="10372"/>
                  </a:lnTo>
                  <a:lnTo>
                    <a:pt x="444" y="12446"/>
                  </a:lnTo>
                  <a:lnTo>
                    <a:pt x="99" y="13187"/>
                  </a:lnTo>
                  <a:lnTo>
                    <a:pt x="0" y="13928"/>
                  </a:lnTo>
                  <a:lnTo>
                    <a:pt x="197" y="14767"/>
                  </a:lnTo>
                  <a:lnTo>
                    <a:pt x="1529" y="18422"/>
                  </a:lnTo>
                  <a:lnTo>
                    <a:pt x="3848" y="19854"/>
                  </a:lnTo>
                  <a:lnTo>
                    <a:pt x="6512" y="22867"/>
                  </a:lnTo>
                  <a:lnTo>
                    <a:pt x="8436" y="24695"/>
                  </a:lnTo>
                  <a:lnTo>
                    <a:pt x="11199" y="26028"/>
                  </a:lnTo>
                  <a:lnTo>
                    <a:pt x="13962" y="26868"/>
                  </a:lnTo>
                  <a:lnTo>
                    <a:pt x="17859" y="26868"/>
                  </a:lnTo>
                  <a:lnTo>
                    <a:pt x="20425" y="27362"/>
                  </a:lnTo>
                  <a:lnTo>
                    <a:pt x="23187" y="27609"/>
                  </a:lnTo>
                  <a:lnTo>
                    <a:pt x="26937" y="27855"/>
                  </a:lnTo>
                  <a:lnTo>
                    <a:pt x="30538" y="28102"/>
                  </a:lnTo>
                  <a:lnTo>
                    <a:pt x="35028" y="27757"/>
                  </a:lnTo>
                  <a:lnTo>
                    <a:pt x="38432" y="26769"/>
                  </a:lnTo>
                  <a:lnTo>
                    <a:pt x="42527" y="25090"/>
                  </a:lnTo>
                  <a:lnTo>
                    <a:pt x="44352" y="23015"/>
                  </a:lnTo>
                  <a:lnTo>
                    <a:pt x="46424" y="21089"/>
                  </a:lnTo>
                  <a:lnTo>
                    <a:pt x="48101" y="18422"/>
                  </a:lnTo>
                  <a:lnTo>
                    <a:pt x="48003" y="15656"/>
                  </a:lnTo>
                  <a:lnTo>
                    <a:pt x="47263" y="11656"/>
                  </a:lnTo>
                  <a:lnTo>
                    <a:pt x="42921" y="5334"/>
                  </a:lnTo>
                  <a:lnTo>
                    <a:pt x="39073" y="2420"/>
                  </a:lnTo>
                  <a:lnTo>
                    <a:pt x="37149" y="1482"/>
                  </a:lnTo>
                  <a:lnTo>
                    <a:pt x="35718" y="938"/>
                  </a:lnTo>
                  <a:lnTo>
                    <a:pt x="34337" y="741"/>
                  </a:lnTo>
                  <a:lnTo>
                    <a:pt x="29848" y="1087"/>
                  </a:lnTo>
                  <a:lnTo>
                    <a:pt x="25358" y="346"/>
                  </a:lnTo>
                  <a:lnTo>
                    <a:pt x="23187" y="0"/>
                  </a:lnTo>
                  <a:lnTo>
                    <a:pt x="20425" y="593"/>
                  </a:lnTo>
                  <a:lnTo>
                    <a:pt x="16774" y="1087"/>
                  </a:lnTo>
                  <a:lnTo>
                    <a:pt x="14455" y="1926"/>
                  </a:lnTo>
                  <a:lnTo>
                    <a:pt x="10459" y="3013"/>
                  </a:lnTo>
                </a:path>
              </a:pathLst>
            </a:custGeom>
            <a:solidFill>
              <a:srgbClr val="F26531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4707F325-E963-B9B1-F39C-4C3116963019}"/>
                </a:ext>
              </a:extLst>
            </p:cNvPr>
            <p:cNvSpPr/>
            <p:nvPr/>
          </p:nvSpPr>
          <p:spPr>
            <a:xfrm>
              <a:off x="10498034" y="6337123"/>
              <a:ext cx="41046" cy="10914"/>
            </a:xfrm>
            <a:custGeom>
              <a:avLst/>
              <a:gdLst>
                <a:gd name="connsiteX0" fmla="*/ 839 w 41046"/>
                <a:gd name="connsiteY0" fmla="*/ 247 h 10914"/>
                <a:gd name="connsiteX1" fmla="*/ 22398 w 41046"/>
                <a:gd name="connsiteY1" fmla="*/ 741 h 10914"/>
                <a:gd name="connsiteX2" fmla="*/ 25605 w 41046"/>
                <a:gd name="connsiteY2" fmla="*/ 99 h 10914"/>
                <a:gd name="connsiteX3" fmla="*/ 29749 w 41046"/>
                <a:gd name="connsiteY3" fmla="*/ 0 h 10914"/>
                <a:gd name="connsiteX4" fmla="*/ 33893 w 41046"/>
                <a:gd name="connsiteY4" fmla="*/ 445 h 10914"/>
                <a:gd name="connsiteX5" fmla="*/ 37050 w 41046"/>
                <a:gd name="connsiteY5" fmla="*/ 1334 h 10914"/>
                <a:gd name="connsiteX6" fmla="*/ 39468 w 41046"/>
                <a:gd name="connsiteY6" fmla="*/ 2963 h 10914"/>
                <a:gd name="connsiteX7" fmla="*/ 40356 w 41046"/>
                <a:gd name="connsiteY7" fmla="*/ 4099 h 10914"/>
                <a:gd name="connsiteX8" fmla="*/ 40899 w 41046"/>
                <a:gd name="connsiteY8" fmla="*/ 5285 h 10914"/>
                <a:gd name="connsiteX9" fmla="*/ 41047 w 41046"/>
                <a:gd name="connsiteY9" fmla="*/ 6569 h 10914"/>
                <a:gd name="connsiteX10" fmla="*/ 40652 w 41046"/>
                <a:gd name="connsiteY10" fmla="*/ 7902 h 10914"/>
                <a:gd name="connsiteX11" fmla="*/ 39715 w 41046"/>
                <a:gd name="connsiteY11" fmla="*/ 9186 h 10914"/>
                <a:gd name="connsiteX12" fmla="*/ 38037 w 41046"/>
                <a:gd name="connsiteY12" fmla="*/ 10421 h 10914"/>
                <a:gd name="connsiteX13" fmla="*/ 35570 w 41046"/>
                <a:gd name="connsiteY13" fmla="*/ 10915 h 10914"/>
                <a:gd name="connsiteX14" fmla="*/ 31180 w 41046"/>
                <a:gd name="connsiteY14" fmla="*/ 10915 h 10914"/>
                <a:gd name="connsiteX15" fmla="*/ 19339 w 41046"/>
                <a:gd name="connsiteY15" fmla="*/ 10026 h 10914"/>
                <a:gd name="connsiteX16" fmla="*/ 1283 w 41046"/>
                <a:gd name="connsiteY16" fmla="*/ 7952 h 10914"/>
                <a:gd name="connsiteX17" fmla="*/ 592 w 41046"/>
                <a:gd name="connsiteY17" fmla="*/ 7655 h 10914"/>
                <a:gd name="connsiteX18" fmla="*/ 197 w 41046"/>
                <a:gd name="connsiteY18" fmla="*/ 6964 h 10914"/>
                <a:gd name="connsiteX19" fmla="*/ 0 w 41046"/>
                <a:gd name="connsiteY19" fmla="*/ 4741 h 10914"/>
                <a:gd name="connsiteX20" fmla="*/ 839 w 41046"/>
                <a:gd name="connsiteY20" fmla="*/ 247 h 1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046" h="10914">
                  <a:moveTo>
                    <a:pt x="839" y="247"/>
                  </a:moveTo>
                  <a:lnTo>
                    <a:pt x="22398" y="741"/>
                  </a:lnTo>
                  <a:lnTo>
                    <a:pt x="25605" y="99"/>
                  </a:lnTo>
                  <a:lnTo>
                    <a:pt x="29749" y="0"/>
                  </a:lnTo>
                  <a:lnTo>
                    <a:pt x="33893" y="445"/>
                  </a:lnTo>
                  <a:lnTo>
                    <a:pt x="37050" y="1334"/>
                  </a:lnTo>
                  <a:lnTo>
                    <a:pt x="39468" y="2963"/>
                  </a:lnTo>
                  <a:lnTo>
                    <a:pt x="40356" y="4099"/>
                  </a:lnTo>
                  <a:lnTo>
                    <a:pt x="40899" y="5285"/>
                  </a:lnTo>
                  <a:lnTo>
                    <a:pt x="41047" y="6569"/>
                  </a:lnTo>
                  <a:lnTo>
                    <a:pt x="40652" y="7902"/>
                  </a:lnTo>
                  <a:lnTo>
                    <a:pt x="39715" y="9186"/>
                  </a:lnTo>
                  <a:lnTo>
                    <a:pt x="38037" y="10421"/>
                  </a:lnTo>
                  <a:lnTo>
                    <a:pt x="35570" y="10915"/>
                  </a:lnTo>
                  <a:lnTo>
                    <a:pt x="31180" y="10915"/>
                  </a:lnTo>
                  <a:lnTo>
                    <a:pt x="19339" y="10026"/>
                  </a:lnTo>
                  <a:lnTo>
                    <a:pt x="1283" y="7952"/>
                  </a:lnTo>
                  <a:lnTo>
                    <a:pt x="592" y="7655"/>
                  </a:lnTo>
                  <a:lnTo>
                    <a:pt x="197" y="6964"/>
                  </a:lnTo>
                  <a:lnTo>
                    <a:pt x="0" y="4741"/>
                  </a:lnTo>
                  <a:lnTo>
                    <a:pt x="839" y="247"/>
                  </a:lnTo>
                </a:path>
              </a:pathLst>
            </a:custGeom>
            <a:solidFill>
              <a:srgbClr val="ED1849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xmlns="" id="{49BD6235-E686-4B57-AC13-D5E8803DF8A2}"/>
                </a:ext>
              </a:extLst>
            </p:cNvPr>
            <p:cNvSpPr/>
            <p:nvPr/>
          </p:nvSpPr>
          <p:spPr>
            <a:xfrm>
              <a:off x="10500106" y="6357274"/>
              <a:ext cx="39566" cy="10717"/>
            </a:xfrm>
            <a:custGeom>
              <a:avLst/>
              <a:gdLst>
                <a:gd name="connsiteX0" fmla="*/ 4835 w 39566"/>
                <a:gd name="connsiteY0" fmla="*/ 0 h 10717"/>
                <a:gd name="connsiteX1" fmla="*/ 6710 w 39566"/>
                <a:gd name="connsiteY1" fmla="*/ 1136 h 10717"/>
                <a:gd name="connsiteX2" fmla="*/ 7894 w 39566"/>
                <a:gd name="connsiteY2" fmla="*/ 1827 h 10717"/>
                <a:gd name="connsiteX3" fmla="*/ 9226 w 39566"/>
                <a:gd name="connsiteY3" fmla="*/ 2173 h 10717"/>
                <a:gd name="connsiteX4" fmla="*/ 10163 w 39566"/>
                <a:gd name="connsiteY4" fmla="*/ 1976 h 10717"/>
                <a:gd name="connsiteX5" fmla="*/ 11248 w 39566"/>
                <a:gd name="connsiteY5" fmla="*/ 1482 h 10717"/>
                <a:gd name="connsiteX6" fmla="*/ 12334 w 39566"/>
                <a:gd name="connsiteY6" fmla="*/ 938 h 10717"/>
                <a:gd name="connsiteX7" fmla="*/ 13419 w 39566"/>
                <a:gd name="connsiteY7" fmla="*/ 691 h 10717"/>
                <a:gd name="connsiteX8" fmla="*/ 15294 w 39566"/>
                <a:gd name="connsiteY8" fmla="*/ 1383 h 10717"/>
                <a:gd name="connsiteX9" fmla="*/ 17317 w 39566"/>
                <a:gd name="connsiteY9" fmla="*/ 2074 h 10717"/>
                <a:gd name="connsiteX10" fmla="*/ 18994 w 39566"/>
                <a:gd name="connsiteY10" fmla="*/ 1531 h 10717"/>
                <a:gd name="connsiteX11" fmla="*/ 20721 w 39566"/>
                <a:gd name="connsiteY11" fmla="*/ 1037 h 10717"/>
                <a:gd name="connsiteX12" fmla="*/ 22743 w 39566"/>
                <a:gd name="connsiteY12" fmla="*/ 1778 h 10717"/>
                <a:gd name="connsiteX13" fmla="*/ 23730 w 39566"/>
                <a:gd name="connsiteY13" fmla="*/ 2173 h 10717"/>
                <a:gd name="connsiteX14" fmla="*/ 24717 w 39566"/>
                <a:gd name="connsiteY14" fmla="*/ 2173 h 10717"/>
                <a:gd name="connsiteX15" fmla="*/ 30982 w 39566"/>
                <a:gd name="connsiteY15" fmla="*/ 1334 h 10717"/>
                <a:gd name="connsiteX16" fmla="*/ 35768 w 39566"/>
                <a:gd name="connsiteY16" fmla="*/ 2124 h 10717"/>
                <a:gd name="connsiteX17" fmla="*/ 36064 w 39566"/>
                <a:gd name="connsiteY17" fmla="*/ 2321 h 10717"/>
                <a:gd name="connsiteX18" fmla="*/ 36212 w 39566"/>
                <a:gd name="connsiteY18" fmla="*/ 2568 h 10717"/>
                <a:gd name="connsiteX19" fmla="*/ 36064 w 39566"/>
                <a:gd name="connsiteY19" fmla="*/ 3161 h 10717"/>
                <a:gd name="connsiteX20" fmla="*/ 35866 w 39566"/>
                <a:gd name="connsiteY20" fmla="*/ 3803 h 10717"/>
                <a:gd name="connsiteX21" fmla="*/ 36064 w 39566"/>
                <a:gd name="connsiteY21" fmla="*/ 4396 h 10717"/>
                <a:gd name="connsiteX22" fmla="*/ 37248 w 39566"/>
                <a:gd name="connsiteY22" fmla="*/ 5087 h 10717"/>
                <a:gd name="connsiteX23" fmla="*/ 38580 w 39566"/>
                <a:gd name="connsiteY23" fmla="*/ 5630 h 10717"/>
                <a:gd name="connsiteX24" fmla="*/ 39123 w 39566"/>
                <a:gd name="connsiteY24" fmla="*/ 6025 h 10717"/>
                <a:gd name="connsiteX25" fmla="*/ 39468 w 39566"/>
                <a:gd name="connsiteY25" fmla="*/ 6618 h 10717"/>
                <a:gd name="connsiteX26" fmla="*/ 39567 w 39566"/>
                <a:gd name="connsiteY26" fmla="*/ 7507 h 10717"/>
                <a:gd name="connsiteX27" fmla="*/ 39320 w 39566"/>
                <a:gd name="connsiteY27" fmla="*/ 8742 h 10717"/>
                <a:gd name="connsiteX28" fmla="*/ 38925 w 39566"/>
                <a:gd name="connsiteY28" fmla="*/ 9335 h 10717"/>
                <a:gd name="connsiteX29" fmla="*/ 38037 w 39566"/>
                <a:gd name="connsiteY29" fmla="*/ 9828 h 10717"/>
                <a:gd name="connsiteX30" fmla="*/ 35324 w 39566"/>
                <a:gd name="connsiteY30" fmla="*/ 10421 h 10717"/>
                <a:gd name="connsiteX31" fmla="*/ 26739 w 39566"/>
                <a:gd name="connsiteY31" fmla="*/ 10717 h 10717"/>
                <a:gd name="connsiteX32" fmla="*/ 14455 w 39566"/>
                <a:gd name="connsiteY32" fmla="*/ 9137 h 10717"/>
                <a:gd name="connsiteX33" fmla="*/ 3799 w 39566"/>
                <a:gd name="connsiteY33" fmla="*/ 7161 h 10717"/>
                <a:gd name="connsiteX34" fmla="*/ 2220 w 39566"/>
                <a:gd name="connsiteY34" fmla="*/ 6519 h 10717"/>
                <a:gd name="connsiteX35" fmla="*/ 1036 w 39566"/>
                <a:gd name="connsiteY35" fmla="*/ 5087 h 10717"/>
                <a:gd name="connsiteX36" fmla="*/ 247 w 39566"/>
                <a:gd name="connsiteY36" fmla="*/ 3408 h 10717"/>
                <a:gd name="connsiteX37" fmla="*/ 0 w 39566"/>
                <a:gd name="connsiteY37" fmla="*/ 1926 h 10717"/>
                <a:gd name="connsiteX38" fmla="*/ 4835 w 39566"/>
                <a:gd name="connsiteY38" fmla="*/ 0 h 1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566" h="10717">
                  <a:moveTo>
                    <a:pt x="4835" y="0"/>
                  </a:moveTo>
                  <a:lnTo>
                    <a:pt x="6710" y="1136"/>
                  </a:lnTo>
                  <a:lnTo>
                    <a:pt x="7894" y="1827"/>
                  </a:lnTo>
                  <a:lnTo>
                    <a:pt x="9226" y="2173"/>
                  </a:lnTo>
                  <a:lnTo>
                    <a:pt x="10163" y="1976"/>
                  </a:lnTo>
                  <a:lnTo>
                    <a:pt x="11248" y="1482"/>
                  </a:lnTo>
                  <a:lnTo>
                    <a:pt x="12334" y="938"/>
                  </a:lnTo>
                  <a:lnTo>
                    <a:pt x="13419" y="691"/>
                  </a:lnTo>
                  <a:lnTo>
                    <a:pt x="15294" y="1383"/>
                  </a:lnTo>
                  <a:lnTo>
                    <a:pt x="17317" y="2074"/>
                  </a:lnTo>
                  <a:lnTo>
                    <a:pt x="18994" y="1531"/>
                  </a:lnTo>
                  <a:lnTo>
                    <a:pt x="20721" y="1037"/>
                  </a:lnTo>
                  <a:lnTo>
                    <a:pt x="22743" y="1778"/>
                  </a:lnTo>
                  <a:lnTo>
                    <a:pt x="23730" y="2173"/>
                  </a:lnTo>
                  <a:lnTo>
                    <a:pt x="24717" y="2173"/>
                  </a:lnTo>
                  <a:lnTo>
                    <a:pt x="30982" y="1334"/>
                  </a:lnTo>
                  <a:lnTo>
                    <a:pt x="35768" y="2124"/>
                  </a:lnTo>
                  <a:lnTo>
                    <a:pt x="36064" y="2321"/>
                  </a:lnTo>
                  <a:lnTo>
                    <a:pt x="36212" y="2568"/>
                  </a:lnTo>
                  <a:lnTo>
                    <a:pt x="36064" y="3161"/>
                  </a:lnTo>
                  <a:lnTo>
                    <a:pt x="35866" y="3803"/>
                  </a:lnTo>
                  <a:lnTo>
                    <a:pt x="36064" y="4396"/>
                  </a:lnTo>
                  <a:lnTo>
                    <a:pt x="37248" y="5087"/>
                  </a:lnTo>
                  <a:lnTo>
                    <a:pt x="38580" y="5630"/>
                  </a:lnTo>
                  <a:lnTo>
                    <a:pt x="39123" y="6025"/>
                  </a:lnTo>
                  <a:lnTo>
                    <a:pt x="39468" y="6618"/>
                  </a:lnTo>
                  <a:lnTo>
                    <a:pt x="39567" y="7507"/>
                  </a:lnTo>
                  <a:lnTo>
                    <a:pt x="39320" y="8742"/>
                  </a:lnTo>
                  <a:lnTo>
                    <a:pt x="38925" y="9335"/>
                  </a:lnTo>
                  <a:lnTo>
                    <a:pt x="38037" y="9828"/>
                  </a:lnTo>
                  <a:lnTo>
                    <a:pt x="35324" y="10421"/>
                  </a:lnTo>
                  <a:lnTo>
                    <a:pt x="26739" y="10717"/>
                  </a:lnTo>
                  <a:lnTo>
                    <a:pt x="14455" y="9137"/>
                  </a:lnTo>
                  <a:lnTo>
                    <a:pt x="3799" y="7161"/>
                  </a:lnTo>
                  <a:lnTo>
                    <a:pt x="2220" y="6519"/>
                  </a:lnTo>
                  <a:lnTo>
                    <a:pt x="1036" y="5087"/>
                  </a:lnTo>
                  <a:lnTo>
                    <a:pt x="247" y="3408"/>
                  </a:lnTo>
                  <a:lnTo>
                    <a:pt x="0" y="1926"/>
                  </a:lnTo>
                  <a:lnTo>
                    <a:pt x="4835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3B99537D-E809-26C6-B672-BF5B6BF5FCD9}"/>
                </a:ext>
              </a:extLst>
            </p:cNvPr>
            <p:cNvSpPr/>
            <p:nvPr/>
          </p:nvSpPr>
          <p:spPr>
            <a:xfrm>
              <a:off x="10498182" y="6368880"/>
              <a:ext cx="40947" cy="11655"/>
            </a:xfrm>
            <a:custGeom>
              <a:avLst/>
              <a:gdLst>
                <a:gd name="connsiteX0" fmla="*/ 3848 w 40947"/>
                <a:gd name="connsiteY0" fmla="*/ 0 h 11655"/>
                <a:gd name="connsiteX1" fmla="*/ 7154 w 40947"/>
                <a:gd name="connsiteY1" fmla="*/ 1284 h 11655"/>
                <a:gd name="connsiteX2" fmla="*/ 8782 w 40947"/>
                <a:gd name="connsiteY2" fmla="*/ 1877 h 11655"/>
                <a:gd name="connsiteX3" fmla="*/ 10410 w 40947"/>
                <a:gd name="connsiteY3" fmla="*/ 1827 h 11655"/>
                <a:gd name="connsiteX4" fmla="*/ 25062 w 40947"/>
                <a:gd name="connsiteY4" fmla="*/ 1136 h 11655"/>
                <a:gd name="connsiteX5" fmla="*/ 30933 w 40947"/>
                <a:gd name="connsiteY5" fmla="*/ 1679 h 11655"/>
                <a:gd name="connsiteX6" fmla="*/ 35521 w 40947"/>
                <a:gd name="connsiteY6" fmla="*/ 2815 h 11655"/>
                <a:gd name="connsiteX7" fmla="*/ 37593 w 40947"/>
                <a:gd name="connsiteY7" fmla="*/ 3358 h 11655"/>
                <a:gd name="connsiteX8" fmla="*/ 38777 w 40947"/>
                <a:gd name="connsiteY8" fmla="*/ 3852 h 11655"/>
                <a:gd name="connsiteX9" fmla="*/ 39715 w 40947"/>
                <a:gd name="connsiteY9" fmla="*/ 4544 h 11655"/>
                <a:gd name="connsiteX10" fmla="*/ 40751 w 40947"/>
                <a:gd name="connsiteY10" fmla="*/ 6371 h 11655"/>
                <a:gd name="connsiteX11" fmla="*/ 40948 w 40947"/>
                <a:gd name="connsiteY11" fmla="*/ 8149 h 11655"/>
                <a:gd name="connsiteX12" fmla="*/ 40504 w 40947"/>
                <a:gd name="connsiteY12" fmla="*/ 9680 h 11655"/>
                <a:gd name="connsiteX13" fmla="*/ 39715 w 40947"/>
                <a:gd name="connsiteY13" fmla="*/ 10668 h 11655"/>
                <a:gd name="connsiteX14" fmla="*/ 39715 w 40947"/>
                <a:gd name="connsiteY14" fmla="*/ 11656 h 11655"/>
                <a:gd name="connsiteX15" fmla="*/ 25358 w 40947"/>
                <a:gd name="connsiteY15" fmla="*/ 11606 h 11655"/>
                <a:gd name="connsiteX16" fmla="*/ 20573 w 40947"/>
                <a:gd name="connsiteY16" fmla="*/ 11656 h 11655"/>
                <a:gd name="connsiteX17" fmla="*/ 15837 w 40947"/>
                <a:gd name="connsiteY17" fmla="*/ 11261 h 11655"/>
                <a:gd name="connsiteX18" fmla="*/ 11100 w 40947"/>
                <a:gd name="connsiteY18" fmla="*/ 10421 h 11655"/>
                <a:gd name="connsiteX19" fmla="*/ 6858 w 40947"/>
                <a:gd name="connsiteY19" fmla="*/ 9730 h 11655"/>
                <a:gd name="connsiteX20" fmla="*/ 3799 w 40947"/>
                <a:gd name="connsiteY20" fmla="*/ 9236 h 11655"/>
                <a:gd name="connsiteX21" fmla="*/ 2565 w 40947"/>
                <a:gd name="connsiteY21" fmla="*/ 8939 h 11655"/>
                <a:gd name="connsiteX22" fmla="*/ 1727 w 40947"/>
                <a:gd name="connsiteY22" fmla="*/ 8149 h 11655"/>
                <a:gd name="connsiteX23" fmla="*/ 543 w 40947"/>
                <a:gd name="connsiteY23" fmla="*/ 5630 h 11655"/>
                <a:gd name="connsiteX24" fmla="*/ 0 w 40947"/>
                <a:gd name="connsiteY24" fmla="*/ 2914 h 11655"/>
                <a:gd name="connsiteX25" fmla="*/ 3848 w 40947"/>
                <a:gd name="connsiteY25" fmla="*/ 0 h 11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7" h="11655">
                  <a:moveTo>
                    <a:pt x="3848" y="0"/>
                  </a:moveTo>
                  <a:lnTo>
                    <a:pt x="7154" y="1284"/>
                  </a:lnTo>
                  <a:lnTo>
                    <a:pt x="8782" y="1877"/>
                  </a:lnTo>
                  <a:lnTo>
                    <a:pt x="10410" y="1827"/>
                  </a:lnTo>
                  <a:lnTo>
                    <a:pt x="25062" y="1136"/>
                  </a:lnTo>
                  <a:lnTo>
                    <a:pt x="30933" y="1679"/>
                  </a:lnTo>
                  <a:lnTo>
                    <a:pt x="35521" y="2815"/>
                  </a:lnTo>
                  <a:lnTo>
                    <a:pt x="37593" y="3358"/>
                  </a:lnTo>
                  <a:lnTo>
                    <a:pt x="38777" y="3852"/>
                  </a:lnTo>
                  <a:lnTo>
                    <a:pt x="39715" y="4544"/>
                  </a:lnTo>
                  <a:lnTo>
                    <a:pt x="40751" y="6371"/>
                  </a:lnTo>
                  <a:lnTo>
                    <a:pt x="40948" y="8149"/>
                  </a:lnTo>
                  <a:lnTo>
                    <a:pt x="40504" y="9680"/>
                  </a:lnTo>
                  <a:lnTo>
                    <a:pt x="39715" y="10668"/>
                  </a:lnTo>
                  <a:lnTo>
                    <a:pt x="39715" y="11656"/>
                  </a:lnTo>
                  <a:lnTo>
                    <a:pt x="25358" y="11606"/>
                  </a:lnTo>
                  <a:lnTo>
                    <a:pt x="20573" y="11656"/>
                  </a:lnTo>
                  <a:lnTo>
                    <a:pt x="15837" y="11261"/>
                  </a:lnTo>
                  <a:lnTo>
                    <a:pt x="11100" y="10421"/>
                  </a:lnTo>
                  <a:lnTo>
                    <a:pt x="6858" y="9730"/>
                  </a:lnTo>
                  <a:lnTo>
                    <a:pt x="3799" y="9236"/>
                  </a:lnTo>
                  <a:lnTo>
                    <a:pt x="2565" y="8939"/>
                  </a:lnTo>
                  <a:lnTo>
                    <a:pt x="1727" y="8149"/>
                  </a:lnTo>
                  <a:lnTo>
                    <a:pt x="543" y="5630"/>
                  </a:lnTo>
                  <a:lnTo>
                    <a:pt x="0" y="2914"/>
                  </a:lnTo>
                  <a:lnTo>
                    <a:pt x="3848" y="0"/>
                  </a:lnTo>
                </a:path>
              </a:pathLst>
            </a:custGeom>
            <a:solidFill>
              <a:srgbClr val="ED037C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xmlns="" id="{EB993987-86E8-DA22-1D3E-0012CDF8491C}"/>
                </a:ext>
              </a:extLst>
            </p:cNvPr>
            <p:cNvSpPr/>
            <p:nvPr/>
          </p:nvSpPr>
          <p:spPr>
            <a:xfrm>
              <a:off x="10498231" y="6386018"/>
              <a:ext cx="41638" cy="19113"/>
            </a:xfrm>
            <a:custGeom>
              <a:avLst/>
              <a:gdLst>
                <a:gd name="connsiteX0" fmla="*/ 4884 w 41638"/>
                <a:gd name="connsiteY0" fmla="*/ 0 h 19113"/>
                <a:gd name="connsiteX1" fmla="*/ 11396 w 41638"/>
                <a:gd name="connsiteY1" fmla="*/ 840 h 19113"/>
                <a:gd name="connsiteX2" fmla="*/ 13567 w 41638"/>
                <a:gd name="connsiteY2" fmla="*/ 1087 h 19113"/>
                <a:gd name="connsiteX3" fmla="*/ 15442 w 41638"/>
                <a:gd name="connsiteY3" fmla="*/ 741 h 19113"/>
                <a:gd name="connsiteX4" fmla="*/ 17958 w 41638"/>
                <a:gd name="connsiteY4" fmla="*/ 494 h 19113"/>
                <a:gd name="connsiteX5" fmla="*/ 21905 w 41638"/>
                <a:gd name="connsiteY5" fmla="*/ 790 h 19113"/>
                <a:gd name="connsiteX6" fmla="*/ 27578 w 41638"/>
                <a:gd name="connsiteY6" fmla="*/ 889 h 19113"/>
                <a:gd name="connsiteX7" fmla="*/ 33301 w 41638"/>
                <a:gd name="connsiteY7" fmla="*/ 593 h 19113"/>
                <a:gd name="connsiteX8" fmla="*/ 35274 w 41638"/>
                <a:gd name="connsiteY8" fmla="*/ 543 h 19113"/>
                <a:gd name="connsiteX9" fmla="*/ 36952 w 41638"/>
                <a:gd name="connsiteY9" fmla="*/ 1235 h 19113"/>
                <a:gd name="connsiteX10" fmla="*/ 39912 w 41638"/>
                <a:gd name="connsiteY10" fmla="*/ 3704 h 19113"/>
                <a:gd name="connsiteX11" fmla="*/ 40899 w 41638"/>
                <a:gd name="connsiteY11" fmla="*/ 4939 h 19113"/>
                <a:gd name="connsiteX12" fmla="*/ 41491 w 41638"/>
                <a:gd name="connsiteY12" fmla="*/ 6371 h 19113"/>
                <a:gd name="connsiteX13" fmla="*/ 41639 w 41638"/>
                <a:gd name="connsiteY13" fmla="*/ 7952 h 19113"/>
                <a:gd name="connsiteX14" fmla="*/ 41244 w 41638"/>
                <a:gd name="connsiteY14" fmla="*/ 9532 h 19113"/>
                <a:gd name="connsiteX15" fmla="*/ 39517 w 41638"/>
                <a:gd name="connsiteY15" fmla="*/ 14372 h 19113"/>
                <a:gd name="connsiteX16" fmla="*/ 38531 w 41638"/>
                <a:gd name="connsiteY16" fmla="*/ 16496 h 19113"/>
                <a:gd name="connsiteX17" fmla="*/ 37100 w 41638"/>
                <a:gd name="connsiteY17" fmla="*/ 18225 h 19113"/>
                <a:gd name="connsiteX18" fmla="*/ 36261 w 41638"/>
                <a:gd name="connsiteY18" fmla="*/ 18620 h 19113"/>
                <a:gd name="connsiteX19" fmla="*/ 35274 w 41638"/>
                <a:gd name="connsiteY19" fmla="*/ 18669 h 19113"/>
                <a:gd name="connsiteX20" fmla="*/ 32857 w 41638"/>
                <a:gd name="connsiteY20" fmla="*/ 18225 h 19113"/>
                <a:gd name="connsiteX21" fmla="*/ 30341 w 41638"/>
                <a:gd name="connsiteY21" fmla="*/ 17533 h 19113"/>
                <a:gd name="connsiteX22" fmla="*/ 28170 w 41638"/>
                <a:gd name="connsiteY22" fmla="*/ 17237 h 19113"/>
                <a:gd name="connsiteX23" fmla="*/ 26591 w 41638"/>
                <a:gd name="connsiteY23" fmla="*/ 17632 h 19113"/>
                <a:gd name="connsiteX24" fmla="*/ 25210 w 41638"/>
                <a:gd name="connsiteY24" fmla="*/ 18323 h 19113"/>
                <a:gd name="connsiteX25" fmla="*/ 23779 w 41638"/>
                <a:gd name="connsiteY25" fmla="*/ 18916 h 19113"/>
                <a:gd name="connsiteX26" fmla="*/ 22151 w 41638"/>
                <a:gd name="connsiteY26" fmla="*/ 19114 h 19113"/>
                <a:gd name="connsiteX27" fmla="*/ 17514 w 41638"/>
                <a:gd name="connsiteY27" fmla="*/ 17879 h 19113"/>
                <a:gd name="connsiteX28" fmla="*/ 14899 w 41638"/>
                <a:gd name="connsiteY28" fmla="*/ 17533 h 19113"/>
                <a:gd name="connsiteX29" fmla="*/ 11890 w 41638"/>
                <a:gd name="connsiteY29" fmla="*/ 18027 h 19113"/>
                <a:gd name="connsiteX30" fmla="*/ 11100 w 41638"/>
                <a:gd name="connsiteY30" fmla="*/ 18126 h 19113"/>
                <a:gd name="connsiteX31" fmla="*/ 10360 w 41638"/>
                <a:gd name="connsiteY31" fmla="*/ 17780 h 19113"/>
                <a:gd name="connsiteX32" fmla="*/ 9571 w 41638"/>
                <a:gd name="connsiteY32" fmla="*/ 17385 h 19113"/>
                <a:gd name="connsiteX33" fmla="*/ 8732 w 41638"/>
                <a:gd name="connsiteY33" fmla="*/ 17187 h 19113"/>
                <a:gd name="connsiteX34" fmla="*/ 6907 w 41638"/>
                <a:gd name="connsiteY34" fmla="*/ 17138 h 19113"/>
                <a:gd name="connsiteX35" fmla="*/ 6216 w 41638"/>
                <a:gd name="connsiteY35" fmla="*/ 16891 h 19113"/>
                <a:gd name="connsiteX36" fmla="*/ 5871 w 41638"/>
                <a:gd name="connsiteY36" fmla="*/ 16496 h 19113"/>
                <a:gd name="connsiteX37" fmla="*/ 3651 w 41638"/>
                <a:gd name="connsiteY37" fmla="*/ 13088 h 19113"/>
                <a:gd name="connsiteX38" fmla="*/ 1283 w 41638"/>
                <a:gd name="connsiteY38" fmla="*/ 10273 h 19113"/>
                <a:gd name="connsiteX39" fmla="*/ 296 w 41638"/>
                <a:gd name="connsiteY39" fmla="*/ 8989 h 19113"/>
                <a:gd name="connsiteX40" fmla="*/ 0 w 41638"/>
                <a:gd name="connsiteY40" fmla="*/ 7507 h 19113"/>
                <a:gd name="connsiteX41" fmla="*/ 543 w 41638"/>
                <a:gd name="connsiteY41" fmla="*/ 5729 h 19113"/>
                <a:gd name="connsiteX42" fmla="*/ 1825 w 41638"/>
                <a:gd name="connsiteY42" fmla="*/ 3852 h 19113"/>
                <a:gd name="connsiteX43" fmla="*/ 4884 w 41638"/>
                <a:gd name="connsiteY43" fmla="*/ 0 h 1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638" h="19113">
                  <a:moveTo>
                    <a:pt x="4884" y="0"/>
                  </a:moveTo>
                  <a:lnTo>
                    <a:pt x="11396" y="840"/>
                  </a:lnTo>
                  <a:lnTo>
                    <a:pt x="13567" y="1087"/>
                  </a:lnTo>
                  <a:lnTo>
                    <a:pt x="15442" y="741"/>
                  </a:lnTo>
                  <a:lnTo>
                    <a:pt x="17958" y="494"/>
                  </a:lnTo>
                  <a:lnTo>
                    <a:pt x="21905" y="790"/>
                  </a:lnTo>
                  <a:lnTo>
                    <a:pt x="27578" y="889"/>
                  </a:lnTo>
                  <a:lnTo>
                    <a:pt x="33301" y="593"/>
                  </a:lnTo>
                  <a:lnTo>
                    <a:pt x="35274" y="543"/>
                  </a:lnTo>
                  <a:lnTo>
                    <a:pt x="36952" y="1235"/>
                  </a:lnTo>
                  <a:lnTo>
                    <a:pt x="39912" y="3704"/>
                  </a:lnTo>
                  <a:lnTo>
                    <a:pt x="40899" y="4939"/>
                  </a:lnTo>
                  <a:lnTo>
                    <a:pt x="41491" y="6371"/>
                  </a:lnTo>
                  <a:lnTo>
                    <a:pt x="41639" y="7952"/>
                  </a:lnTo>
                  <a:lnTo>
                    <a:pt x="41244" y="9532"/>
                  </a:lnTo>
                  <a:lnTo>
                    <a:pt x="39517" y="14372"/>
                  </a:lnTo>
                  <a:lnTo>
                    <a:pt x="38531" y="16496"/>
                  </a:lnTo>
                  <a:lnTo>
                    <a:pt x="37100" y="18225"/>
                  </a:lnTo>
                  <a:lnTo>
                    <a:pt x="36261" y="18620"/>
                  </a:lnTo>
                  <a:lnTo>
                    <a:pt x="35274" y="18669"/>
                  </a:lnTo>
                  <a:lnTo>
                    <a:pt x="32857" y="18225"/>
                  </a:lnTo>
                  <a:lnTo>
                    <a:pt x="30341" y="17533"/>
                  </a:lnTo>
                  <a:lnTo>
                    <a:pt x="28170" y="17237"/>
                  </a:lnTo>
                  <a:lnTo>
                    <a:pt x="26591" y="17632"/>
                  </a:lnTo>
                  <a:lnTo>
                    <a:pt x="25210" y="18323"/>
                  </a:lnTo>
                  <a:lnTo>
                    <a:pt x="23779" y="18916"/>
                  </a:lnTo>
                  <a:lnTo>
                    <a:pt x="22151" y="19114"/>
                  </a:lnTo>
                  <a:lnTo>
                    <a:pt x="17514" y="17879"/>
                  </a:lnTo>
                  <a:lnTo>
                    <a:pt x="14899" y="17533"/>
                  </a:lnTo>
                  <a:lnTo>
                    <a:pt x="11890" y="18027"/>
                  </a:lnTo>
                  <a:lnTo>
                    <a:pt x="11100" y="18126"/>
                  </a:lnTo>
                  <a:lnTo>
                    <a:pt x="10360" y="17780"/>
                  </a:lnTo>
                  <a:lnTo>
                    <a:pt x="9571" y="17385"/>
                  </a:lnTo>
                  <a:lnTo>
                    <a:pt x="8732" y="17187"/>
                  </a:lnTo>
                  <a:lnTo>
                    <a:pt x="6907" y="17138"/>
                  </a:lnTo>
                  <a:lnTo>
                    <a:pt x="6216" y="16891"/>
                  </a:lnTo>
                  <a:lnTo>
                    <a:pt x="5871" y="16496"/>
                  </a:lnTo>
                  <a:lnTo>
                    <a:pt x="3651" y="13088"/>
                  </a:lnTo>
                  <a:lnTo>
                    <a:pt x="1283" y="10273"/>
                  </a:lnTo>
                  <a:lnTo>
                    <a:pt x="296" y="8989"/>
                  </a:lnTo>
                  <a:lnTo>
                    <a:pt x="0" y="7507"/>
                  </a:lnTo>
                  <a:lnTo>
                    <a:pt x="543" y="5729"/>
                  </a:lnTo>
                  <a:lnTo>
                    <a:pt x="1825" y="3852"/>
                  </a:lnTo>
                  <a:lnTo>
                    <a:pt x="4884" y="0"/>
                  </a:lnTo>
                </a:path>
              </a:pathLst>
            </a:custGeom>
            <a:solidFill>
              <a:srgbClr val="A9218E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377D0AD6-2181-1335-28D5-D1D554D120B9}"/>
                </a:ext>
              </a:extLst>
            </p:cNvPr>
            <p:cNvSpPr/>
            <p:nvPr/>
          </p:nvSpPr>
          <p:spPr>
            <a:xfrm>
              <a:off x="10495320" y="6419158"/>
              <a:ext cx="47657" cy="27065"/>
            </a:xfrm>
            <a:custGeom>
              <a:avLst/>
              <a:gdLst>
                <a:gd name="connsiteX0" fmla="*/ 15195 w 47657"/>
                <a:gd name="connsiteY0" fmla="*/ 148 h 27065"/>
                <a:gd name="connsiteX1" fmla="*/ 17613 w 47657"/>
                <a:gd name="connsiteY1" fmla="*/ 0 h 27065"/>
                <a:gd name="connsiteX2" fmla="*/ 20030 w 47657"/>
                <a:gd name="connsiteY2" fmla="*/ 247 h 27065"/>
                <a:gd name="connsiteX3" fmla="*/ 33942 w 47657"/>
                <a:gd name="connsiteY3" fmla="*/ 1630 h 27065"/>
                <a:gd name="connsiteX4" fmla="*/ 37840 w 47657"/>
                <a:gd name="connsiteY4" fmla="*/ 2223 h 27065"/>
                <a:gd name="connsiteX5" fmla="*/ 41540 w 47657"/>
                <a:gd name="connsiteY5" fmla="*/ 3260 h 27065"/>
                <a:gd name="connsiteX6" fmla="*/ 43217 w 47657"/>
                <a:gd name="connsiteY6" fmla="*/ 4297 h 27065"/>
                <a:gd name="connsiteX7" fmla="*/ 44697 w 47657"/>
                <a:gd name="connsiteY7" fmla="*/ 5779 h 27065"/>
                <a:gd name="connsiteX8" fmla="*/ 45931 w 47657"/>
                <a:gd name="connsiteY8" fmla="*/ 8001 h 27065"/>
                <a:gd name="connsiteX9" fmla="*/ 46917 w 47657"/>
                <a:gd name="connsiteY9" fmla="*/ 10964 h 27065"/>
                <a:gd name="connsiteX10" fmla="*/ 47657 w 47657"/>
                <a:gd name="connsiteY10" fmla="*/ 16002 h 27065"/>
                <a:gd name="connsiteX11" fmla="*/ 47411 w 47657"/>
                <a:gd name="connsiteY11" fmla="*/ 18521 h 27065"/>
                <a:gd name="connsiteX12" fmla="*/ 46473 w 47657"/>
                <a:gd name="connsiteY12" fmla="*/ 20842 h 27065"/>
                <a:gd name="connsiteX13" fmla="*/ 45191 w 47657"/>
                <a:gd name="connsiteY13" fmla="*/ 22324 h 27065"/>
                <a:gd name="connsiteX14" fmla="*/ 43513 w 47657"/>
                <a:gd name="connsiteY14" fmla="*/ 23608 h 27065"/>
                <a:gd name="connsiteX15" fmla="*/ 39024 w 47657"/>
                <a:gd name="connsiteY15" fmla="*/ 25534 h 27065"/>
                <a:gd name="connsiteX16" fmla="*/ 27233 w 47657"/>
                <a:gd name="connsiteY16" fmla="*/ 27065 h 27065"/>
                <a:gd name="connsiteX17" fmla="*/ 23483 w 47657"/>
                <a:gd name="connsiteY17" fmla="*/ 26571 h 27065"/>
                <a:gd name="connsiteX18" fmla="*/ 19882 w 47657"/>
                <a:gd name="connsiteY18" fmla="*/ 25534 h 27065"/>
                <a:gd name="connsiteX19" fmla="*/ 16280 w 47657"/>
                <a:gd name="connsiteY19" fmla="*/ 24546 h 27065"/>
                <a:gd name="connsiteX20" fmla="*/ 12778 w 47657"/>
                <a:gd name="connsiteY20" fmla="*/ 24151 h 27065"/>
                <a:gd name="connsiteX21" fmla="*/ 7844 w 47657"/>
                <a:gd name="connsiteY21" fmla="*/ 23559 h 27065"/>
                <a:gd name="connsiteX22" fmla="*/ 4144 w 47657"/>
                <a:gd name="connsiteY22" fmla="*/ 21731 h 27065"/>
                <a:gd name="connsiteX23" fmla="*/ 1677 w 47657"/>
                <a:gd name="connsiteY23" fmla="*/ 19114 h 27065"/>
                <a:gd name="connsiteX24" fmla="*/ 345 w 47657"/>
                <a:gd name="connsiteY24" fmla="*/ 16150 h 27065"/>
                <a:gd name="connsiteX25" fmla="*/ 0 w 47657"/>
                <a:gd name="connsiteY25" fmla="*/ 12891 h 27065"/>
                <a:gd name="connsiteX26" fmla="*/ 789 w 47657"/>
                <a:gd name="connsiteY26" fmla="*/ 10075 h 27065"/>
                <a:gd name="connsiteX27" fmla="*/ 2417 w 47657"/>
                <a:gd name="connsiteY27" fmla="*/ 7705 h 27065"/>
                <a:gd name="connsiteX28" fmla="*/ 4539 w 47657"/>
                <a:gd name="connsiteY28" fmla="*/ 5828 h 27065"/>
                <a:gd name="connsiteX29" fmla="*/ 9176 w 47657"/>
                <a:gd name="connsiteY29" fmla="*/ 3260 h 27065"/>
                <a:gd name="connsiteX30" fmla="*/ 12334 w 47657"/>
                <a:gd name="connsiteY30" fmla="*/ 2124 h 27065"/>
                <a:gd name="connsiteX31" fmla="*/ 13123 w 47657"/>
                <a:gd name="connsiteY31" fmla="*/ 1729 h 27065"/>
                <a:gd name="connsiteX32" fmla="*/ 13666 w 47657"/>
                <a:gd name="connsiteY32" fmla="*/ 1185 h 27065"/>
                <a:gd name="connsiteX33" fmla="*/ 14258 w 47657"/>
                <a:gd name="connsiteY33" fmla="*/ 593 h 27065"/>
                <a:gd name="connsiteX34" fmla="*/ 15195 w 47657"/>
                <a:gd name="connsiteY34" fmla="*/ 148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7657" h="27065">
                  <a:moveTo>
                    <a:pt x="15195" y="148"/>
                  </a:moveTo>
                  <a:lnTo>
                    <a:pt x="17613" y="0"/>
                  </a:lnTo>
                  <a:lnTo>
                    <a:pt x="20030" y="247"/>
                  </a:lnTo>
                  <a:lnTo>
                    <a:pt x="33942" y="1630"/>
                  </a:lnTo>
                  <a:lnTo>
                    <a:pt x="37840" y="2223"/>
                  </a:lnTo>
                  <a:lnTo>
                    <a:pt x="41540" y="3260"/>
                  </a:lnTo>
                  <a:lnTo>
                    <a:pt x="43217" y="4297"/>
                  </a:lnTo>
                  <a:lnTo>
                    <a:pt x="44697" y="5779"/>
                  </a:lnTo>
                  <a:lnTo>
                    <a:pt x="45931" y="8001"/>
                  </a:lnTo>
                  <a:lnTo>
                    <a:pt x="46917" y="10964"/>
                  </a:lnTo>
                  <a:lnTo>
                    <a:pt x="47657" y="16002"/>
                  </a:lnTo>
                  <a:lnTo>
                    <a:pt x="47411" y="18521"/>
                  </a:lnTo>
                  <a:lnTo>
                    <a:pt x="46473" y="20842"/>
                  </a:lnTo>
                  <a:lnTo>
                    <a:pt x="45191" y="22324"/>
                  </a:lnTo>
                  <a:lnTo>
                    <a:pt x="43513" y="23608"/>
                  </a:lnTo>
                  <a:lnTo>
                    <a:pt x="39024" y="25534"/>
                  </a:lnTo>
                  <a:lnTo>
                    <a:pt x="27233" y="27065"/>
                  </a:lnTo>
                  <a:lnTo>
                    <a:pt x="23483" y="26571"/>
                  </a:lnTo>
                  <a:lnTo>
                    <a:pt x="19882" y="25534"/>
                  </a:lnTo>
                  <a:lnTo>
                    <a:pt x="16280" y="24546"/>
                  </a:lnTo>
                  <a:lnTo>
                    <a:pt x="12778" y="24151"/>
                  </a:lnTo>
                  <a:lnTo>
                    <a:pt x="7844" y="23559"/>
                  </a:lnTo>
                  <a:lnTo>
                    <a:pt x="4144" y="21731"/>
                  </a:lnTo>
                  <a:lnTo>
                    <a:pt x="1677" y="19114"/>
                  </a:lnTo>
                  <a:lnTo>
                    <a:pt x="345" y="16150"/>
                  </a:lnTo>
                  <a:lnTo>
                    <a:pt x="0" y="12891"/>
                  </a:lnTo>
                  <a:lnTo>
                    <a:pt x="789" y="10075"/>
                  </a:lnTo>
                  <a:lnTo>
                    <a:pt x="2417" y="7705"/>
                  </a:lnTo>
                  <a:lnTo>
                    <a:pt x="4539" y="5828"/>
                  </a:lnTo>
                  <a:lnTo>
                    <a:pt x="9176" y="3260"/>
                  </a:lnTo>
                  <a:lnTo>
                    <a:pt x="12334" y="2124"/>
                  </a:lnTo>
                  <a:lnTo>
                    <a:pt x="13123" y="1729"/>
                  </a:lnTo>
                  <a:lnTo>
                    <a:pt x="13666" y="1185"/>
                  </a:lnTo>
                  <a:lnTo>
                    <a:pt x="14258" y="593"/>
                  </a:lnTo>
                  <a:lnTo>
                    <a:pt x="15195" y="148"/>
                  </a:lnTo>
                </a:path>
              </a:pathLst>
            </a:custGeom>
            <a:solidFill>
              <a:srgbClr val="353D98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xmlns="" id="{0CF4371F-4049-322C-06E6-9DB09FE9C2C4}"/>
                </a:ext>
              </a:extLst>
            </p:cNvPr>
            <p:cNvSpPr/>
            <p:nvPr/>
          </p:nvSpPr>
          <p:spPr>
            <a:xfrm>
              <a:off x="10498675" y="6458324"/>
              <a:ext cx="39862" cy="26126"/>
            </a:xfrm>
            <a:custGeom>
              <a:avLst/>
              <a:gdLst>
                <a:gd name="connsiteX0" fmla="*/ 22497 w 39862"/>
                <a:gd name="connsiteY0" fmla="*/ 0 h 26126"/>
                <a:gd name="connsiteX1" fmla="*/ 27035 w 39862"/>
                <a:gd name="connsiteY1" fmla="*/ 395 h 26126"/>
                <a:gd name="connsiteX2" fmla="*/ 31772 w 39862"/>
                <a:gd name="connsiteY2" fmla="*/ 2124 h 26126"/>
                <a:gd name="connsiteX3" fmla="*/ 33153 w 39862"/>
                <a:gd name="connsiteY3" fmla="*/ 3457 h 26126"/>
                <a:gd name="connsiteX4" fmla="*/ 34288 w 39862"/>
                <a:gd name="connsiteY4" fmla="*/ 4494 h 26126"/>
                <a:gd name="connsiteX5" fmla="*/ 36656 w 39862"/>
                <a:gd name="connsiteY5" fmla="*/ 4988 h 26126"/>
                <a:gd name="connsiteX6" fmla="*/ 37790 w 39862"/>
                <a:gd name="connsiteY6" fmla="*/ 5334 h 26126"/>
                <a:gd name="connsiteX7" fmla="*/ 38531 w 39862"/>
                <a:gd name="connsiteY7" fmla="*/ 5976 h 26126"/>
                <a:gd name="connsiteX8" fmla="*/ 39764 w 39862"/>
                <a:gd name="connsiteY8" fmla="*/ 11409 h 26126"/>
                <a:gd name="connsiteX9" fmla="*/ 39863 w 39862"/>
                <a:gd name="connsiteY9" fmla="*/ 14866 h 26126"/>
                <a:gd name="connsiteX10" fmla="*/ 39320 w 39862"/>
                <a:gd name="connsiteY10" fmla="*/ 17731 h 26126"/>
                <a:gd name="connsiteX11" fmla="*/ 38284 w 39862"/>
                <a:gd name="connsiteY11" fmla="*/ 19509 h 26126"/>
                <a:gd name="connsiteX12" fmla="*/ 36804 w 39862"/>
                <a:gd name="connsiteY12" fmla="*/ 21089 h 26126"/>
                <a:gd name="connsiteX13" fmla="*/ 32906 w 39862"/>
                <a:gd name="connsiteY13" fmla="*/ 23559 h 26126"/>
                <a:gd name="connsiteX14" fmla="*/ 28022 w 39862"/>
                <a:gd name="connsiteY14" fmla="*/ 25188 h 26126"/>
                <a:gd name="connsiteX15" fmla="*/ 22546 w 39862"/>
                <a:gd name="connsiteY15" fmla="*/ 26028 h 26126"/>
                <a:gd name="connsiteX16" fmla="*/ 16922 w 39862"/>
                <a:gd name="connsiteY16" fmla="*/ 26127 h 26126"/>
                <a:gd name="connsiteX17" fmla="*/ 11544 w 39862"/>
                <a:gd name="connsiteY17" fmla="*/ 25485 h 26126"/>
                <a:gd name="connsiteX18" fmla="*/ 6808 w 39862"/>
                <a:gd name="connsiteY18" fmla="*/ 24250 h 26126"/>
                <a:gd name="connsiteX19" fmla="*/ 3207 w 39862"/>
                <a:gd name="connsiteY19" fmla="*/ 22423 h 26126"/>
                <a:gd name="connsiteX20" fmla="*/ 2072 w 39862"/>
                <a:gd name="connsiteY20" fmla="*/ 21336 h 26126"/>
                <a:gd name="connsiteX21" fmla="*/ 1283 w 39862"/>
                <a:gd name="connsiteY21" fmla="*/ 20052 h 26126"/>
                <a:gd name="connsiteX22" fmla="*/ 296 w 39862"/>
                <a:gd name="connsiteY22" fmla="*/ 17138 h 26126"/>
                <a:gd name="connsiteX23" fmla="*/ 0 w 39862"/>
                <a:gd name="connsiteY23" fmla="*/ 13928 h 26126"/>
                <a:gd name="connsiteX24" fmla="*/ 641 w 39862"/>
                <a:gd name="connsiteY24" fmla="*/ 11113 h 26126"/>
                <a:gd name="connsiteX25" fmla="*/ 2121 w 39862"/>
                <a:gd name="connsiteY25" fmla="*/ 8692 h 26126"/>
                <a:gd name="connsiteX26" fmla="*/ 4095 w 39862"/>
                <a:gd name="connsiteY26" fmla="*/ 6668 h 26126"/>
                <a:gd name="connsiteX27" fmla="*/ 8979 w 39862"/>
                <a:gd name="connsiteY27" fmla="*/ 3852 h 26126"/>
                <a:gd name="connsiteX28" fmla="*/ 13518 w 39862"/>
                <a:gd name="connsiteY28" fmla="*/ 2618 h 26126"/>
                <a:gd name="connsiteX29" fmla="*/ 18106 w 39862"/>
                <a:gd name="connsiteY29" fmla="*/ 1235 h 26126"/>
                <a:gd name="connsiteX30" fmla="*/ 22497 w 39862"/>
                <a:gd name="connsiteY30" fmla="*/ 0 h 2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862" h="26126">
                  <a:moveTo>
                    <a:pt x="22497" y="0"/>
                  </a:moveTo>
                  <a:lnTo>
                    <a:pt x="27035" y="395"/>
                  </a:lnTo>
                  <a:lnTo>
                    <a:pt x="31772" y="2124"/>
                  </a:lnTo>
                  <a:lnTo>
                    <a:pt x="33153" y="3457"/>
                  </a:lnTo>
                  <a:lnTo>
                    <a:pt x="34288" y="4494"/>
                  </a:lnTo>
                  <a:lnTo>
                    <a:pt x="36656" y="4988"/>
                  </a:lnTo>
                  <a:lnTo>
                    <a:pt x="37790" y="5334"/>
                  </a:lnTo>
                  <a:lnTo>
                    <a:pt x="38531" y="5976"/>
                  </a:lnTo>
                  <a:lnTo>
                    <a:pt x="39764" y="11409"/>
                  </a:lnTo>
                  <a:lnTo>
                    <a:pt x="39863" y="14866"/>
                  </a:lnTo>
                  <a:lnTo>
                    <a:pt x="39320" y="17731"/>
                  </a:lnTo>
                  <a:lnTo>
                    <a:pt x="38284" y="19509"/>
                  </a:lnTo>
                  <a:lnTo>
                    <a:pt x="36804" y="21089"/>
                  </a:lnTo>
                  <a:lnTo>
                    <a:pt x="32906" y="23559"/>
                  </a:lnTo>
                  <a:lnTo>
                    <a:pt x="28022" y="25188"/>
                  </a:lnTo>
                  <a:lnTo>
                    <a:pt x="22546" y="26028"/>
                  </a:lnTo>
                  <a:lnTo>
                    <a:pt x="16922" y="26127"/>
                  </a:lnTo>
                  <a:lnTo>
                    <a:pt x="11544" y="25485"/>
                  </a:lnTo>
                  <a:lnTo>
                    <a:pt x="6808" y="24250"/>
                  </a:lnTo>
                  <a:lnTo>
                    <a:pt x="3207" y="22423"/>
                  </a:lnTo>
                  <a:lnTo>
                    <a:pt x="2072" y="21336"/>
                  </a:lnTo>
                  <a:lnTo>
                    <a:pt x="1283" y="20052"/>
                  </a:lnTo>
                  <a:lnTo>
                    <a:pt x="296" y="17138"/>
                  </a:lnTo>
                  <a:lnTo>
                    <a:pt x="0" y="13928"/>
                  </a:lnTo>
                  <a:lnTo>
                    <a:pt x="641" y="11113"/>
                  </a:lnTo>
                  <a:lnTo>
                    <a:pt x="2121" y="8692"/>
                  </a:lnTo>
                  <a:lnTo>
                    <a:pt x="4095" y="6668"/>
                  </a:lnTo>
                  <a:lnTo>
                    <a:pt x="8979" y="3852"/>
                  </a:lnTo>
                  <a:lnTo>
                    <a:pt x="13518" y="2618"/>
                  </a:lnTo>
                  <a:lnTo>
                    <a:pt x="18106" y="1235"/>
                  </a:lnTo>
                  <a:lnTo>
                    <a:pt x="22497" y="0"/>
                  </a:lnTo>
                </a:path>
              </a:pathLst>
            </a:custGeom>
            <a:solidFill>
              <a:srgbClr val="002E56"/>
            </a:solidFill>
            <a:ln w="4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07358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743" r:id="rId34"/>
  </p:sldLayoutIdLst>
  <p:hf sldNum="0" hdr="0" ftr="0" dt="0"/>
  <p:txStyles>
    <p:titleStyle>
      <a:lvl1pPr marL="0" algn="l" defTabSz="914400" rtl="0" eaLnBrk="1" latinLnBrk="0" hangingPunct="1">
        <a:lnSpc>
          <a:spcPct val="90000"/>
        </a:lnSpc>
        <a:spcBef>
          <a:spcPct val="0"/>
        </a:spcBef>
        <a:buNone/>
        <a:defRPr lang="x-none" sz="3200" kern="1200">
          <a:gradFill flip="none" rotWithShape="1">
            <a:gsLst>
              <a:gs pos="100000">
                <a:schemeClr val="accent5"/>
              </a:gs>
              <a:gs pos="0">
                <a:schemeClr val="accent1"/>
              </a:gs>
            </a:gsLst>
            <a:lin ang="10800000" scaled="1"/>
            <a:tileRect/>
          </a:gradFill>
          <a:latin typeface="+mj-lt"/>
          <a:ea typeface="+mn-ea"/>
          <a:cs typeface="+mn-cs"/>
        </a:defRPr>
      </a:lvl1pPr>
    </p:titleStyle>
    <p:bodyStyle>
      <a:lvl1pPr marL="174625" indent="-174625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68275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19113" indent="-1762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66688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62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0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xmlns="" id="{37059C4F-9AC1-8A7E-AD31-0A88C5450C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681948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Slide do think-cell" r:id="rId15" imgW="7772400" imgH="10058400" progId="TCLayout.ActiveDocument.1">
                  <p:embed/>
                </p:oleObj>
              </mc:Choice>
              <mc:Fallback>
                <p:oleObj name="Slide do think-cell" r:id="rId15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7059C4F-9AC1-8A7E-AD31-0A88C5450C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xmlns="" id="{B166C906-6FC2-58B6-4233-529AEE6EE4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EA46CA1F-FD52-067C-6DF2-35606D7304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1022A4E1-3034-FFD0-2B20-E106220305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471158A-C8B1-4493-84AB-72BA730BB114}" type="datetimeFigureOut">
              <a:rPr lang="pt-BR" smtClean="0"/>
              <a:t>03/04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D8D38600-1EA0-6AD1-1FF1-57E9C77A23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465B2785-0009-3C2B-A986-3DE544BB1B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728E537-934E-4B08-A843-BDA975551D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4800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bmrn.sharepoint.com/:p:/r/sites/GMC/_layouts/15/Doc.aspx?sourcedoc=%7b446B04F4-5CC0-4BC4-B506-A7D64111D5CB%7d&amp;file=Mahlangu%20J%20et%20al.%20Oral%20presentation%20at%20ISTH%202023.%20OC%2020.1.pptx&amp;action=edit&amp;mobileredirect=true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.xml"/><Relationship Id="rId7" Type="http://schemas.openxmlformats.org/officeDocument/2006/relationships/image" Target="../media/image49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8.png"/><Relationship Id="rId5" Type="http://schemas.openxmlformats.org/officeDocument/2006/relationships/image" Target="../media/image47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clinicaltrials.gov/ct2/show/NCT03197766" TargetMode="External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" Type="http://schemas.openxmlformats.org/officeDocument/2006/relationships/hyperlink" Target="https://clinicaltrials.gov/show/NCT03989947" TargetMode="External"/><Relationship Id="rId21" Type="http://schemas.openxmlformats.org/officeDocument/2006/relationships/image" Target="../media/image36.png"/><Relationship Id="rId7" Type="http://schemas.openxmlformats.org/officeDocument/2006/relationships/hyperlink" Target="https://clinicaltrials.gov/show/NCT03583697" TargetMode="External"/><Relationship Id="rId12" Type="http://schemas.openxmlformats.org/officeDocument/2006/relationships/hyperlink" Target="https://clinicaltrials.gov/ct2/show/NCT03449368" TargetMode="External"/><Relationship Id="rId17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2.png"/><Relationship Id="rId20" Type="http://schemas.openxmlformats.org/officeDocument/2006/relationships/image" Target="../media/image39.svg"/><Relationship Id="rId1" Type="http://schemas.openxmlformats.org/officeDocument/2006/relationships/slideLayout" Target="../slideLayouts/slideLayout79.xml"/><Relationship Id="rId6" Type="http://schemas.openxmlformats.org/officeDocument/2006/relationships/hyperlink" Target="https://clinicaltrials.gov/show/NCT02724228" TargetMode="External"/><Relationship Id="rId11" Type="http://schemas.openxmlformats.org/officeDocument/2006/relationships/hyperlink" Target="https://clinicaltrials.gov/ct2/show/NCT03872531" TargetMode="External"/><Relationship Id="rId5" Type="http://schemas.openxmlformats.org/officeDocument/2006/relationships/hyperlink" Target="https://clinicaltrials.gov/show/NCT02055157" TargetMode="External"/><Relationship Id="rId15" Type="http://schemas.openxmlformats.org/officeDocument/2006/relationships/image" Target="../media/image31.png"/><Relationship Id="rId23" Type="http://schemas.openxmlformats.org/officeDocument/2006/relationships/image" Target="../media/image37.png"/><Relationship Id="rId10" Type="http://schemas.openxmlformats.org/officeDocument/2006/relationships/hyperlink" Target="https://clinicaltrials.gov/ct2/show/NCT04554940%20/" TargetMode="External"/><Relationship Id="rId19" Type="http://schemas.openxmlformats.org/officeDocument/2006/relationships/image" Target="../media/image35.png"/><Relationship Id="rId4" Type="http://schemas.openxmlformats.org/officeDocument/2006/relationships/hyperlink" Target="https://clinicaltrials.gov/ct2/show/NCT01603095?term=bmn-111&amp;rank=4" TargetMode="External"/><Relationship Id="rId9" Type="http://schemas.openxmlformats.org/officeDocument/2006/relationships/hyperlink" Target="https://clinicaltrials.gov/ct2/show/NCT03424018" TargetMode="External"/><Relationship Id="rId14" Type="http://schemas.openxmlformats.org/officeDocument/2006/relationships/image" Target="../media/image30.png"/><Relationship Id="rId22" Type="http://schemas.openxmlformats.org/officeDocument/2006/relationships/image" Target="../media/image41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13" Type="http://schemas.openxmlformats.org/officeDocument/2006/relationships/image" Target="../media/image46.png"/><Relationship Id="rId3" Type="http://schemas.openxmlformats.org/officeDocument/2006/relationships/chart" Target="../charts/chart3.xml"/><Relationship Id="rId7" Type="http://schemas.openxmlformats.org/officeDocument/2006/relationships/chart" Target="../charts/chart7.xml"/><Relationship Id="rId12" Type="http://schemas.openxmlformats.org/officeDocument/2006/relationships/image" Target="../media/image51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9.xml"/><Relationship Id="rId6" Type="http://schemas.openxmlformats.org/officeDocument/2006/relationships/chart" Target="../charts/chart6.xml"/><Relationship Id="rId11" Type="http://schemas.openxmlformats.org/officeDocument/2006/relationships/image" Target="../media/image45.png"/><Relationship Id="rId5" Type="http://schemas.openxmlformats.org/officeDocument/2006/relationships/chart" Target="../charts/chart5.xml"/><Relationship Id="rId10" Type="http://schemas.openxmlformats.org/officeDocument/2006/relationships/chart" Target="../charts/chart10.xml"/><Relationship Id="rId4" Type="http://schemas.openxmlformats.org/officeDocument/2006/relationships/chart" Target="../charts/chart4.xml"/><Relationship Id="rId9" Type="http://schemas.openxmlformats.org/officeDocument/2006/relationships/chart" Target="../charts/chart9.xml"/><Relationship Id="rId14" Type="http://schemas.openxmlformats.org/officeDocument/2006/relationships/image" Target="../media/image5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5" Type="http://schemas.openxmlformats.org/officeDocument/2006/relationships/hyperlink" Target="https://www.ema.europa.eu/en/documents/product-information/voxzogo-epar-product-information_en.pdf" TargetMode="External"/><Relationship Id="rId4" Type="http://schemas.openxmlformats.org/officeDocument/2006/relationships/hyperlink" Target="https://www.accessdata.fda.gov/drugsatfda_docs/label/2021/214938s000lbl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53738" y="3525715"/>
            <a:ext cx="11713704" cy="1426000"/>
          </a:xfrm>
        </p:spPr>
        <p:txBody>
          <a:bodyPr/>
          <a:lstStyle/>
          <a:p>
            <a:pPr>
              <a:defRPr/>
            </a:pPr>
            <a:r>
              <a:rPr kumimoji="1" lang="pt-BR" sz="3200" dirty="0"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a typeface="+mn-ea"/>
              </a:rPr>
              <a:t>tratamento medicamentoso da acondroplasia: desenvolvimento e resultados</a:t>
            </a:r>
            <a:endParaRPr kumimoji="1" lang="en-US" sz="3200" dirty="0">
              <a:gradFill flip="none" rotWithShape="1">
                <a:gsLst>
                  <a:gs pos="100000">
                    <a:srgbClr val="343C98"/>
                  </a:gs>
                  <a:gs pos="0">
                    <a:srgbClr val="A9208E"/>
                  </a:gs>
                </a:gsLst>
                <a:lin ang="10800000" scaled="1"/>
                <a:tileRect/>
              </a:gradFill>
              <a:ea typeface="+mn-ea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869189" y="6167882"/>
            <a:ext cx="445362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393996"/>
                </a:solidFill>
                <a:effectLst/>
                <a:uLnTx/>
                <a:uFillTx/>
                <a:latin typeface="Arial" panose="020B0604020202020204"/>
                <a:ea typeface="Geneva" charset="-128"/>
                <a:cs typeface="+mn-cs"/>
              </a:rPr>
              <a:t>CONFIDENCIAL - NÃO COPIAR OU DISTRIBUIR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93996"/>
                </a:solidFill>
                <a:effectLst/>
                <a:uLnTx/>
                <a:uFillTx/>
                <a:latin typeface="Arial"/>
                <a:ea typeface="Geneva" charset="-128"/>
                <a:cs typeface="+mn-cs"/>
              </a:rPr>
              <a:t>​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93996"/>
                </a:solidFill>
                <a:effectLst/>
                <a:uLnTx/>
                <a:uFillTx/>
                <a:latin typeface="Arial"/>
                <a:ea typeface="Geneva" charset="-128"/>
                <a:cs typeface="+mn-cs"/>
              </a:rPr>
              <a:t>MMRCL-ACH-00333 - 08/2021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B4C60805-B52F-438F-98DE-955B26D7BE47}"/>
              </a:ext>
            </a:extLst>
          </p:cNvPr>
          <p:cNvSpPr txBox="1"/>
          <p:nvPr/>
        </p:nvSpPr>
        <p:spPr>
          <a:xfrm>
            <a:off x="8091894" y="5230611"/>
            <a:ext cx="4277088" cy="62170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pt-BR" sz="2000" b="1" cap="all" dirty="0"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Wilson Kuwabar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pt-BR" sz="1200" b="1" cap="all" dirty="0"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Brazil Medical Lead</a:t>
            </a:r>
            <a:endParaRPr kumimoji="1" lang="en-US" sz="1200" b="1" cap="all" dirty="0" err="1">
              <a:gradFill flip="none" rotWithShape="1">
                <a:gsLst>
                  <a:gs pos="100000">
                    <a:srgbClr val="343C98"/>
                  </a:gs>
                  <a:gs pos="0">
                    <a:srgbClr val="A9208E"/>
                  </a:gs>
                </a:gsLst>
                <a:lin ang="10800000" scaled="1"/>
                <a:tileRect/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8870148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9EE5083E-27ED-1F40-F2D0-D3A50C9F57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22DFC704-BA93-BA16-8751-5BDC015EC87A}"/>
              </a:ext>
            </a:extLst>
          </p:cNvPr>
          <p:cNvSpPr/>
          <p:nvPr/>
        </p:nvSpPr>
        <p:spPr>
          <a:xfrm rot="10800000">
            <a:off x="3924713" y="2919967"/>
            <a:ext cx="4168542" cy="724857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93C14783-9134-070E-C32B-CE21D91F0DDB}"/>
              </a:ext>
            </a:extLst>
          </p:cNvPr>
          <p:cNvSpPr txBox="1"/>
          <p:nvPr/>
        </p:nvSpPr>
        <p:spPr>
          <a:xfrm>
            <a:off x="128669" y="6081376"/>
            <a:ext cx="106684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AGV, velocidade de crescimento anualizada; Ext, extensão; HRQoL, qualidade de vida relacionada à saúde; QoL, qualidade de vida; QoLISSY, Quality of Life Short Stature Youth</a:t>
            </a:r>
            <a:b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</a:b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1. Savarirayan R </a:t>
            </a:r>
            <a:r>
              <a:rPr kumimoji="0" lang="da-DK" sz="600" b="0" i="1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et al. N Engl J Med </a:t>
            </a: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2019;381:25-35; 2. Savarirayan R </a:t>
            </a:r>
            <a:r>
              <a:rPr kumimoji="0" lang="da-DK" sz="600" b="0" i="1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et al. Lancet </a:t>
            </a: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2020;396:684-92; 3. Savarirayan R </a:t>
            </a:r>
            <a:r>
              <a:rPr kumimoji="0" lang="da-DK" sz="600" b="0" i="1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et al. Genet Med </a:t>
            </a: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2021;23:2443-74; 4. Savarirayan R </a:t>
            </a:r>
            <a:r>
              <a:rPr kumimoji="0" lang="da-DK" sz="600" b="0" i="1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et al. Lancet Child Adolesc Health </a:t>
            </a: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2024;8:40-50; 5. Savarirayan R </a:t>
            </a:r>
            <a:r>
              <a:rPr kumimoji="0" lang="da-DK" sz="600" b="0" i="1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et al</a:t>
            </a: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. </a:t>
            </a:r>
            <a:r>
              <a:rPr kumimoji="0" lang="da-DK" sz="600" b="0" i="1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Genet Med </a:t>
            </a: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2024;26:101274; </a:t>
            </a:r>
            <a:b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</a:b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6. Savarirayan R </a:t>
            </a:r>
            <a:r>
              <a:rPr kumimoji="0" lang="da-DK" sz="600" b="0" i="1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et al. Med </a:t>
            </a: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ptos" panose="020B0004020202020204" pitchFamily="34" charset="0"/>
                <a:ea typeface="+mn-lt"/>
                <a:cs typeface="Arial"/>
              </a:rPr>
              <a:t>2024; no prelo</a:t>
            </a:r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xmlns="" id="{466BFE0F-BFC3-F6C6-1A7B-A31A8EAD815E}"/>
              </a:ext>
            </a:extLst>
          </p:cNvPr>
          <p:cNvSpPr/>
          <p:nvPr/>
        </p:nvSpPr>
        <p:spPr>
          <a:xfrm>
            <a:off x="4069478" y="2877777"/>
            <a:ext cx="741079" cy="638858"/>
          </a:xfrm>
          <a:prstGeom prst="hexagon">
            <a:avLst>
              <a:gd name="adj" fmla="val 28675"/>
              <a:gd name="vf" fmla="val 11547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CFE913B4-FF80-F192-C197-51362E352642}"/>
              </a:ext>
            </a:extLst>
          </p:cNvPr>
          <p:cNvCxnSpPr>
            <a:cxnSpLocks/>
          </p:cNvCxnSpPr>
          <p:nvPr/>
        </p:nvCxnSpPr>
        <p:spPr>
          <a:xfrm>
            <a:off x="400050" y="3613259"/>
            <a:ext cx="11281968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6B5B6251-6B9E-BD29-8910-6CA6D46745CA}"/>
              </a:ext>
            </a:extLst>
          </p:cNvPr>
          <p:cNvGrpSpPr/>
          <p:nvPr/>
        </p:nvGrpSpPr>
        <p:grpSpPr>
          <a:xfrm>
            <a:off x="1187535" y="3371687"/>
            <a:ext cx="554231" cy="481852"/>
            <a:chOff x="1984978" y="2055614"/>
            <a:chExt cx="554231" cy="481852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xmlns="" id="{E3A47D5C-F248-E762-CA1B-EF558AF4DA23}"/>
                </a:ext>
              </a:extLst>
            </p:cNvPr>
            <p:cNvSpPr/>
            <p:nvPr/>
          </p:nvSpPr>
          <p:spPr>
            <a:xfrm rot="5400000">
              <a:off x="2021168" y="2019424"/>
              <a:ext cx="481852" cy="554231"/>
            </a:xfrm>
            <a:custGeom>
              <a:avLst/>
              <a:gdLst>
                <a:gd name="connsiteX0" fmla="*/ 759 w 481852"/>
                <a:gd name="connsiteY0" fmla="*/ 415800 h 554231"/>
                <a:gd name="connsiteX1" fmla="*/ 0 w 481852"/>
                <a:gd name="connsiteY1" fmla="*/ 140203 h 554231"/>
                <a:gd name="connsiteX2" fmla="*/ 242824 w 481852"/>
                <a:gd name="connsiteY2" fmla="*/ 0 h 554231"/>
                <a:gd name="connsiteX3" fmla="*/ 481093 w 481852"/>
                <a:gd name="connsiteY3" fmla="*/ 138431 h 554231"/>
                <a:gd name="connsiteX4" fmla="*/ 481852 w 481852"/>
                <a:gd name="connsiteY4" fmla="*/ 414029 h 554231"/>
                <a:gd name="connsiteX5" fmla="*/ 239028 w 481852"/>
                <a:gd name="connsiteY5" fmla="*/ 554231 h 554231"/>
                <a:gd name="connsiteX6" fmla="*/ 759 w 481852"/>
                <a:gd name="connsiteY6" fmla="*/ 415800 h 554231"/>
                <a:gd name="connsiteX7" fmla="*/ 759 w 481852"/>
                <a:gd name="connsiteY7" fmla="*/ 415800 h 55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852" h="554231">
                  <a:moveTo>
                    <a:pt x="759" y="415800"/>
                  </a:moveTo>
                  <a:lnTo>
                    <a:pt x="0" y="140203"/>
                  </a:lnTo>
                  <a:lnTo>
                    <a:pt x="242824" y="0"/>
                  </a:lnTo>
                  <a:lnTo>
                    <a:pt x="481093" y="138431"/>
                  </a:lnTo>
                  <a:lnTo>
                    <a:pt x="481852" y="414029"/>
                  </a:lnTo>
                  <a:lnTo>
                    <a:pt x="239028" y="554231"/>
                  </a:lnTo>
                  <a:lnTo>
                    <a:pt x="759" y="415800"/>
                  </a:lnTo>
                  <a:lnTo>
                    <a:pt x="759" y="415800"/>
                  </a:ln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7AEF01BB-B01E-066B-DDB3-3E044F177FBE}"/>
                </a:ext>
              </a:extLst>
            </p:cNvPr>
            <p:cNvSpPr txBox="1"/>
            <p:nvPr/>
          </p:nvSpPr>
          <p:spPr>
            <a:xfrm>
              <a:off x="2026007" y="2189503"/>
              <a:ext cx="472316" cy="246221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  <a:t>2019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47DCA7C3-E735-F91F-4FD8-E29BD3448148}"/>
              </a:ext>
            </a:extLst>
          </p:cNvPr>
          <p:cNvGrpSpPr/>
          <p:nvPr/>
        </p:nvGrpSpPr>
        <p:grpSpPr>
          <a:xfrm>
            <a:off x="2565754" y="3371687"/>
            <a:ext cx="554231" cy="481852"/>
            <a:chOff x="1984978" y="2055614"/>
            <a:chExt cx="554231" cy="481852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xmlns="" id="{8D1DEF86-8F36-07A7-ABBB-DF80116B266C}"/>
                </a:ext>
              </a:extLst>
            </p:cNvPr>
            <p:cNvSpPr/>
            <p:nvPr/>
          </p:nvSpPr>
          <p:spPr>
            <a:xfrm rot="5400000">
              <a:off x="2021168" y="2019424"/>
              <a:ext cx="481852" cy="554231"/>
            </a:xfrm>
            <a:custGeom>
              <a:avLst/>
              <a:gdLst>
                <a:gd name="connsiteX0" fmla="*/ 759 w 481852"/>
                <a:gd name="connsiteY0" fmla="*/ 415800 h 554231"/>
                <a:gd name="connsiteX1" fmla="*/ 0 w 481852"/>
                <a:gd name="connsiteY1" fmla="*/ 140203 h 554231"/>
                <a:gd name="connsiteX2" fmla="*/ 242824 w 481852"/>
                <a:gd name="connsiteY2" fmla="*/ 0 h 554231"/>
                <a:gd name="connsiteX3" fmla="*/ 481093 w 481852"/>
                <a:gd name="connsiteY3" fmla="*/ 138431 h 554231"/>
                <a:gd name="connsiteX4" fmla="*/ 481852 w 481852"/>
                <a:gd name="connsiteY4" fmla="*/ 414029 h 554231"/>
                <a:gd name="connsiteX5" fmla="*/ 239028 w 481852"/>
                <a:gd name="connsiteY5" fmla="*/ 554231 h 554231"/>
                <a:gd name="connsiteX6" fmla="*/ 759 w 481852"/>
                <a:gd name="connsiteY6" fmla="*/ 415800 h 554231"/>
                <a:gd name="connsiteX7" fmla="*/ 759 w 481852"/>
                <a:gd name="connsiteY7" fmla="*/ 415800 h 55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852" h="554231">
                  <a:moveTo>
                    <a:pt x="759" y="415800"/>
                  </a:moveTo>
                  <a:lnTo>
                    <a:pt x="0" y="140203"/>
                  </a:lnTo>
                  <a:lnTo>
                    <a:pt x="242824" y="0"/>
                  </a:lnTo>
                  <a:lnTo>
                    <a:pt x="481093" y="138431"/>
                  </a:lnTo>
                  <a:lnTo>
                    <a:pt x="481852" y="414029"/>
                  </a:lnTo>
                  <a:lnTo>
                    <a:pt x="239028" y="554231"/>
                  </a:lnTo>
                  <a:lnTo>
                    <a:pt x="759" y="415800"/>
                  </a:lnTo>
                  <a:lnTo>
                    <a:pt x="759" y="415800"/>
                  </a:ln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19122D48-2812-7B06-F647-F5E27C54E89A}"/>
                </a:ext>
              </a:extLst>
            </p:cNvPr>
            <p:cNvSpPr txBox="1"/>
            <p:nvPr/>
          </p:nvSpPr>
          <p:spPr>
            <a:xfrm>
              <a:off x="2026007" y="2189503"/>
              <a:ext cx="472316" cy="246221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  <a:t>2020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D01D8646-AFF2-C576-97D3-ECD7C5FD577D}"/>
              </a:ext>
            </a:extLst>
          </p:cNvPr>
          <p:cNvGrpSpPr/>
          <p:nvPr/>
        </p:nvGrpSpPr>
        <p:grpSpPr>
          <a:xfrm>
            <a:off x="3923986" y="3371687"/>
            <a:ext cx="554231" cy="481852"/>
            <a:chOff x="1984978" y="2055614"/>
            <a:chExt cx="554231" cy="481852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xmlns="" id="{0216B03B-E5EA-3140-9115-CA91184E5CCD}"/>
                </a:ext>
              </a:extLst>
            </p:cNvPr>
            <p:cNvSpPr/>
            <p:nvPr/>
          </p:nvSpPr>
          <p:spPr>
            <a:xfrm rot="5400000">
              <a:off x="2021168" y="2019424"/>
              <a:ext cx="481852" cy="554231"/>
            </a:xfrm>
            <a:custGeom>
              <a:avLst/>
              <a:gdLst>
                <a:gd name="connsiteX0" fmla="*/ 759 w 481852"/>
                <a:gd name="connsiteY0" fmla="*/ 415800 h 554231"/>
                <a:gd name="connsiteX1" fmla="*/ 0 w 481852"/>
                <a:gd name="connsiteY1" fmla="*/ 140203 h 554231"/>
                <a:gd name="connsiteX2" fmla="*/ 242824 w 481852"/>
                <a:gd name="connsiteY2" fmla="*/ 0 h 554231"/>
                <a:gd name="connsiteX3" fmla="*/ 481093 w 481852"/>
                <a:gd name="connsiteY3" fmla="*/ 138431 h 554231"/>
                <a:gd name="connsiteX4" fmla="*/ 481852 w 481852"/>
                <a:gd name="connsiteY4" fmla="*/ 414029 h 554231"/>
                <a:gd name="connsiteX5" fmla="*/ 239028 w 481852"/>
                <a:gd name="connsiteY5" fmla="*/ 554231 h 554231"/>
                <a:gd name="connsiteX6" fmla="*/ 759 w 481852"/>
                <a:gd name="connsiteY6" fmla="*/ 415800 h 554231"/>
                <a:gd name="connsiteX7" fmla="*/ 759 w 481852"/>
                <a:gd name="connsiteY7" fmla="*/ 415800 h 55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852" h="554231">
                  <a:moveTo>
                    <a:pt x="759" y="415800"/>
                  </a:moveTo>
                  <a:lnTo>
                    <a:pt x="0" y="140203"/>
                  </a:lnTo>
                  <a:lnTo>
                    <a:pt x="242824" y="0"/>
                  </a:lnTo>
                  <a:lnTo>
                    <a:pt x="481093" y="138431"/>
                  </a:lnTo>
                  <a:lnTo>
                    <a:pt x="481852" y="414029"/>
                  </a:lnTo>
                  <a:lnTo>
                    <a:pt x="239028" y="554231"/>
                  </a:lnTo>
                  <a:lnTo>
                    <a:pt x="759" y="415800"/>
                  </a:lnTo>
                  <a:lnTo>
                    <a:pt x="759" y="415800"/>
                  </a:ln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xmlns="" id="{25AFF6CE-A847-AF3C-3EF0-5ABF4E795420}"/>
                </a:ext>
              </a:extLst>
            </p:cNvPr>
            <p:cNvSpPr txBox="1"/>
            <p:nvPr/>
          </p:nvSpPr>
          <p:spPr>
            <a:xfrm>
              <a:off x="2026007" y="2189503"/>
              <a:ext cx="472316" cy="246221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  <a:t>2021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72F95A55-8D96-9DE1-AC5D-31C559D5CF2C}"/>
              </a:ext>
            </a:extLst>
          </p:cNvPr>
          <p:cNvGrpSpPr/>
          <p:nvPr/>
        </p:nvGrpSpPr>
        <p:grpSpPr>
          <a:xfrm>
            <a:off x="6382634" y="3371687"/>
            <a:ext cx="554231" cy="481852"/>
            <a:chOff x="1984978" y="2055614"/>
            <a:chExt cx="554231" cy="481852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xmlns="" id="{B2F4F33B-A37B-597D-0388-3F06B7878543}"/>
                </a:ext>
              </a:extLst>
            </p:cNvPr>
            <p:cNvSpPr/>
            <p:nvPr/>
          </p:nvSpPr>
          <p:spPr>
            <a:xfrm rot="5400000">
              <a:off x="2021168" y="2019424"/>
              <a:ext cx="481852" cy="554231"/>
            </a:xfrm>
            <a:custGeom>
              <a:avLst/>
              <a:gdLst>
                <a:gd name="connsiteX0" fmla="*/ 759 w 481852"/>
                <a:gd name="connsiteY0" fmla="*/ 415800 h 554231"/>
                <a:gd name="connsiteX1" fmla="*/ 0 w 481852"/>
                <a:gd name="connsiteY1" fmla="*/ 140203 h 554231"/>
                <a:gd name="connsiteX2" fmla="*/ 242824 w 481852"/>
                <a:gd name="connsiteY2" fmla="*/ 0 h 554231"/>
                <a:gd name="connsiteX3" fmla="*/ 481093 w 481852"/>
                <a:gd name="connsiteY3" fmla="*/ 138431 h 554231"/>
                <a:gd name="connsiteX4" fmla="*/ 481852 w 481852"/>
                <a:gd name="connsiteY4" fmla="*/ 414029 h 554231"/>
                <a:gd name="connsiteX5" fmla="*/ 239028 w 481852"/>
                <a:gd name="connsiteY5" fmla="*/ 554231 h 554231"/>
                <a:gd name="connsiteX6" fmla="*/ 759 w 481852"/>
                <a:gd name="connsiteY6" fmla="*/ 415800 h 554231"/>
                <a:gd name="connsiteX7" fmla="*/ 759 w 481852"/>
                <a:gd name="connsiteY7" fmla="*/ 415800 h 55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852" h="554231">
                  <a:moveTo>
                    <a:pt x="759" y="415800"/>
                  </a:moveTo>
                  <a:lnTo>
                    <a:pt x="0" y="140203"/>
                  </a:lnTo>
                  <a:lnTo>
                    <a:pt x="242824" y="0"/>
                  </a:lnTo>
                  <a:lnTo>
                    <a:pt x="481093" y="138431"/>
                  </a:lnTo>
                  <a:lnTo>
                    <a:pt x="481852" y="414029"/>
                  </a:lnTo>
                  <a:lnTo>
                    <a:pt x="239028" y="554231"/>
                  </a:lnTo>
                  <a:lnTo>
                    <a:pt x="759" y="415800"/>
                  </a:lnTo>
                  <a:lnTo>
                    <a:pt x="759" y="415800"/>
                  </a:lnTo>
                  <a:close/>
                </a:path>
              </a:pathLst>
            </a:custGeom>
            <a:solidFill>
              <a:schemeClr val="accent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CB9B16CA-B4CA-3F3B-8367-6B3A6ED6799C}"/>
                </a:ext>
              </a:extLst>
            </p:cNvPr>
            <p:cNvSpPr txBox="1"/>
            <p:nvPr/>
          </p:nvSpPr>
          <p:spPr>
            <a:xfrm>
              <a:off x="2026007" y="2189503"/>
              <a:ext cx="472316" cy="246221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  <a:t>2024</a:t>
              </a:r>
            </a:p>
          </p:txBody>
        </p:sp>
      </p:grp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C8D0A820-F7FC-DF2E-D6D2-36436518DE9E}"/>
              </a:ext>
            </a:extLst>
          </p:cNvPr>
          <p:cNvSpPr/>
          <p:nvPr/>
        </p:nvSpPr>
        <p:spPr>
          <a:xfrm rot="5400000">
            <a:off x="7621608" y="3335497"/>
            <a:ext cx="481852" cy="554231"/>
          </a:xfrm>
          <a:custGeom>
            <a:avLst/>
            <a:gdLst>
              <a:gd name="connsiteX0" fmla="*/ 759 w 481852"/>
              <a:gd name="connsiteY0" fmla="*/ 415800 h 554231"/>
              <a:gd name="connsiteX1" fmla="*/ 0 w 481852"/>
              <a:gd name="connsiteY1" fmla="*/ 140203 h 554231"/>
              <a:gd name="connsiteX2" fmla="*/ 242824 w 481852"/>
              <a:gd name="connsiteY2" fmla="*/ 0 h 554231"/>
              <a:gd name="connsiteX3" fmla="*/ 481093 w 481852"/>
              <a:gd name="connsiteY3" fmla="*/ 138431 h 554231"/>
              <a:gd name="connsiteX4" fmla="*/ 481852 w 481852"/>
              <a:gd name="connsiteY4" fmla="*/ 414029 h 554231"/>
              <a:gd name="connsiteX5" fmla="*/ 239028 w 481852"/>
              <a:gd name="connsiteY5" fmla="*/ 554231 h 554231"/>
              <a:gd name="connsiteX6" fmla="*/ 759 w 481852"/>
              <a:gd name="connsiteY6" fmla="*/ 415800 h 554231"/>
              <a:gd name="connsiteX7" fmla="*/ 759 w 481852"/>
              <a:gd name="connsiteY7" fmla="*/ 415800 h 554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1852" h="554231">
                <a:moveTo>
                  <a:pt x="759" y="415800"/>
                </a:moveTo>
                <a:lnTo>
                  <a:pt x="0" y="140203"/>
                </a:lnTo>
                <a:lnTo>
                  <a:pt x="242824" y="0"/>
                </a:lnTo>
                <a:lnTo>
                  <a:pt x="481093" y="138431"/>
                </a:lnTo>
                <a:lnTo>
                  <a:pt x="481852" y="414029"/>
                </a:lnTo>
                <a:lnTo>
                  <a:pt x="239028" y="554231"/>
                </a:lnTo>
                <a:lnTo>
                  <a:pt x="759" y="415800"/>
                </a:lnTo>
                <a:lnTo>
                  <a:pt x="759" y="415800"/>
                </a:ln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8E3BFB52-72F1-50F9-4573-F0C15ECED2E6}"/>
              </a:ext>
            </a:extLst>
          </p:cNvPr>
          <p:cNvSpPr txBox="1"/>
          <p:nvPr/>
        </p:nvSpPr>
        <p:spPr>
          <a:xfrm>
            <a:off x="7626447" y="3505576"/>
            <a:ext cx="472316" cy="246221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2024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9473619B-FCA7-2620-F7C9-B6D95449B0BD}"/>
              </a:ext>
            </a:extLst>
          </p:cNvPr>
          <p:cNvGrpSpPr/>
          <p:nvPr/>
        </p:nvGrpSpPr>
        <p:grpSpPr>
          <a:xfrm>
            <a:off x="8977943" y="3371687"/>
            <a:ext cx="554231" cy="481852"/>
            <a:chOff x="1984978" y="2055614"/>
            <a:chExt cx="554231" cy="481852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xmlns="" id="{35FE1870-EF18-414D-DBAD-4399D4FAF54E}"/>
                </a:ext>
              </a:extLst>
            </p:cNvPr>
            <p:cNvSpPr/>
            <p:nvPr/>
          </p:nvSpPr>
          <p:spPr>
            <a:xfrm rot="5400000">
              <a:off x="2021168" y="2019424"/>
              <a:ext cx="481852" cy="554231"/>
            </a:xfrm>
            <a:custGeom>
              <a:avLst/>
              <a:gdLst>
                <a:gd name="connsiteX0" fmla="*/ 759 w 481852"/>
                <a:gd name="connsiteY0" fmla="*/ 415800 h 554231"/>
                <a:gd name="connsiteX1" fmla="*/ 0 w 481852"/>
                <a:gd name="connsiteY1" fmla="*/ 140203 h 554231"/>
                <a:gd name="connsiteX2" fmla="*/ 242824 w 481852"/>
                <a:gd name="connsiteY2" fmla="*/ 0 h 554231"/>
                <a:gd name="connsiteX3" fmla="*/ 481093 w 481852"/>
                <a:gd name="connsiteY3" fmla="*/ 138431 h 554231"/>
                <a:gd name="connsiteX4" fmla="*/ 481852 w 481852"/>
                <a:gd name="connsiteY4" fmla="*/ 414029 h 554231"/>
                <a:gd name="connsiteX5" fmla="*/ 239028 w 481852"/>
                <a:gd name="connsiteY5" fmla="*/ 554231 h 554231"/>
                <a:gd name="connsiteX6" fmla="*/ 759 w 481852"/>
                <a:gd name="connsiteY6" fmla="*/ 415800 h 554231"/>
                <a:gd name="connsiteX7" fmla="*/ 759 w 481852"/>
                <a:gd name="connsiteY7" fmla="*/ 415800 h 55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852" h="554231">
                  <a:moveTo>
                    <a:pt x="759" y="415800"/>
                  </a:moveTo>
                  <a:lnTo>
                    <a:pt x="0" y="140203"/>
                  </a:lnTo>
                  <a:lnTo>
                    <a:pt x="242824" y="0"/>
                  </a:lnTo>
                  <a:lnTo>
                    <a:pt x="481093" y="138431"/>
                  </a:lnTo>
                  <a:lnTo>
                    <a:pt x="481852" y="414029"/>
                  </a:lnTo>
                  <a:lnTo>
                    <a:pt x="239028" y="554231"/>
                  </a:lnTo>
                  <a:lnTo>
                    <a:pt x="759" y="415800"/>
                  </a:lnTo>
                  <a:lnTo>
                    <a:pt x="759" y="415800"/>
                  </a:ln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14A46B13-C3FF-A420-D6E0-C496D1578FCB}"/>
                </a:ext>
              </a:extLst>
            </p:cNvPr>
            <p:cNvSpPr txBox="1"/>
            <p:nvPr/>
          </p:nvSpPr>
          <p:spPr>
            <a:xfrm>
              <a:off x="2026007" y="2189503"/>
              <a:ext cx="472316" cy="246221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CAE3A266-4F6D-374E-0BEE-888D9AC523AD}"/>
              </a:ext>
            </a:extLst>
          </p:cNvPr>
          <p:cNvGrpSpPr/>
          <p:nvPr/>
        </p:nvGrpSpPr>
        <p:grpSpPr>
          <a:xfrm>
            <a:off x="2936506" y="1443810"/>
            <a:ext cx="2529191" cy="1919790"/>
            <a:chOff x="3322272" y="1331491"/>
            <a:chExt cx="2529191" cy="1919790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xmlns="" id="{9DDD4D4E-E506-0106-30E2-D4FD21726B28}"/>
                </a:ext>
              </a:extLst>
            </p:cNvPr>
            <p:cNvGrpSpPr/>
            <p:nvPr/>
          </p:nvGrpSpPr>
          <p:grpSpPr>
            <a:xfrm>
              <a:off x="3322272" y="1331491"/>
              <a:ext cx="2529191" cy="1877405"/>
              <a:chOff x="13441147" y="997249"/>
              <a:chExt cx="2241310" cy="16637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xmlns="" id="{700A1108-E224-88E0-F87C-64EE7FC7A705}"/>
                  </a:ext>
                </a:extLst>
              </p:cNvPr>
              <p:cNvSpPr/>
              <p:nvPr/>
            </p:nvSpPr>
            <p:spPr>
              <a:xfrm rot="9000000">
                <a:off x="13502197" y="997249"/>
                <a:ext cx="2129297" cy="1663714"/>
              </a:xfrm>
              <a:custGeom>
                <a:avLst/>
                <a:gdLst>
                  <a:gd name="connsiteX0" fmla="*/ 1054725 w 1446141"/>
                  <a:gd name="connsiteY0" fmla="*/ 0 h 1129934"/>
                  <a:gd name="connsiteX1" fmla="*/ 1446141 w 1446141"/>
                  <a:gd name="connsiteY1" fmla="*/ 682504 h 1129934"/>
                  <a:gd name="connsiteX2" fmla="*/ 1189540 w 1446141"/>
                  <a:gd name="connsiteY2" fmla="*/ 1129934 h 1129934"/>
                  <a:gd name="connsiteX3" fmla="*/ 0 w 1446141"/>
                  <a:gd name="connsiteY3" fmla="*/ 443153 h 1129934"/>
                  <a:gd name="connsiteX4" fmla="*/ 254148 w 1446141"/>
                  <a:gd name="connsiteY4" fmla="*/ 0 h 1129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6141" h="1129934">
                    <a:moveTo>
                      <a:pt x="1054725" y="0"/>
                    </a:moveTo>
                    <a:lnTo>
                      <a:pt x="1446141" y="682504"/>
                    </a:lnTo>
                    <a:lnTo>
                      <a:pt x="1189540" y="1129934"/>
                    </a:lnTo>
                    <a:lnTo>
                      <a:pt x="0" y="443153"/>
                    </a:lnTo>
                    <a:lnTo>
                      <a:pt x="254148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27000" sx="102000" sy="102000" algn="ctr" rotWithShape="0">
                  <a:schemeClr val="accent2">
                    <a:alpha val="30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xmlns="" id="{EE8D753E-7BD1-4106-EA7A-EE4B53570031}"/>
                  </a:ext>
                </a:extLst>
              </p:cNvPr>
              <p:cNvSpPr/>
              <p:nvPr/>
            </p:nvSpPr>
            <p:spPr>
              <a:xfrm rot="10800000">
                <a:off x="13441147" y="1334729"/>
                <a:ext cx="2241310" cy="1037785"/>
              </a:xfrm>
              <a:prstGeom prst="rect">
                <a:avLst/>
              </a:prstGeom>
              <a:gradFill>
                <a:gsLst>
                  <a:gs pos="86000">
                    <a:schemeClr val="bg1"/>
                  </a:gs>
                  <a:gs pos="0">
                    <a:schemeClr val="bg1">
                      <a:alpha val="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9" name="Freeform: Shape 28">
              <a:hlinkClick r:id="rId3"/>
              <a:extLst>
                <a:ext uri="{FF2B5EF4-FFF2-40B4-BE49-F238E27FC236}">
                  <a16:creationId xmlns:a16="http://schemas.microsoft.com/office/drawing/2014/main" xmlns="" id="{260D601A-31D0-781D-E3A8-9AE57C472410}"/>
                </a:ext>
              </a:extLst>
            </p:cNvPr>
            <p:cNvSpPr/>
            <p:nvPr/>
          </p:nvSpPr>
          <p:spPr>
            <a:xfrm rot="5400000">
              <a:off x="4496080" y="2843886"/>
              <a:ext cx="181574" cy="633216"/>
            </a:xfrm>
            <a:custGeom>
              <a:avLst/>
              <a:gdLst>
                <a:gd name="connsiteX0" fmla="*/ 0 w 77304"/>
                <a:gd name="connsiteY0" fmla="*/ 0 h 269588"/>
                <a:gd name="connsiteX1" fmla="*/ 77304 w 77304"/>
                <a:gd name="connsiteY1" fmla="*/ 134794 h 269588"/>
                <a:gd name="connsiteX2" fmla="*/ 0 w 77304"/>
                <a:gd name="connsiteY2" fmla="*/ 269588 h 26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304" h="269588">
                  <a:moveTo>
                    <a:pt x="0" y="0"/>
                  </a:moveTo>
                  <a:lnTo>
                    <a:pt x="77304" y="134794"/>
                  </a:lnTo>
                  <a:lnTo>
                    <a:pt x="0" y="26958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2">
                    <a:alpha val="0"/>
                  </a:schemeClr>
                </a:gs>
              </a:gsLst>
              <a:lin ang="0" scaled="0"/>
            </a:gra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DDB0D45-E32B-7D07-4EDB-5755487F5A6A}"/>
              </a:ext>
            </a:extLst>
          </p:cNvPr>
          <p:cNvSpPr txBox="1"/>
          <p:nvPr/>
        </p:nvSpPr>
        <p:spPr>
          <a:xfrm>
            <a:off x="3102599" y="1481573"/>
            <a:ext cx="2170628" cy="155940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edicina </a:t>
            </a:r>
            <a:r>
              <a:rPr kumimoji="0" lang="en-US" sz="1100" b="1" i="1" u="none" strike="noStrike" kern="0" cap="none" spc="0" normalizeH="0" baseline="0" noProof="0" dirty="0" err="1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Genética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/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Fase 3 Ext (111-301/302)</a:t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ncipai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esultado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: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elhoria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n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VCA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ustentad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, </a:t>
            </a:r>
            <a:b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Z-score e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oporçã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corporal com o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tratament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com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osoritid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or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/>
            </a:r>
            <a:b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té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2 anos</a:t>
            </a:r>
            <a:r>
              <a:rPr kumimoji="0" lang="en-US" sz="1100" b="0" i="0" u="none" strike="noStrike" kern="0" cap="none" spc="0" normalizeH="0" baseline="3000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3000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F4346596-59F3-7D7D-CA0A-12AE1167050E}"/>
              </a:ext>
            </a:extLst>
          </p:cNvPr>
          <p:cNvGrpSpPr/>
          <p:nvPr/>
        </p:nvGrpSpPr>
        <p:grpSpPr>
          <a:xfrm>
            <a:off x="6601226" y="1448179"/>
            <a:ext cx="2522614" cy="1872524"/>
            <a:chOff x="6655014" y="1350049"/>
            <a:chExt cx="2522614" cy="1872524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xmlns="" id="{5012A19C-B23F-C06B-96D6-EA59A4C27FE9}"/>
                </a:ext>
              </a:extLst>
            </p:cNvPr>
            <p:cNvSpPr/>
            <p:nvPr/>
          </p:nvSpPr>
          <p:spPr>
            <a:xfrm rot="9000000">
              <a:off x="6723729" y="1350049"/>
              <a:ext cx="2396544" cy="1872524"/>
            </a:xfrm>
            <a:custGeom>
              <a:avLst/>
              <a:gdLst>
                <a:gd name="connsiteX0" fmla="*/ 1054725 w 1446141"/>
                <a:gd name="connsiteY0" fmla="*/ 0 h 1129934"/>
                <a:gd name="connsiteX1" fmla="*/ 1446141 w 1446141"/>
                <a:gd name="connsiteY1" fmla="*/ 682504 h 1129934"/>
                <a:gd name="connsiteX2" fmla="*/ 1189540 w 1446141"/>
                <a:gd name="connsiteY2" fmla="*/ 1129934 h 1129934"/>
                <a:gd name="connsiteX3" fmla="*/ 0 w 1446141"/>
                <a:gd name="connsiteY3" fmla="*/ 443153 h 1129934"/>
                <a:gd name="connsiteX4" fmla="*/ 254148 w 1446141"/>
                <a:gd name="connsiteY4" fmla="*/ 0 h 1129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6141" h="1129934">
                  <a:moveTo>
                    <a:pt x="1054725" y="0"/>
                  </a:moveTo>
                  <a:lnTo>
                    <a:pt x="1446141" y="682504"/>
                  </a:lnTo>
                  <a:lnTo>
                    <a:pt x="1189540" y="1129934"/>
                  </a:lnTo>
                  <a:lnTo>
                    <a:pt x="0" y="443153"/>
                  </a:lnTo>
                  <a:lnTo>
                    <a:pt x="254148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sx="102000" sy="102000" algn="ctr" rotWithShape="0">
                <a:schemeClr val="accent2">
                  <a:alpha val="3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BB661D7B-CE4B-7DEA-C5F3-E2382A6A6A46}"/>
                </a:ext>
              </a:extLst>
            </p:cNvPr>
            <p:cNvSpPr/>
            <p:nvPr/>
          </p:nvSpPr>
          <p:spPr>
            <a:xfrm rot="10800000">
              <a:off x="6655014" y="1729886"/>
              <a:ext cx="2522614" cy="1168036"/>
            </a:xfrm>
            <a:prstGeom prst="rect">
              <a:avLst/>
            </a:prstGeom>
            <a:gradFill>
              <a:gsLst>
                <a:gs pos="86000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xmlns="" id="{81B3D22E-636E-7D2F-F730-543E78D62139}"/>
              </a:ext>
            </a:extLst>
          </p:cNvPr>
          <p:cNvGrpSpPr/>
          <p:nvPr/>
        </p:nvGrpSpPr>
        <p:grpSpPr>
          <a:xfrm>
            <a:off x="200055" y="1443810"/>
            <a:ext cx="2529191" cy="1919790"/>
            <a:chOff x="3322272" y="1331491"/>
            <a:chExt cx="2529191" cy="1919790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xmlns="" id="{36FA869B-1BBB-3A00-E1AF-091400560B5B}"/>
                </a:ext>
              </a:extLst>
            </p:cNvPr>
            <p:cNvGrpSpPr/>
            <p:nvPr/>
          </p:nvGrpSpPr>
          <p:grpSpPr>
            <a:xfrm>
              <a:off x="3322272" y="1331491"/>
              <a:ext cx="2529191" cy="1877405"/>
              <a:chOff x="13441147" y="997249"/>
              <a:chExt cx="2241310" cy="1663714"/>
            </a:xfrm>
          </p:grpSpPr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xmlns="" id="{CDD2363F-9DCD-B854-B6CE-AEF7919216AD}"/>
                  </a:ext>
                </a:extLst>
              </p:cNvPr>
              <p:cNvSpPr/>
              <p:nvPr/>
            </p:nvSpPr>
            <p:spPr>
              <a:xfrm rot="9000000">
                <a:off x="13502197" y="997249"/>
                <a:ext cx="2129297" cy="1663714"/>
              </a:xfrm>
              <a:custGeom>
                <a:avLst/>
                <a:gdLst>
                  <a:gd name="connsiteX0" fmla="*/ 1054725 w 1446141"/>
                  <a:gd name="connsiteY0" fmla="*/ 0 h 1129934"/>
                  <a:gd name="connsiteX1" fmla="*/ 1446141 w 1446141"/>
                  <a:gd name="connsiteY1" fmla="*/ 682504 h 1129934"/>
                  <a:gd name="connsiteX2" fmla="*/ 1189540 w 1446141"/>
                  <a:gd name="connsiteY2" fmla="*/ 1129934 h 1129934"/>
                  <a:gd name="connsiteX3" fmla="*/ 0 w 1446141"/>
                  <a:gd name="connsiteY3" fmla="*/ 443153 h 1129934"/>
                  <a:gd name="connsiteX4" fmla="*/ 254148 w 1446141"/>
                  <a:gd name="connsiteY4" fmla="*/ 0 h 1129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6141" h="1129934">
                    <a:moveTo>
                      <a:pt x="1054725" y="0"/>
                    </a:moveTo>
                    <a:lnTo>
                      <a:pt x="1446141" y="682504"/>
                    </a:lnTo>
                    <a:lnTo>
                      <a:pt x="1189540" y="1129934"/>
                    </a:lnTo>
                    <a:lnTo>
                      <a:pt x="0" y="443153"/>
                    </a:lnTo>
                    <a:lnTo>
                      <a:pt x="254148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27000" sx="102000" sy="102000" algn="ctr" rotWithShape="0">
                  <a:schemeClr val="accent2">
                    <a:alpha val="30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xmlns="" id="{337166B8-A6B7-B6F4-4357-8C4686697BD9}"/>
                  </a:ext>
                </a:extLst>
              </p:cNvPr>
              <p:cNvSpPr/>
              <p:nvPr/>
            </p:nvSpPr>
            <p:spPr>
              <a:xfrm rot="10800000">
                <a:off x="13441147" y="1334729"/>
                <a:ext cx="2241310" cy="1037785"/>
              </a:xfrm>
              <a:prstGeom prst="rect">
                <a:avLst/>
              </a:prstGeom>
              <a:gradFill>
                <a:gsLst>
                  <a:gs pos="86000">
                    <a:schemeClr val="bg1"/>
                  </a:gs>
                  <a:gs pos="0">
                    <a:schemeClr val="bg1">
                      <a:alpha val="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8" name="Freeform: Shape 37">
              <a:hlinkClick r:id="rId3"/>
              <a:extLst>
                <a:ext uri="{FF2B5EF4-FFF2-40B4-BE49-F238E27FC236}">
                  <a16:creationId xmlns:a16="http://schemas.microsoft.com/office/drawing/2014/main" xmlns="" id="{BD970FFB-B35F-44B8-444E-1818531C2663}"/>
                </a:ext>
              </a:extLst>
            </p:cNvPr>
            <p:cNvSpPr/>
            <p:nvPr/>
          </p:nvSpPr>
          <p:spPr>
            <a:xfrm rot="5400000">
              <a:off x="4496080" y="2843886"/>
              <a:ext cx="181574" cy="633216"/>
            </a:xfrm>
            <a:custGeom>
              <a:avLst/>
              <a:gdLst>
                <a:gd name="connsiteX0" fmla="*/ 0 w 77304"/>
                <a:gd name="connsiteY0" fmla="*/ 0 h 269588"/>
                <a:gd name="connsiteX1" fmla="*/ 77304 w 77304"/>
                <a:gd name="connsiteY1" fmla="*/ 134794 h 269588"/>
                <a:gd name="connsiteX2" fmla="*/ 0 w 77304"/>
                <a:gd name="connsiteY2" fmla="*/ 269588 h 26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304" h="269588">
                  <a:moveTo>
                    <a:pt x="0" y="0"/>
                  </a:moveTo>
                  <a:lnTo>
                    <a:pt x="77304" y="134794"/>
                  </a:lnTo>
                  <a:lnTo>
                    <a:pt x="0" y="26958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2">
                    <a:alpha val="0"/>
                  </a:schemeClr>
                </a:gs>
              </a:gsLst>
              <a:lin ang="0" scaled="0"/>
            </a:gra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6C552347-A42B-59D7-EBD0-EFEB778A7BD8}"/>
              </a:ext>
            </a:extLst>
          </p:cNvPr>
          <p:cNvSpPr txBox="1"/>
          <p:nvPr/>
        </p:nvSpPr>
        <p:spPr>
          <a:xfrm>
            <a:off x="313795" y="2080275"/>
            <a:ext cx="2301711" cy="93871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N Engl J Med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/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Fase 2 (111-202/205)</a:t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ncipai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esultado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: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eguranç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e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ument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ustentad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da </a:t>
            </a:r>
            <a:r>
              <a:rPr lang="en-US" sz="1100" kern="0" dirty="0">
                <a:solidFill>
                  <a:srgbClr val="505050"/>
                </a:solidFill>
                <a:latin typeface="Aptos" panose="020B0004020202020204" pitchFamily="34" charset="0"/>
              </a:rPr>
              <a:t>VC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com o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tratament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com vosoritida</a:t>
            </a:r>
            <a:r>
              <a:rPr kumimoji="0" lang="en-US" sz="1100" b="0" i="0" u="none" strike="noStrike" kern="0" cap="none" spc="0" normalizeH="0" baseline="3000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1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xmlns="" id="{E73A9543-4DAC-07C8-1384-FC170573C88A}"/>
              </a:ext>
            </a:extLst>
          </p:cNvPr>
          <p:cNvGrpSpPr/>
          <p:nvPr/>
        </p:nvGrpSpPr>
        <p:grpSpPr>
          <a:xfrm rot="10800000">
            <a:off x="1578280" y="3923807"/>
            <a:ext cx="2529191" cy="1919790"/>
            <a:chOff x="3322272" y="1331491"/>
            <a:chExt cx="2529191" cy="1919790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xmlns="" id="{DF13842A-4656-71C2-0274-64648119B548}"/>
                </a:ext>
              </a:extLst>
            </p:cNvPr>
            <p:cNvGrpSpPr/>
            <p:nvPr/>
          </p:nvGrpSpPr>
          <p:grpSpPr>
            <a:xfrm>
              <a:off x="3322272" y="1331491"/>
              <a:ext cx="2529191" cy="1877405"/>
              <a:chOff x="13441147" y="997249"/>
              <a:chExt cx="2241310" cy="1663714"/>
            </a:xfrm>
          </p:grpSpPr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xmlns="" id="{AB80F8EF-75B7-9493-4BE1-0861827C2975}"/>
                  </a:ext>
                </a:extLst>
              </p:cNvPr>
              <p:cNvSpPr/>
              <p:nvPr/>
            </p:nvSpPr>
            <p:spPr>
              <a:xfrm rot="9000000">
                <a:off x="13502197" y="997249"/>
                <a:ext cx="2129297" cy="1663714"/>
              </a:xfrm>
              <a:custGeom>
                <a:avLst/>
                <a:gdLst>
                  <a:gd name="connsiteX0" fmla="*/ 1054725 w 1446141"/>
                  <a:gd name="connsiteY0" fmla="*/ 0 h 1129934"/>
                  <a:gd name="connsiteX1" fmla="*/ 1446141 w 1446141"/>
                  <a:gd name="connsiteY1" fmla="*/ 682504 h 1129934"/>
                  <a:gd name="connsiteX2" fmla="*/ 1189540 w 1446141"/>
                  <a:gd name="connsiteY2" fmla="*/ 1129934 h 1129934"/>
                  <a:gd name="connsiteX3" fmla="*/ 0 w 1446141"/>
                  <a:gd name="connsiteY3" fmla="*/ 443153 h 1129934"/>
                  <a:gd name="connsiteX4" fmla="*/ 254148 w 1446141"/>
                  <a:gd name="connsiteY4" fmla="*/ 0 h 1129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6141" h="1129934">
                    <a:moveTo>
                      <a:pt x="1054725" y="0"/>
                    </a:moveTo>
                    <a:lnTo>
                      <a:pt x="1446141" y="682504"/>
                    </a:lnTo>
                    <a:lnTo>
                      <a:pt x="1189540" y="1129934"/>
                    </a:lnTo>
                    <a:lnTo>
                      <a:pt x="0" y="443153"/>
                    </a:lnTo>
                    <a:lnTo>
                      <a:pt x="254148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27000" sx="102000" sy="102000" algn="ctr" rotWithShape="0">
                  <a:schemeClr val="accent2">
                    <a:alpha val="30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xmlns="" id="{B88A63FE-A149-6778-6F7F-F627C745B96C}"/>
                  </a:ext>
                </a:extLst>
              </p:cNvPr>
              <p:cNvSpPr/>
              <p:nvPr/>
            </p:nvSpPr>
            <p:spPr>
              <a:xfrm rot="10800000">
                <a:off x="13441147" y="1334729"/>
                <a:ext cx="2241310" cy="1037785"/>
              </a:xfrm>
              <a:prstGeom prst="rect">
                <a:avLst/>
              </a:prstGeom>
              <a:gradFill>
                <a:gsLst>
                  <a:gs pos="86000">
                    <a:schemeClr val="bg1"/>
                  </a:gs>
                  <a:gs pos="0">
                    <a:schemeClr val="bg1">
                      <a:alpha val="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4" name="Freeform: Shape 43">
              <a:hlinkClick r:id="rId3"/>
              <a:extLst>
                <a:ext uri="{FF2B5EF4-FFF2-40B4-BE49-F238E27FC236}">
                  <a16:creationId xmlns:a16="http://schemas.microsoft.com/office/drawing/2014/main" xmlns="" id="{4310384B-4A6C-F0F3-605D-355C222995BB}"/>
                </a:ext>
              </a:extLst>
            </p:cNvPr>
            <p:cNvSpPr/>
            <p:nvPr/>
          </p:nvSpPr>
          <p:spPr>
            <a:xfrm rot="5400000">
              <a:off x="4496080" y="2843886"/>
              <a:ext cx="181574" cy="633216"/>
            </a:xfrm>
            <a:custGeom>
              <a:avLst/>
              <a:gdLst>
                <a:gd name="connsiteX0" fmla="*/ 0 w 77304"/>
                <a:gd name="connsiteY0" fmla="*/ 0 h 269588"/>
                <a:gd name="connsiteX1" fmla="*/ 77304 w 77304"/>
                <a:gd name="connsiteY1" fmla="*/ 134794 h 269588"/>
                <a:gd name="connsiteX2" fmla="*/ 0 w 77304"/>
                <a:gd name="connsiteY2" fmla="*/ 269588 h 26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304" h="269588">
                  <a:moveTo>
                    <a:pt x="0" y="0"/>
                  </a:moveTo>
                  <a:lnTo>
                    <a:pt x="77304" y="134794"/>
                  </a:lnTo>
                  <a:lnTo>
                    <a:pt x="0" y="26958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2">
                    <a:alpha val="0"/>
                  </a:schemeClr>
                </a:gs>
              </a:gsLst>
              <a:lin ang="0" scaled="0"/>
            </a:gra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2C64EA41-9AF6-69EE-31E8-86929C28BDD0}"/>
              </a:ext>
            </a:extLst>
          </p:cNvPr>
          <p:cNvSpPr txBox="1"/>
          <p:nvPr/>
        </p:nvSpPr>
        <p:spPr>
          <a:xfrm>
            <a:off x="1656032" y="4215659"/>
            <a:ext cx="2306083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Lancet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/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Fase 3 (111-301)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/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ncipai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esultado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: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elhor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ignificativ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da VCA e do Z-score de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ltur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com vosoritide.</a:t>
            </a:r>
            <a:b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lang="en-US" sz="1100" kern="0" dirty="0">
                <a:solidFill>
                  <a:srgbClr val="505050"/>
                </a:solidFill>
                <a:latin typeface="Aptos" panose="020B0004020202020204" pitchFamily="34" charset="0"/>
              </a:rPr>
              <a:t>T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atament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com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osoritid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or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1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n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omparaçã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com placebo</a:t>
            </a:r>
            <a:r>
              <a:rPr kumimoji="0" lang="en-US" sz="1100" b="0" i="0" u="none" strike="noStrike" kern="0" cap="none" spc="0" normalizeH="0" baseline="3000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xmlns="" id="{EDED3373-5041-BE61-FBA7-5704A3C8365F}"/>
              </a:ext>
            </a:extLst>
          </p:cNvPr>
          <p:cNvSpPr/>
          <p:nvPr/>
        </p:nvSpPr>
        <p:spPr>
          <a:xfrm rot="19800000">
            <a:off x="5452663" y="3909042"/>
            <a:ext cx="2402791" cy="1877405"/>
          </a:xfrm>
          <a:custGeom>
            <a:avLst/>
            <a:gdLst>
              <a:gd name="connsiteX0" fmla="*/ 1054725 w 1446141"/>
              <a:gd name="connsiteY0" fmla="*/ 0 h 1129934"/>
              <a:gd name="connsiteX1" fmla="*/ 1446141 w 1446141"/>
              <a:gd name="connsiteY1" fmla="*/ 682504 h 1129934"/>
              <a:gd name="connsiteX2" fmla="*/ 1189540 w 1446141"/>
              <a:gd name="connsiteY2" fmla="*/ 1129934 h 1129934"/>
              <a:gd name="connsiteX3" fmla="*/ 0 w 1446141"/>
              <a:gd name="connsiteY3" fmla="*/ 443153 h 1129934"/>
              <a:gd name="connsiteX4" fmla="*/ 254148 w 1446141"/>
              <a:gd name="connsiteY4" fmla="*/ 0 h 1129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46141" h="1129934">
                <a:moveTo>
                  <a:pt x="1054725" y="0"/>
                </a:moveTo>
                <a:lnTo>
                  <a:pt x="1446141" y="682504"/>
                </a:lnTo>
                <a:lnTo>
                  <a:pt x="1189540" y="1129934"/>
                </a:lnTo>
                <a:lnTo>
                  <a:pt x="0" y="443153"/>
                </a:lnTo>
                <a:lnTo>
                  <a:pt x="25414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schemeClr val="accent5">
                <a:alpha val="3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6F1430F9-3D79-28E0-FF76-469EB056373E}"/>
              </a:ext>
            </a:extLst>
          </p:cNvPr>
          <p:cNvSpPr/>
          <p:nvPr/>
        </p:nvSpPr>
        <p:spPr>
          <a:xfrm>
            <a:off x="5395154" y="4234540"/>
            <a:ext cx="2529191" cy="1171080"/>
          </a:xfrm>
          <a:prstGeom prst="rect">
            <a:avLst/>
          </a:prstGeom>
          <a:gradFill>
            <a:gsLst>
              <a:gs pos="86000">
                <a:schemeClr val="bg1"/>
              </a:gs>
              <a:gs pos="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4586226A-8CDA-6D86-8CD8-54C953F3872D}"/>
              </a:ext>
            </a:extLst>
          </p:cNvPr>
          <p:cNvSpPr txBox="1"/>
          <p:nvPr/>
        </p:nvSpPr>
        <p:spPr>
          <a:xfrm>
            <a:off x="5518785" y="4211263"/>
            <a:ext cx="2258936" cy="17286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EC037C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Lancet Child </a:t>
            </a:r>
            <a:b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EC037C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EC037C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aúde do </a:t>
            </a:r>
            <a:r>
              <a:rPr kumimoji="0" lang="en-US" sz="1100" b="1" i="1" u="none" strike="noStrike" kern="0" cap="none" spc="0" normalizeH="0" baseline="0" noProof="0" dirty="0" err="1">
                <a:ln>
                  <a:noFill/>
                </a:ln>
                <a:solidFill>
                  <a:srgbClr val="EC037C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dolescente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EC037C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/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EC037C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EC037C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Fase 2 (111-206)</a:t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EC037C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ncipai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esultado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: o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tratament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com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osoritid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or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1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n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foi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em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tolerad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e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umentou</a:t>
            </a:r>
            <a:r>
              <a:rPr lang="en-US" sz="1100" kern="0" dirty="0">
                <a:solidFill>
                  <a:srgbClr val="505050"/>
                </a:solidFill>
                <a:latin typeface="Aptos" panose="020B0004020202020204" pitchFamily="34" charset="0"/>
              </a:rPr>
              <a:t> o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Z-score de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ltur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elaçã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à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linh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de base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riança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&lt; 5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no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de idade</a:t>
            </a:r>
            <a:r>
              <a:rPr kumimoji="0" lang="en-US" sz="1100" b="0" i="0" u="none" strike="noStrike" kern="0" cap="none" spc="0" normalizeH="0" baseline="3000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3000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xmlns="" id="{A3ADB425-C143-1AC8-34BF-BFF45B61DAA8}"/>
              </a:ext>
            </a:extLst>
          </p:cNvPr>
          <p:cNvGrpSpPr/>
          <p:nvPr/>
        </p:nvGrpSpPr>
        <p:grpSpPr>
          <a:xfrm rot="10800000">
            <a:off x="7990463" y="3866657"/>
            <a:ext cx="2529191" cy="1919790"/>
            <a:chOff x="3322272" y="1331491"/>
            <a:chExt cx="2529191" cy="1919790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xmlns="" id="{E9185F61-8714-5465-E748-326ACA8403EE}"/>
                </a:ext>
              </a:extLst>
            </p:cNvPr>
            <p:cNvGrpSpPr/>
            <p:nvPr/>
          </p:nvGrpSpPr>
          <p:grpSpPr>
            <a:xfrm>
              <a:off x="3322272" y="1331491"/>
              <a:ext cx="2529191" cy="1877405"/>
              <a:chOff x="13441147" y="997249"/>
              <a:chExt cx="2241310" cy="1663714"/>
            </a:xfrm>
          </p:grpSpPr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xmlns="" id="{5F210700-F490-8FFE-CF0A-82820EE6B670}"/>
                  </a:ext>
                </a:extLst>
              </p:cNvPr>
              <p:cNvSpPr/>
              <p:nvPr/>
            </p:nvSpPr>
            <p:spPr>
              <a:xfrm rot="9000000">
                <a:off x="13502197" y="997249"/>
                <a:ext cx="2129297" cy="1663714"/>
              </a:xfrm>
              <a:custGeom>
                <a:avLst/>
                <a:gdLst>
                  <a:gd name="connsiteX0" fmla="*/ 1054725 w 1446141"/>
                  <a:gd name="connsiteY0" fmla="*/ 0 h 1129934"/>
                  <a:gd name="connsiteX1" fmla="*/ 1446141 w 1446141"/>
                  <a:gd name="connsiteY1" fmla="*/ 682504 h 1129934"/>
                  <a:gd name="connsiteX2" fmla="*/ 1189540 w 1446141"/>
                  <a:gd name="connsiteY2" fmla="*/ 1129934 h 1129934"/>
                  <a:gd name="connsiteX3" fmla="*/ 0 w 1446141"/>
                  <a:gd name="connsiteY3" fmla="*/ 443153 h 1129934"/>
                  <a:gd name="connsiteX4" fmla="*/ 254148 w 1446141"/>
                  <a:gd name="connsiteY4" fmla="*/ 0 h 1129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6141" h="1129934">
                    <a:moveTo>
                      <a:pt x="1054725" y="0"/>
                    </a:moveTo>
                    <a:lnTo>
                      <a:pt x="1446141" y="682504"/>
                    </a:lnTo>
                    <a:lnTo>
                      <a:pt x="1189540" y="1129934"/>
                    </a:lnTo>
                    <a:lnTo>
                      <a:pt x="0" y="443153"/>
                    </a:lnTo>
                    <a:lnTo>
                      <a:pt x="254148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27000" sx="102000" sy="102000" algn="ctr" rotWithShape="0">
                  <a:schemeClr val="accent2">
                    <a:alpha val="30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xmlns="" id="{CF4FA964-8601-A8B2-96C9-B655CBFD9656}"/>
                  </a:ext>
                </a:extLst>
              </p:cNvPr>
              <p:cNvSpPr/>
              <p:nvPr/>
            </p:nvSpPr>
            <p:spPr>
              <a:xfrm rot="10800000">
                <a:off x="13441147" y="1334729"/>
                <a:ext cx="2241310" cy="1037785"/>
              </a:xfrm>
              <a:prstGeom prst="rect">
                <a:avLst/>
              </a:prstGeom>
              <a:gradFill>
                <a:gsLst>
                  <a:gs pos="86000">
                    <a:schemeClr val="bg1"/>
                  </a:gs>
                  <a:gs pos="0">
                    <a:schemeClr val="bg1">
                      <a:alpha val="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53" name="Freeform: Shape 52">
              <a:hlinkClick r:id="rId3"/>
              <a:extLst>
                <a:ext uri="{FF2B5EF4-FFF2-40B4-BE49-F238E27FC236}">
                  <a16:creationId xmlns:a16="http://schemas.microsoft.com/office/drawing/2014/main" xmlns="" id="{F570036E-1331-A29F-1794-35B62E991923}"/>
                </a:ext>
              </a:extLst>
            </p:cNvPr>
            <p:cNvSpPr/>
            <p:nvPr/>
          </p:nvSpPr>
          <p:spPr>
            <a:xfrm rot="5400000">
              <a:off x="4496080" y="2843886"/>
              <a:ext cx="181574" cy="633216"/>
            </a:xfrm>
            <a:custGeom>
              <a:avLst/>
              <a:gdLst>
                <a:gd name="connsiteX0" fmla="*/ 0 w 77304"/>
                <a:gd name="connsiteY0" fmla="*/ 0 h 269588"/>
                <a:gd name="connsiteX1" fmla="*/ 77304 w 77304"/>
                <a:gd name="connsiteY1" fmla="*/ 134794 h 269588"/>
                <a:gd name="connsiteX2" fmla="*/ 0 w 77304"/>
                <a:gd name="connsiteY2" fmla="*/ 269588 h 26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304" h="269588">
                  <a:moveTo>
                    <a:pt x="0" y="0"/>
                  </a:moveTo>
                  <a:lnTo>
                    <a:pt x="77304" y="134794"/>
                  </a:lnTo>
                  <a:lnTo>
                    <a:pt x="0" y="26958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2">
                    <a:alpha val="0"/>
                  </a:schemeClr>
                </a:gs>
              </a:gsLst>
              <a:lin ang="0" scaled="0"/>
            </a:gra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93962568-4EBD-7DB3-530D-9585D9BD29A2}"/>
              </a:ext>
            </a:extLst>
          </p:cNvPr>
          <p:cNvSpPr txBox="1"/>
          <p:nvPr/>
        </p:nvSpPr>
        <p:spPr>
          <a:xfrm>
            <a:off x="8086745" y="4169475"/>
            <a:ext cx="2336626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ed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/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Fase 3 Ext (111-302)</a:t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ncipai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esultado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: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feito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ustentado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omoçã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do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resciment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da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osoritid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long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de 6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no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companhament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com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elhoria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ontínua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n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VCA, no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score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Z de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ltur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e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n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oporcionalidade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corporal</a:t>
            </a:r>
            <a:r>
              <a:rPr kumimoji="0" lang="en-US" sz="1100" b="0" i="0" u="none" strike="noStrike" kern="0" cap="none" spc="0" normalizeH="0" baseline="3000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6</a:t>
            </a:r>
            <a:endParaRPr kumimoji="0" lang="en-US" sz="1200" b="0" i="0" u="none" strike="noStrike" kern="0" cap="none" spc="0" normalizeH="0" baseline="3000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57" name="Freeform: Shape 56">
            <a:hlinkClick r:id="rId3"/>
            <a:extLst>
              <a:ext uri="{FF2B5EF4-FFF2-40B4-BE49-F238E27FC236}">
                <a16:creationId xmlns:a16="http://schemas.microsoft.com/office/drawing/2014/main" xmlns="" id="{7A43655F-B565-CCE4-B068-F526315D8B74}"/>
              </a:ext>
            </a:extLst>
          </p:cNvPr>
          <p:cNvSpPr/>
          <p:nvPr/>
        </p:nvSpPr>
        <p:spPr>
          <a:xfrm rot="16200000">
            <a:off x="6561098" y="3642099"/>
            <a:ext cx="181574" cy="633216"/>
          </a:xfrm>
          <a:custGeom>
            <a:avLst/>
            <a:gdLst>
              <a:gd name="connsiteX0" fmla="*/ 0 w 77304"/>
              <a:gd name="connsiteY0" fmla="*/ 0 h 269588"/>
              <a:gd name="connsiteX1" fmla="*/ 77304 w 77304"/>
              <a:gd name="connsiteY1" fmla="*/ 134794 h 269588"/>
              <a:gd name="connsiteX2" fmla="*/ 0 w 77304"/>
              <a:gd name="connsiteY2" fmla="*/ 269588 h 26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7304" h="269588">
                <a:moveTo>
                  <a:pt x="0" y="0"/>
                </a:moveTo>
                <a:lnTo>
                  <a:pt x="77304" y="134794"/>
                </a:lnTo>
                <a:lnTo>
                  <a:pt x="0" y="269588"/>
                </a:lnTo>
                <a:close/>
              </a:path>
            </a:pathLst>
          </a:custGeom>
          <a:gradFill>
            <a:gsLst>
              <a:gs pos="100000">
                <a:schemeClr val="accent5"/>
              </a:gs>
              <a:gs pos="0">
                <a:schemeClr val="accent5">
                  <a:alpha val="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58" name="Freeform: Shape 57">
            <a:hlinkClick r:id="rId3"/>
            <a:extLst>
              <a:ext uri="{FF2B5EF4-FFF2-40B4-BE49-F238E27FC236}">
                <a16:creationId xmlns:a16="http://schemas.microsoft.com/office/drawing/2014/main" xmlns="" id="{33021BA2-EA24-1C2D-A1BE-26A9B2A68BDE}"/>
              </a:ext>
            </a:extLst>
          </p:cNvPr>
          <p:cNvSpPr/>
          <p:nvPr/>
        </p:nvSpPr>
        <p:spPr>
          <a:xfrm rot="5400000">
            <a:off x="7769647" y="2971827"/>
            <a:ext cx="181574" cy="633216"/>
          </a:xfrm>
          <a:custGeom>
            <a:avLst/>
            <a:gdLst>
              <a:gd name="connsiteX0" fmla="*/ 0 w 77304"/>
              <a:gd name="connsiteY0" fmla="*/ 0 h 269588"/>
              <a:gd name="connsiteX1" fmla="*/ 77304 w 77304"/>
              <a:gd name="connsiteY1" fmla="*/ 134794 h 269588"/>
              <a:gd name="connsiteX2" fmla="*/ 0 w 77304"/>
              <a:gd name="connsiteY2" fmla="*/ 269588 h 26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7304" h="269588">
                <a:moveTo>
                  <a:pt x="0" y="0"/>
                </a:moveTo>
                <a:lnTo>
                  <a:pt x="77304" y="134794"/>
                </a:lnTo>
                <a:lnTo>
                  <a:pt x="0" y="26958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8ED6110C-C421-37D3-CA62-3BBA1BE15F73}"/>
              </a:ext>
            </a:extLst>
          </p:cNvPr>
          <p:cNvSpPr txBox="1"/>
          <p:nvPr/>
        </p:nvSpPr>
        <p:spPr>
          <a:xfrm>
            <a:off x="6797416" y="1393920"/>
            <a:ext cx="2170628" cy="161582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edicina </a:t>
            </a:r>
            <a:r>
              <a:rPr kumimoji="0" lang="en-US" sz="1100" b="1" i="1" u="none" strike="noStrike" kern="0" cap="none" spc="0" normalizeH="0" baseline="0" noProof="0" dirty="0" err="1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Genética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/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QoL (111-301/302)</a:t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ncipai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esultado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: o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tratament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com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osoritid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or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té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3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no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foi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ssociad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a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elhoria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n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Qualidade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id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,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demonstrada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el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ument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dos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score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QoLISSY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long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do tempo</a:t>
            </a:r>
            <a:r>
              <a:rPr kumimoji="0" lang="en-US" sz="1100" b="0" i="0" u="none" strike="noStrike" kern="0" cap="none" spc="0" normalizeH="0" baseline="3000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5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DBFB002-2587-9D19-A4E6-CDF10A6F29E4}"/>
              </a:ext>
            </a:extLst>
          </p:cNvPr>
          <p:cNvSpPr txBox="1"/>
          <p:nvPr/>
        </p:nvSpPr>
        <p:spPr>
          <a:xfrm>
            <a:off x="9014892" y="3480355"/>
            <a:ext cx="472316" cy="246221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2024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xmlns="" id="{841C086D-7F0E-0BBD-918C-73939ABDF05D}"/>
              </a:ext>
            </a:extLst>
          </p:cNvPr>
          <p:cNvGrpSpPr/>
          <p:nvPr/>
        </p:nvGrpSpPr>
        <p:grpSpPr>
          <a:xfrm>
            <a:off x="9171769" y="1353372"/>
            <a:ext cx="2522614" cy="1872524"/>
            <a:chOff x="6655014" y="1350049"/>
            <a:chExt cx="2522614" cy="1872524"/>
          </a:xfrm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xmlns="" id="{2CFB2584-2F8E-AFA5-F64E-93BD87096107}"/>
                </a:ext>
              </a:extLst>
            </p:cNvPr>
            <p:cNvSpPr/>
            <p:nvPr/>
          </p:nvSpPr>
          <p:spPr>
            <a:xfrm rot="9000000">
              <a:off x="6723729" y="1350049"/>
              <a:ext cx="2396544" cy="1872524"/>
            </a:xfrm>
            <a:custGeom>
              <a:avLst/>
              <a:gdLst>
                <a:gd name="connsiteX0" fmla="*/ 1054725 w 1446141"/>
                <a:gd name="connsiteY0" fmla="*/ 0 h 1129934"/>
                <a:gd name="connsiteX1" fmla="*/ 1446141 w 1446141"/>
                <a:gd name="connsiteY1" fmla="*/ 682504 h 1129934"/>
                <a:gd name="connsiteX2" fmla="*/ 1189540 w 1446141"/>
                <a:gd name="connsiteY2" fmla="*/ 1129934 h 1129934"/>
                <a:gd name="connsiteX3" fmla="*/ 0 w 1446141"/>
                <a:gd name="connsiteY3" fmla="*/ 443153 h 1129934"/>
                <a:gd name="connsiteX4" fmla="*/ 254148 w 1446141"/>
                <a:gd name="connsiteY4" fmla="*/ 0 h 1129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6141" h="1129934">
                  <a:moveTo>
                    <a:pt x="1054725" y="0"/>
                  </a:moveTo>
                  <a:lnTo>
                    <a:pt x="1446141" y="682504"/>
                  </a:lnTo>
                  <a:lnTo>
                    <a:pt x="1189540" y="1129934"/>
                  </a:lnTo>
                  <a:lnTo>
                    <a:pt x="0" y="443153"/>
                  </a:lnTo>
                  <a:lnTo>
                    <a:pt x="254148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sx="102000" sy="102000" algn="ctr" rotWithShape="0">
                <a:schemeClr val="accent2">
                  <a:alpha val="3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xmlns="" id="{7DA5D082-18BF-3B1B-267C-768DE61EE047}"/>
                </a:ext>
              </a:extLst>
            </p:cNvPr>
            <p:cNvSpPr/>
            <p:nvPr/>
          </p:nvSpPr>
          <p:spPr>
            <a:xfrm rot="10800000">
              <a:off x="6655014" y="1729886"/>
              <a:ext cx="2522614" cy="1168036"/>
            </a:xfrm>
            <a:prstGeom prst="rect">
              <a:avLst/>
            </a:prstGeom>
            <a:gradFill>
              <a:gsLst>
                <a:gs pos="86000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4" name="Freeform: Shape 63">
            <a:hlinkClick r:id="rId3"/>
            <a:extLst>
              <a:ext uri="{FF2B5EF4-FFF2-40B4-BE49-F238E27FC236}">
                <a16:creationId xmlns:a16="http://schemas.microsoft.com/office/drawing/2014/main" xmlns="" id="{E16D7160-06DC-87D2-47C7-05C4621545A3}"/>
              </a:ext>
            </a:extLst>
          </p:cNvPr>
          <p:cNvSpPr/>
          <p:nvPr/>
        </p:nvSpPr>
        <p:spPr>
          <a:xfrm rot="5400000">
            <a:off x="10340190" y="2877020"/>
            <a:ext cx="181574" cy="633216"/>
          </a:xfrm>
          <a:custGeom>
            <a:avLst/>
            <a:gdLst>
              <a:gd name="connsiteX0" fmla="*/ 0 w 77304"/>
              <a:gd name="connsiteY0" fmla="*/ 0 h 269588"/>
              <a:gd name="connsiteX1" fmla="*/ 77304 w 77304"/>
              <a:gd name="connsiteY1" fmla="*/ 134794 h 269588"/>
              <a:gd name="connsiteX2" fmla="*/ 0 w 77304"/>
              <a:gd name="connsiteY2" fmla="*/ 269588 h 26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7304" h="269588">
                <a:moveTo>
                  <a:pt x="0" y="0"/>
                </a:moveTo>
                <a:lnTo>
                  <a:pt x="77304" y="134794"/>
                </a:lnTo>
                <a:lnTo>
                  <a:pt x="0" y="26958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A7867628-FBF8-9589-5FE9-D3FC0ED7D257}"/>
              </a:ext>
            </a:extLst>
          </p:cNvPr>
          <p:cNvSpPr txBox="1"/>
          <p:nvPr/>
        </p:nvSpPr>
        <p:spPr>
          <a:xfrm>
            <a:off x="9367959" y="1524816"/>
            <a:ext cx="2170628" cy="139012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1" u="none" strike="noStrike" kern="1200" cap="none" spc="0" normalizeH="0" baseline="0" noProof="0" dirty="0">
                <a:ln>
                  <a:noFill/>
                </a:ln>
                <a:solidFill>
                  <a:srgbClr val="EE037C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Nat Rev Endocrinol </a:t>
            </a: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EE037C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2025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Diretrize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onsens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nternacional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obre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a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mplementaçã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e o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onitoramento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da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terapi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com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osoritid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ndivíduo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om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condroplasia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3000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84329659-B4A5-56BE-270B-C997203DA048}"/>
              </a:ext>
            </a:extLst>
          </p:cNvPr>
          <p:cNvGrpSpPr/>
          <p:nvPr/>
        </p:nvGrpSpPr>
        <p:grpSpPr>
          <a:xfrm>
            <a:off x="10169575" y="3376953"/>
            <a:ext cx="554231" cy="481852"/>
            <a:chOff x="1984978" y="2055614"/>
            <a:chExt cx="554231" cy="481852"/>
          </a:xfrm>
        </p:grpSpPr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xmlns="" id="{F74D33BE-5AF2-86A8-E0F5-4E01F8B8B9C4}"/>
                </a:ext>
              </a:extLst>
            </p:cNvPr>
            <p:cNvSpPr/>
            <p:nvPr/>
          </p:nvSpPr>
          <p:spPr>
            <a:xfrm rot="5400000">
              <a:off x="2021168" y="2019424"/>
              <a:ext cx="481852" cy="554231"/>
            </a:xfrm>
            <a:custGeom>
              <a:avLst/>
              <a:gdLst>
                <a:gd name="connsiteX0" fmla="*/ 759 w 481852"/>
                <a:gd name="connsiteY0" fmla="*/ 415800 h 554231"/>
                <a:gd name="connsiteX1" fmla="*/ 0 w 481852"/>
                <a:gd name="connsiteY1" fmla="*/ 140203 h 554231"/>
                <a:gd name="connsiteX2" fmla="*/ 242824 w 481852"/>
                <a:gd name="connsiteY2" fmla="*/ 0 h 554231"/>
                <a:gd name="connsiteX3" fmla="*/ 481093 w 481852"/>
                <a:gd name="connsiteY3" fmla="*/ 138431 h 554231"/>
                <a:gd name="connsiteX4" fmla="*/ 481852 w 481852"/>
                <a:gd name="connsiteY4" fmla="*/ 414029 h 554231"/>
                <a:gd name="connsiteX5" fmla="*/ 239028 w 481852"/>
                <a:gd name="connsiteY5" fmla="*/ 554231 h 554231"/>
                <a:gd name="connsiteX6" fmla="*/ 759 w 481852"/>
                <a:gd name="connsiteY6" fmla="*/ 415800 h 554231"/>
                <a:gd name="connsiteX7" fmla="*/ 759 w 481852"/>
                <a:gd name="connsiteY7" fmla="*/ 415800 h 55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852" h="554231">
                  <a:moveTo>
                    <a:pt x="759" y="415800"/>
                  </a:moveTo>
                  <a:lnTo>
                    <a:pt x="0" y="140203"/>
                  </a:lnTo>
                  <a:lnTo>
                    <a:pt x="242824" y="0"/>
                  </a:lnTo>
                  <a:lnTo>
                    <a:pt x="481093" y="138431"/>
                  </a:lnTo>
                  <a:lnTo>
                    <a:pt x="481852" y="414029"/>
                  </a:lnTo>
                  <a:lnTo>
                    <a:pt x="239028" y="554231"/>
                  </a:lnTo>
                  <a:lnTo>
                    <a:pt x="759" y="415800"/>
                  </a:lnTo>
                  <a:lnTo>
                    <a:pt x="759" y="415800"/>
                  </a:ln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xmlns="" id="{23FF5634-1542-4CB2-861A-EDDF66E742C6}"/>
                </a:ext>
              </a:extLst>
            </p:cNvPr>
            <p:cNvSpPr txBox="1"/>
            <p:nvPr/>
          </p:nvSpPr>
          <p:spPr>
            <a:xfrm>
              <a:off x="2026007" y="2189503"/>
              <a:ext cx="472316" cy="246221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98BE5D3E-5E06-3E7A-7D17-102727904C52}"/>
              </a:ext>
            </a:extLst>
          </p:cNvPr>
          <p:cNvSpPr txBox="1"/>
          <p:nvPr/>
        </p:nvSpPr>
        <p:spPr>
          <a:xfrm>
            <a:off x="10196990" y="3499174"/>
            <a:ext cx="472316" cy="246221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2025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C23291EF-E4A3-80B6-ECAB-F1779B198FD4}"/>
              </a:ext>
            </a:extLst>
          </p:cNvPr>
          <p:cNvSpPr txBox="1"/>
          <p:nvPr/>
        </p:nvSpPr>
        <p:spPr>
          <a:xfrm>
            <a:off x="3188304" y="3851003"/>
            <a:ext cx="187166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 err="1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provação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900" b="1" i="1" u="none" strike="noStrike" kern="0" cap="none" spc="0" normalizeH="0" baseline="0" noProof="0" dirty="0" err="1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egulatória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(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FDA, EMA, ANVISA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)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xmlns="" id="{E7D34809-D359-8B35-F83F-9C654C65C82D}"/>
              </a:ext>
            </a:extLst>
          </p:cNvPr>
          <p:cNvGrpSpPr/>
          <p:nvPr/>
        </p:nvGrpSpPr>
        <p:grpSpPr>
          <a:xfrm>
            <a:off x="5219388" y="3374618"/>
            <a:ext cx="554231" cy="481852"/>
            <a:chOff x="1984978" y="2055614"/>
            <a:chExt cx="554231" cy="481852"/>
          </a:xfrm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7E4000A9-85CA-84EF-0400-6F26FD5F49D9}"/>
                </a:ext>
              </a:extLst>
            </p:cNvPr>
            <p:cNvSpPr/>
            <p:nvPr/>
          </p:nvSpPr>
          <p:spPr>
            <a:xfrm rot="5400000">
              <a:off x="2021168" y="2019424"/>
              <a:ext cx="481852" cy="554231"/>
            </a:xfrm>
            <a:custGeom>
              <a:avLst/>
              <a:gdLst>
                <a:gd name="connsiteX0" fmla="*/ 759 w 481852"/>
                <a:gd name="connsiteY0" fmla="*/ 415800 h 554231"/>
                <a:gd name="connsiteX1" fmla="*/ 0 w 481852"/>
                <a:gd name="connsiteY1" fmla="*/ 140203 h 554231"/>
                <a:gd name="connsiteX2" fmla="*/ 242824 w 481852"/>
                <a:gd name="connsiteY2" fmla="*/ 0 h 554231"/>
                <a:gd name="connsiteX3" fmla="*/ 481093 w 481852"/>
                <a:gd name="connsiteY3" fmla="*/ 138431 h 554231"/>
                <a:gd name="connsiteX4" fmla="*/ 481852 w 481852"/>
                <a:gd name="connsiteY4" fmla="*/ 414029 h 554231"/>
                <a:gd name="connsiteX5" fmla="*/ 239028 w 481852"/>
                <a:gd name="connsiteY5" fmla="*/ 554231 h 554231"/>
                <a:gd name="connsiteX6" fmla="*/ 759 w 481852"/>
                <a:gd name="connsiteY6" fmla="*/ 415800 h 554231"/>
                <a:gd name="connsiteX7" fmla="*/ 759 w 481852"/>
                <a:gd name="connsiteY7" fmla="*/ 415800 h 55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852" h="554231">
                  <a:moveTo>
                    <a:pt x="759" y="415800"/>
                  </a:moveTo>
                  <a:lnTo>
                    <a:pt x="0" y="140203"/>
                  </a:lnTo>
                  <a:lnTo>
                    <a:pt x="242824" y="0"/>
                  </a:lnTo>
                  <a:lnTo>
                    <a:pt x="481093" y="138431"/>
                  </a:lnTo>
                  <a:lnTo>
                    <a:pt x="481852" y="414029"/>
                  </a:lnTo>
                  <a:lnTo>
                    <a:pt x="239028" y="554231"/>
                  </a:lnTo>
                  <a:lnTo>
                    <a:pt x="759" y="415800"/>
                  </a:lnTo>
                  <a:lnTo>
                    <a:pt x="759" y="415800"/>
                  </a:ln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xmlns="" id="{139BA161-3C43-6217-F031-B0FF2AFAE04D}"/>
                </a:ext>
              </a:extLst>
            </p:cNvPr>
            <p:cNvSpPr txBox="1"/>
            <p:nvPr/>
          </p:nvSpPr>
          <p:spPr>
            <a:xfrm>
              <a:off x="2026007" y="2189503"/>
              <a:ext cx="472316" cy="246221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  <a:t>2023</a:t>
              </a:r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5A4742F5-3477-061E-E7E8-093248498712}"/>
              </a:ext>
            </a:extLst>
          </p:cNvPr>
          <p:cNvSpPr txBox="1"/>
          <p:nvPr/>
        </p:nvSpPr>
        <p:spPr>
          <a:xfrm>
            <a:off x="4687517" y="2734874"/>
            <a:ext cx="167371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 err="1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xtensão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da Bul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 err="1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Desde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o </a:t>
            </a:r>
            <a:r>
              <a:rPr kumimoji="0" lang="en-US" sz="900" b="1" i="1" u="none" strike="noStrike" kern="0" cap="none" spc="0" normalizeH="0" baseline="0" noProof="0" dirty="0" err="1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nascimento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(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FDA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&gt;4 meses (</a:t>
            </a:r>
            <a:r>
              <a:rPr lang="en-US" sz="900" b="1" i="1" kern="0" dirty="0">
                <a:solidFill>
                  <a:srgbClr val="FF0000"/>
                </a:solidFill>
                <a:latin typeface="Aptos" panose="020B0004020202020204" pitchFamily="34" charset="0"/>
              </a:rPr>
              <a:t>EMA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)</a:t>
            </a:r>
          </a:p>
          <a:p>
            <a:pPr algn="ctr"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&gt;6 meses (</a:t>
            </a:r>
            <a:r>
              <a:rPr lang="en-US" sz="900" b="1" i="1" kern="0" dirty="0">
                <a:solidFill>
                  <a:srgbClr val="FF0000"/>
                </a:solidFill>
                <a:latin typeface="Aptos" panose="020B0004020202020204" pitchFamily="34" charset="0"/>
              </a:rPr>
              <a:t>ANVISA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00529B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1" u="none" strike="noStrike" kern="0" cap="none" spc="0" normalizeH="0" baseline="0" noProof="0" dirty="0">
              <a:ln>
                <a:noFill/>
              </a:ln>
              <a:solidFill>
                <a:srgbClr val="00529B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1" u="none" strike="noStrike" kern="0" cap="none" spc="0" normalizeH="0" baseline="0" noProof="0" dirty="0">
              <a:ln>
                <a:noFill/>
              </a:ln>
              <a:solidFill>
                <a:srgbClr val="00529B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07ACFE58-00E0-607A-BB54-F9D5DA34FCA5}"/>
              </a:ext>
            </a:extLst>
          </p:cNvPr>
          <p:cNvSpPr txBox="1"/>
          <p:nvPr/>
        </p:nvSpPr>
        <p:spPr>
          <a:xfrm>
            <a:off x="281483" y="280146"/>
            <a:ext cx="957371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junto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brangente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is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ngo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e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vidências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vando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rovações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ulatórias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do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ndo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</a:t>
            </a:r>
          </a:p>
        </p:txBody>
      </p:sp>
      <p:pic>
        <p:nvPicPr>
          <p:cNvPr id="76" name="Picture 75" descr="A logo with a pink tree and blue text&#10;&#10;Description automatically generated">
            <a:extLst>
              <a:ext uri="{FF2B5EF4-FFF2-40B4-BE49-F238E27FC236}">
                <a16:creationId xmlns:a16="http://schemas.microsoft.com/office/drawing/2014/main" xmlns="" id="{33B2FD59-FFAA-F98E-2A2D-FAF033EC35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28187" y="471390"/>
            <a:ext cx="1441155" cy="767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4128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1F3642A-EC1D-6049-A0DC-AE186E6CB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B1091427-D8EB-1E2B-0E7B-F0E9A1BC38E7}"/>
              </a:ext>
            </a:extLst>
          </p:cNvPr>
          <p:cNvSpPr txBox="1"/>
          <p:nvPr/>
        </p:nvSpPr>
        <p:spPr>
          <a:xfrm>
            <a:off x="404575" y="337296"/>
            <a:ext cx="95737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nsagens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óximos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asso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B0AFB4E6-85B5-4690-3968-97B62A73DCC0}"/>
              </a:ext>
            </a:extLst>
          </p:cNvPr>
          <p:cNvSpPr txBox="1"/>
          <p:nvPr/>
        </p:nvSpPr>
        <p:spPr>
          <a:xfrm>
            <a:off x="1522166" y="1978157"/>
            <a:ext cx="9265995" cy="24590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BR" sz="2000" b="1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" panose="020B0604020202020204"/>
              </a:rPr>
              <a:t>Existe tratamento medicamentoso para Acondroplasia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BR" sz="2000" b="1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" panose="020B0604020202020204"/>
              </a:rPr>
              <a:t>Aprovado no Brasil desde 2021 com eficácia e segurança comprovada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BR" sz="2000" b="1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" panose="020B0604020202020204"/>
              </a:rPr>
              <a:t>Melhorias em crescimento se refletem em ganhos de qualidade de vida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BR" sz="2000" b="1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" panose="020B0604020202020204"/>
              </a:rPr>
              <a:t>A ser submetido em breve pela empresa à CONITEC </a:t>
            </a:r>
            <a:endParaRPr lang="en-US" sz="2000" b="1" dirty="0">
              <a:solidFill>
                <a:schemeClr val="accent6">
                  <a:lumMod val="90000"/>
                  <a:lumOff val="10000"/>
                </a:schemeClr>
              </a:solidFill>
              <a:latin typeface="Arial" panose="020B0604020202020204"/>
            </a:endParaRPr>
          </a:p>
        </p:txBody>
      </p:sp>
      <p:pic>
        <p:nvPicPr>
          <p:cNvPr id="4" name="Picture 3" descr="A white light in the corner of a black background&#10;&#10;Description automatically generated">
            <a:extLst>
              <a:ext uri="{FF2B5EF4-FFF2-40B4-BE49-F238E27FC236}">
                <a16:creationId xmlns:a16="http://schemas.microsoft.com/office/drawing/2014/main" xmlns="" id="{7B0FE53A-9EDF-DF84-045A-90D5E98CFF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5097883" y="680797"/>
            <a:ext cx="1048255" cy="10138866"/>
          </a:xfrm>
          <a:prstGeom prst="rect">
            <a:avLst/>
          </a:prstGeom>
        </p:spPr>
      </p:pic>
      <p:pic>
        <p:nvPicPr>
          <p:cNvPr id="5" name="Picture 4" descr="A white light in the corner of a black background&#10;&#10;Description automatically generated">
            <a:extLst>
              <a:ext uri="{FF2B5EF4-FFF2-40B4-BE49-F238E27FC236}">
                <a16:creationId xmlns:a16="http://schemas.microsoft.com/office/drawing/2014/main" xmlns="" id="{F637B81A-477D-5A92-876E-2012536FE5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H="1">
            <a:off x="5008494" y="-3690445"/>
            <a:ext cx="1048255" cy="10138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6527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BD46910C-6E6A-6EC7-2828-5E3FEA81B6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Slide do think-cell" r:id="rId4" imgW="7772400" imgH="10058400" progId="TCLayout.ActiveDocument.1">
                  <p:embed/>
                </p:oleObj>
              </mc:Choice>
              <mc:Fallback>
                <p:oleObj name="Slide do think-cell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BD46910C-6E6A-6EC7-2828-5E3FEA81B6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m 8" descr="Criança com brinquedo na grama&#10;&#10;O conteúdo gerado por IA pode estar incorreto.">
            <a:extLst>
              <a:ext uri="{FF2B5EF4-FFF2-40B4-BE49-F238E27FC236}">
                <a16:creationId xmlns:a16="http://schemas.microsoft.com/office/drawing/2014/main" xmlns="" id="{C885D4D2-6E26-AB38-4821-773A2C9EFE2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34399" t="27650" r="16155" b="15391"/>
          <a:stretch/>
        </p:blipFill>
        <p:spPr>
          <a:xfrm>
            <a:off x="0" y="0"/>
            <a:ext cx="12192000" cy="6893135"/>
          </a:xfrm>
          <a:prstGeom prst="rect">
            <a:avLst/>
          </a:prstGeom>
        </p:spPr>
      </p:pic>
      <p:pic>
        <p:nvPicPr>
          <p:cNvPr id="10" name="Imagem 9" descr="Padrão do plano de fundo&#10;&#10;O conteúdo gerado por IA pode estar incorreto.">
            <a:extLst>
              <a:ext uri="{FF2B5EF4-FFF2-40B4-BE49-F238E27FC236}">
                <a16:creationId xmlns:a16="http://schemas.microsoft.com/office/drawing/2014/main" xmlns="" id="{7141AFE5-FF64-9CFF-AACC-8CEDA61D07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106020" y="-2"/>
            <a:ext cx="14471375" cy="6893135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xmlns="" id="{D09AFDB5-D9B2-3C59-2C66-02DB7A62CA13}"/>
              </a:ext>
            </a:extLst>
          </p:cNvPr>
          <p:cNvSpPr txBox="1">
            <a:spLocks/>
          </p:cNvSpPr>
          <p:nvPr/>
        </p:nvSpPr>
        <p:spPr>
          <a:xfrm>
            <a:off x="4146331" y="5002236"/>
            <a:ext cx="7275967" cy="1668014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600" b="1" i="0" u="none" strike="noStrike" kern="1200" cap="none" spc="0" normalizeH="0" baseline="0" noProof="0">
                <a:ln>
                  <a:solidFill>
                    <a:srgbClr val="FFFFFF"/>
                  </a:solidFill>
                </a:ln>
                <a:noFill/>
                <a:effectLst/>
                <a:uLnTx/>
                <a:uFillTx/>
                <a:latin typeface="Aptos Black" panose="020B0004020202020204" pitchFamily="34" charset="0"/>
                <a:ea typeface="+mj-ea"/>
                <a:cs typeface="+mj-cs"/>
              </a:rPr>
              <a:t>OBRIGADO!</a:t>
            </a:r>
            <a:endParaRPr kumimoji="0" lang="pt-BR" sz="13800" b="1" i="0" u="none" strike="noStrike" kern="1200" cap="none" spc="0" normalizeH="0" baseline="0" noProof="0">
              <a:ln>
                <a:solidFill>
                  <a:srgbClr val="FFFFFF"/>
                </a:solidFill>
              </a:ln>
              <a:noFill/>
              <a:effectLst/>
              <a:uLnTx/>
              <a:uFillTx/>
              <a:latin typeface="Aptos Black" panose="020B0004020202020204" pitchFamily="34" charset="0"/>
              <a:ea typeface="+mj-ea"/>
              <a:cs typeface="+mj-cs"/>
            </a:endParaRPr>
          </a:p>
        </p:txBody>
      </p:sp>
      <p:sp>
        <p:nvSpPr>
          <p:cNvPr id="14" name="Espaço Reservado para Conteúdo 2">
            <a:extLst>
              <a:ext uri="{FF2B5EF4-FFF2-40B4-BE49-F238E27FC236}">
                <a16:creationId xmlns:a16="http://schemas.microsoft.com/office/drawing/2014/main" xmlns="" id="{00F250EA-2CCC-046C-DA53-4FB3A7CECDF0}"/>
              </a:ext>
            </a:extLst>
          </p:cNvPr>
          <p:cNvSpPr txBox="1">
            <a:spLocks/>
          </p:cNvSpPr>
          <p:nvPr/>
        </p:nvSpPr>
        <p:spPr>
          <a:xfrm>
            <a:off x="902681" y="1129508"/>
            <a:ext cx="5193320" cy="28962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4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ão é </a:t>
            </a:r>
            <a:r>
              <a:rPr kumimoji="0" lang="pt-BR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Black" panose="020B0004020202020204" pitchFamily="34" charset="0"/>
                <a:ea typeface="+mn-ea"/>
                <a:cs typeface="+mn-cs"/>
              </a:rPr>
              <a:t>sobre crescer</a:t>
            </a:r>
            <a:r>
              <a:rPr kumimoji="0" lang="pt-BR" sz="4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mas sim sobre </a:t>
            </a:r>
            <a:r>
              <a:rPr kumimoji="0" lang="pt-BR" sz="6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Black" panose="020B0004020202020204" pitchFamily="34" charset="0"/>
                <a:ea typeface="+mn-ea"/>
                <a:cs typeface="+mn-cs"/>
              </a:rPr>
              <a:t>alcançar </a:t>
            </a:r>
            <a:br>
              <a:rPr kumimoji="0" lang="pt-BR" sz="6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Black" panose="020B0004020202020204" pitchFamily="34" charset="0"/>
                <a:ea typeface="+mn-ea"/>
                <a:cs typeface="+mn-cs"/>
              </a:rPr>
            </a:br>
            <a:r>
              <a:rPr kumimoji="0" lang="pt-BR" sz="6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Black" panose="020B0004020202020204" pitchFamily="34" charset="0"/>
                <a:ea typeface="+mn-ea"/>
                <a:cs typeface="+mn-cs"/>
              </a:rPr>
              <a:t>o mundo!</a:t>
            </a:r>
            <a:endParaRPr kumimoji="0" lang="pt-BR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Black" panose="020B00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178249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324464" y="394110"/>
            <a:ext cx="5138738" cy="515938"/>
          </a:xfrm>
        </p:spPr>
        <p:txBody>
          <a:bodyPr/>
          <a:lstStyle/>
          <a:p>
            <a:r>
              <a:rPr kumimoji="1" lang="pt-BR" b="1" dirty="0"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CRESCIMENTO ÓSSEO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4294967295"/>
          </p:nvPr>
        </p:nvSpPr>
        <p:spPr>
          <a:xfrm>
            <a:off x="717755" y="1437558"/>
            <a:ext cx="4865688" cy="4373563"/>
          </a:xfrm>
        </p:spPr>
        <p:txBody>
          <a:bodyPr/>
          <a:lstStyle/>
          <a:p>
            <a:pPr>
              <a:buSzPct val="100000"/>
              <a:buFont typeface="Arial"/>
              <a:buChar char="•"/>
              <a:defRPr sz="1600">
                <a:solidFill>
                  <a:schemeClr val="accent1"/>
                </a:solidFill>
              </a:defRPr>
            </a:pPr>
            <a:r>
              <a:rPr lang="pt-BR" sz="1800" b="1" dirty="0">
                <a:solidFill>
                  <a:srgbClr val="002E56"/>
                </a:solidFill>
              </a:rPr>
              <a:t>Ossificação intramembranosa</a:t>
            </a:r>
            <a:r>
              <a:rPr lang="pt-BR" sz="1800" b="1" baseline="30000" dirty="0">
                <a:solidFill>
                  <a:srgbClr val="002E56"/>
                </a:solidFill>
              </a:rPr>
              <a:t>1</a:t>
            </a:r>
          </a:p>
          <a:p>
            <a:pPr marL="457200" lvl="1" defTabSz="401638">
              <a:buClr>
                <a:srgbClr val="1E3B8A"/>
              </a:buClr>
              <a:buFont typeface="Courier New"/>
              <a:buChar char="o"/>
              <a:defRPr sz="1400">
                <a:solidFill>
                  <a:schemeClr val="accent1"/>
                </a:solidFill>
              </a:defRPr>
            </a:pPr>
            <a:r>
              <a:rPr lang="pt-BR" sz="1600" dirty="0">
                <a:solidFill>
                  <a:srgbClr val="002E56"/>
                </a:solidFill>
              </a:rPr>
              <a:t>Formação óssea sem precursor cartilaginoso </a:t>
            </a:r>
          </a:p>
          <a:p>
            <a:pPr marL="457200" lvl="1" defTabSz="401638">
              <a:buClr>
                <a:srgbClr val="1E3B8A"/>
              </a:buClr>
              <a:buFont typeface="Courier New"/>
              <a:buChar char="o"/>
              <a:defRPr sz="1400">
                <a:solidFill>
                  <a:schemeClr val="accent1"/>
                </a:solidFill>
              </a:defRPr>
            </a:pPr>
            <a:r>
              <a:rPr lang="pt-BR" sz="1600" dirty="0">
                <a:solidFill>
                  <a:srgbClr val="002E56"/>
                </a:solidFill>
              </a:rPr>
              <a:t>Forma ossos chatos da face e crânio, mandíbula e clavícula</a:t>
            </a:r>
          </a:p>
          <a:p>
            <a:pPr marL="457200" defTabSz="401638">
              <a:defRPr sz="1400">
                <a:solidFill>
                  <a:schemeClr val="accent1"/>
                </a:solidFill>
              </a:defRPr>
            </a:pPr>
            <a:endParaRPr lang="en-US" dirty="0">
              <a:solidFill>
                <a:srgbClr val="002E56"/>
              </a:solidFill>
            </a:endParaRPr>
          </a:p>
          <a:p>
            <a:pPr defTabSz="401638">
              <a:buSzPct val="100000"/>
              <a:defRPr sz="1400">
                <a:solidFill>
                  <a:schemeClr val="accent1"/>
                </a:solidFill>
              </a:defRPr>
            </a:pPr>
            <a:r>
              <a:rPr lang="pt-BR" sz="1800" b="1" dirty="0">
                <a:solidFill>
                  <a:srgbClr val="002E56"/>
                </a:solidFill>
              </a:rPr>
              <a:t>Ossificação endocondral</a:t>
            </a:r>
            <a:r>
              <a:rPr lang="pt-BR" sz="1800" b="1" baseline="29714" dirty="0">
                <a:solidFill>
                  <a:srgbClr val="002E56"/>
                </a:solidFill>
              </a:rPr>
              <a:t>1</a:t>
            </a:r>
          </a:p>
          <a:p>
            <a:pPr marL="457200" lvl="1" defTabSz="401638">
              <a:buClr>
                <a:srgbClr val="1E3B8A"/>
              </a:buClr>
              <a:buFont typeface="Courier New"/>
              <a:buChar char="o"/>
              <a:defRPr sz="1400">
                <a:solidFill>
                  <a:schemeClr val="accent1"/>
                </a:solidFill>
              </a:defRPr>
            </a:pPr>
            <a:r>
              <a:rPr lang="pt-BR" sz="1600" dirty="0">
                <a:solidFill>
                  <a:srgbClr val="002E56"/>
                </a:solidFill>
              </a:rPr>
              <a:t>A cartilIdadem serve como o precursor do osso;</a:t>
            </a:r>
          </a:p>
          <a:p>
            <a:pPr marL="457200" lvl="1" defTabSz="401638">
              <a:buClr>
                <a:srgbClr val="1E3B8A"/>
              </a:buClr>
              <a:buFont typeface="Courier New"/>
              <a:buChar char="o"/>
              <a:defRPr sz="1400">
                <a:solidFill>
                  <a:schemeClr val="accent1"/>
                </a:solidFill>
              </a:defRPr>
            </a:pPr>
            <a:r>
              <a:rPr lang="pt-BR" dirty="0">
                <a:solidFill>
                  <a:srgbClr val="002E56"/>
                </a:solidFill>
              </a:rPr>
              <a:t>Ossos das extremidades e</a:t>
            </a:r>
            <a:br>
              <a:rPr lang="pt-BR" dirty="0">
                <a:solidFill>
                  <a:srgbClr val="002E56"/>
                </a:solidFill>
              </a:rPr>
            </a:br>
            <a:r>
              <a:rPr lang="pt-BR" dirty="0">
                <a:solidFill>
                  <a:srgbClr val="002E56"/>
                </a:solidFill>
              </a:rPr>
              <a:t>partes do esqueleto axial</a:t>
            </a:r>
            <a:br>
              <a:rPr lang="pt-BR" dirty="0">
                <a:solidFill>
                  <a:srgbClr val="002E56"/>
                </a:solidFill>
              </a:rPr>
            </a:br>
            <a:r>
              <a:rPr lang="pt-BR" dirty="0">
                <a:solidFill>
                  <a:srgbClr val="002E56"/>
                </a:solidFill>
              </a:rPr>
              <a:t>que suportam descarga de peso (por exemplo, vértebras).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11747500" y="6367463"/>
            <a:ext cx="4445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DA0905-4958-2940-83CA-5CD06F5A979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29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Geneva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529C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Geneva" charset="-128"/>
              <a:cs typeface="+mn-cs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527539" y="6320326"/>
            <a:ext cx="10704513" cy="403225"/>
          </a:xfrm>
        </p:spPr>
        <p:txBody>
          <a:bodyPr/>
          <a:lstStyle/>
          <a:p>
            <a:pPr marL="0" indent="0">
              <a:buNone/>
            </a:pPr>
            <a:r>
              <a:rPr lang="pt-BR" sz="1000" baseline="30000">
                <a:solidFill>
                  <a:schemeClr val="accent6"/>
                </a:solidFill>
              </a:rPr>
              <a:t>1</a:t>
            </a:r>
            <a:r>
              <a:rPr lang="pt-BR" sz="1000">
                <a:solidFill>
                  <a:schemeClr val="accent6"/>
                </a:solidFill>
              </a:rPr>
              <a:t>Xie Y, et al. </a:t>
            </a:r>
            <a:r>
              <a:rPr lang="pt-BR" sz="1000" i="1">
                <a:solidFill>
                  <a:schemeClr val="accent6"/>
                </a:solidFill>
              </a:rPr>
              <a:t>J Mol Endocrinol</a:t>
            </a:r>
            <a:r>
              <a:rPr lang="pt-BR" sz="1000">
                <a:solidFill>
                  <a:schemeClr val="accent6"/>
                </a:solidFill>
              </a:rPr>
              <a:t>. 2014;53:11-34. </a:t>
            </a:r>
          </a:p>
        </p:txBody>
      </p:sp>
      <p:sp>
        <p:nvSpPr>
          <p:cNvPr id="187" name="TextBox 8"/>
          <p:cNvSpPr txBox="1"/>
          <p:nvPr/>
        </p:nvSpPr>
        <p:spPr>
          <a:xfrm>
            <a:off x="881453" y="1482137"/>
            <a:ext cx="4485026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/>
          <a:p>
            <a:pPr marL="166687" marR="0" lvl="0" indent="-166687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Pct val="100000"/>
              <a:buFont typeface="Arial"/>
              <a:buChar char="•"/>
              <a:tabLst/>
              <a:defRPr sz="1600">
                <a:solidFill>
                  <a:srgbClr val="393996"/>
                </a:solidFill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393996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sp>
        <p:nvSpPr>
          <p:cNvPr id="202" name="Title 3"/>
          <p:cNvSpPr txBox="1"/>
          <p:nvPr/>
        </p:nvSpPr>
        <p:spPr>
          <a:xfrm>
            <a:off x="664176" y="959055"/>
            <a:ext cx="8229601" cy="3666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2000" b="1" cap="all">
                <a:solidFill>
                  <a:schemeClr val="accent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000" b="1" i="0" u="none" strike="noStrike" kern="1200" cap="all" spc="0" normalizeH="0" baseline="0" noProof="0">
              <a:ln>
                <a:noFill/>
              </a:ln>
              <a:solidFill>
                <a:srgbClr val="393996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E35AFDE-F1A6-4F0E-BF34-1876FAB1E68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1" b="-5644"/>
          <a:stretch/>
        </p:blipFill>
        <p:spPr>
          <a:xfrm>
            <a:off x="7676449" y="1651414"/>
            <a:ext cx="2434655" cy="404928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306905C1-092C-4215-AA13-3B29E390141C}"/>
              </a:ext>
            </a:extLst>
          </p:cNvPr>
          <p:cNvSpPr txBox="1"/>
          <p:nvPr/>
        </p:nvSpPr>
        <p:spPr>
          <a:xfrm>
            <a:off x="7178283" y="5840713"/>
            <a:ext cx="3119960" cy="6960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93996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E8DE5681-25CB-4C56-B30A-E7427D38CF86}"/>
              </a:ext>
            </a:extLst>
          </p:cNvPr>
          <p:cNvSpPr txBox="1"/>
          <p:nvPr/>
        </p:nvSpPr>
        <p:spPr>
          <a:xfrm>
            <a:off x="6096000" y="3814111"/>
            <a:ext cx="14051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2E56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Osso endocondral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6A101492-CA61-4A3F-A076-E50149020B19}"/>
              </a:ext>
            </a:extLst>
          </p:cNvPr>
          <p:cNvCxnSpPr>
            <a:cxnSpLocks/>
            <a:stCxn id="9" idx="0"/>
            <a:endCxn id="5" idx="1"/>
          </p:cNvCxnSpPr>
          <p:nvPr/>
        </p:nvCxnSpPr>
        <p:spPr bwMode="auto">
          <a:xfrm flipV="1">
            <a:off x="6798568" y="3676057"/>
            <a:ext cx="877881" cy="138054"/>
          </a:xfrm>
          <a:prstGeom prst="line">
            <a:avLst/>
          </a:prstGeom>
          <a:solidFill>
            <a:schemeClr val="bg2"/>
          </a:solidFill>
          <a:ln w="25400" cap="flat" cmpd="sng" algn="ctr">
            <a:solidFill>
              <a:srgbClr val="39399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951956D6-6374-440E-BA14-662F8D5CCA80}"/>
              </a:ext>
            </a:extLst>
          </p:cNvPr>
          <p:cNvSpPr txBox="1"/>
          <p:nvPr/>
        </p:nvSpPr>
        <p:spPr>
          <a:xfrm>
            <a:off x="9956834" y="1620431"/>
            <a:ext cx="1348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2E56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Osso membranoso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75464108-ED49-4CA8-80C4-210A466C3B77}"/>
              </a:ext>
            </a:extLst>
          </p:cNvPr>
          <p:cNvCxnSpPr>
            <a:cxnSpLocks/>
            <a:endCxn id="15" idx="1"/>
          </p:cNvCxnSpPr>
          <p:nvPr/>
        </p:nvCxnSpPr>
        <p:spPr bwMode="auto">
          <a:xfrm flipV="1">
            <a:off x="9536243" y="1882041"/>
            <a:ext cx="420591" cy="560842"/>
          </a:xfrm>
          <a:prstGeom prst="line">
            <a:avLst/>
          </a:prstGeom>
          <a:solidFill>
            <a:schemeClr val="bg2"/>
          </a:solidFill>
          <a:ln w="25400" cap="flat" cmpd="sng" algn="ctr">
            <a:solidFill>
              <a:srgbClr val="39399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438326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FE396592-636A-48B7-B604-0163EAFC777C}"/>
              </a:ext>
            </a:extLst>
          </p:cNvPr>
          <p:cNvGrpSpPr/>
          <p:nvPr/>
        </p:nvGrpSpPr>
        <p:grpSpPr>
          <a:xfrm>
            <a:off x="3412519" y="0"/>
            <a:ext cx="7438504" cy="6234296"/>
            <a:chOff x="464546" y="1535715"/>
            <a:chExt cx="6532175" cy="561059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xmlns="" id="{25808481-6AEA-4E6D-AC81-16D9821C3A0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4546" y="1535715"/>
              <a:ext cx="6532175" cy="5610593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A1069C63-898C-47FB-9879-6BDBAC68E0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13671" y="2326707"/>
              <a:ext cx="498923" cy="201488"/>
            </a:xfrm>
            <a:prstGeom prst="rect">
              <a:avLst/>
            </a:prstGeom>
          </p:spPr>
        </p:pic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1841F352-95DF-4FDA-964D-85F9128C0E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15965" y="1085724"/>
            <a:ext cx="1351173" cy="283016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xmlns="" id="{8E6E86BE-9044-4D56-9623-C155443DE559}"/>
              </a:ext>
            </a:extLst>
          </p:cNvPr>
          <p:cNvSpPr/>
          <p:nvPr/>
        </p:nvSpPr>
        <p:spPr>
          <a:xfrm>
            <a:off x="9097930" y="922130"/>
            <a:ext cx="56523" cy="209320"/>
          </a:xfrm>
          <a:custGeom>
            <a:avLst/>
            <a:gdLst>
              <a:gd name="connsiteX0" fmla="*/ 23444 w 56523"/>
              <a:gd name="connsiteY0" fmla="*/ 209320 h 209320"/>
              <a:gd name="connsiteX1" fmla="*/ 12427 w 56523"/>
              <a:gd name="connsiteY1" fmla="*/ 154236 h 209320"/>
              <a:gd name="connsiteX2" fmla="*/ 12427 w 56523"/>
              <a:gd name="connsiteY2" fmla="*/ 77118 h 209320"/>
              <a:gd name="connsiteX3" fmla="*/ 45478 w 56523"/>
              <a:gd name="connsiteY3" fmla="*/ 44067 h 209320"/>
              <a:gd name="connsiteX4" fmla="*/ 56494 w 56523"/>
              <a:gd name="connsiteY4" fmla="*/ 0 h 209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523" h="209320">
                <a:moveTo>
                  <a:pt x="23444" y="209320"/>
                </a:moveTo>
                <a:cubicBezTo>
                  <a:pt x="19772" y="190959"/>
                  <a:pt x="16969" y="172402"/>
                  <a:pt x="12427" y="154236"/>
                </a:cubicBezTo>
                <a:cubicBezTo>
                  <a:pt x="3522" y="118618"/>
                  <a:pt x="-10403" y="117071"/>
                  <a:pt x="12427" y="77118"/>
                </a:cubicBezTo>
                <a:cubicBezTo>
                  <a:pt x="20157" y="63590"/>
                  <a:pt x="34461" y="55084"/>
                  <a:pt x="45478" y="44067"/>
                </a:cubicBezTo>
                <a:cubicBezTo>
                  <a:pt x="57655" y="7533"/>
                  <a:pt x="56494" y="22630"/>
                  <a:pt x="56494" y="0"/>
                </a:cubicBezTo>
              </a:path>
            </a:pathLst>
          </a:cu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xmlns="" id="{051CBED1-B2AB-4719-A164-F8365C3DB4CE}"/>
              </a:ext>
            </a:extLst>
          </p:cNvPr>
          <p:cNvSpPr/>
          <p:nvPr/>
        </p:nvSpPr>
        <p:spPr>
          <a:xfrm>
            <a:off x="9988459" y="1322537"/>
            <a:ext cx="56523" cy="209320"/>
          </a:xfrm>
          <a:custGeom>
            <a:avLst/>
            <a:gdLst>
              <a:gd name="connsiteX0" fmla="*/ 23444 w 56523"/>
              <a:gd name="connsiteY0" fmla="*/ 209320 h 209320"/>
              <a:gd name="connsiteX1" fmla="*/ 12427 w 56523"/>
              <a:gd name="connsiteY1" fmla="*/ 154236 h 209320"/>
              <a:gd name="connsiteX2" fmla="*/ 12427 w 56523"/>
              <a:gd name="connsiteY2" fmla="*/ 77118 h 209320"/>
              <a:gd name="connsiteX3" fmla="*/ 45478 w 56523"/>
              <a:gd name="connsiteY3" fmla="*/ 44067 h 209320"/>
              <a:gd name="connsiteX4" fmla="*/ 56494 w 56523"/>
              <a:gd name="connsiteY4" fmla="*/ 0 h 209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523" h="209320">
                <a:moveTo>
                  <a:pt x="23444" y="209320"/>
                </a:moveTo>
                <a:cubicBezTo>
                  <a:pt x="19772" y="190959"/>
                  <a:pt x="16969" y="172402"/>
                  <a:pt x="12427" y="154236"/>
                </a:cubicBezTo>
                <a:cubicBezTo>
                  <a:pt x="3522" y="118618"/>
                  <a:pt x="-10403" y="117071"/>
                  <a:pt x="12427" y="77118"/>
                </a:cubicBezTo>
                <a:cubicBezTo>
                  <a:pt x="20157" y="63590"/>
                  <a:pt x="34461" y="55084"/>
                  <a:pt x="45478" y="44067"/>
                </a:cubicBezTo>
                <a:cubicBezTo>
                  <a:pt x="57655" y="7533"/>
                  <a:pt x="56494" y="22630"/>
                  <a:pt x="56494" y="0"/>
                </a:cubicBezTo>
              </a:path>
            </a:pathLst>
          </a:cu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E2B9F658-DA31-422F-9282-D4DD861673E0}"/>
              </a:ext>
            </a:extLst>
          </p:cNvPr>
          <p:cNvSpPr txBox="1"/>
          <p:nvPr/>
        </p:nvSpPr>
        <p:spPr>
          <a:xfrm>
            <a:off x="0" y="238280"/>
            <a:ext cx="7334250" cy="8679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pt-BR" sz="2800" b="1" dirty="0"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Vosoritida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pt-BR" sz="2800" b="1" dirty="0"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Mecanismo de ação </a:t>
            </a:r>
            <a:endParaRPr kumimoji="1" lang="en-US" sz="2800" b="1" dirty="0">
              <a:gradFill flip="none" rotWithShape="1">
                <a:gsLst>
                  <a:gs pos="100000">
                    <a:srgbClr val="343C98"/>
                  </a:gs>
                  <a:gs pos="0">
                    <a:srgbClr val="A9208E"/>
                  </a:gs>
                </a:gsLst>
                <a:lin ang="10800000" scaled="1"/>
                <a:tileRect/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103DA72F-4F1D-40CA-8983-67FE62E5B83F}"/>
              </a:ext>
            </a:extLst>
          </p:cNvPr>
          <p:cNvSpPr txBox="1"/>
          <p:nvPr/>
        </p:nvSpPr>
        <p:spPr>
          <a:xfrm>
            <a:off x="419730" y="6330020"/>
            <a:ext cx="1069848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dapted from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rnitz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M, Marie PJ. Fibroblast growth factor signaling in skeletal development and disease. 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enes Dev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15;29(14):1463-1486. doi:10.1101/gad.266551.115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xmlns="" id="{880EFA03-34B2-40EF-8983-891569C4E068}"/>
              </a:ext>
            </a:extLst>
          </p:cNvPr>
          <p:cNvSpPr/>
          <p:nvPr/>
        </p:nvSpPr>
        <p:spPr>
          <a:xfrm>
            <a:off x="3866566" y="1961039"/>
            <a:ext cx="5720720" cy="3927757"/>
          </a:xfrm>
          <a:prstGeom prst="roundRect">
            <a:avLst/>
          </a:prstGeom>
          <a:solidFill>
            <a:srgbClr val="FF0000">
              <a:alpha val="33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xmlns="" id="{C2DE6CB9-1B7B-4E94-AE1D-E1F4F95D2F60}"/>
              </a:ext>
            </a:extLst>
          </p:cNvPr>
          <p:cNvSpPr/>
          <p:nvPr/>
        </p:nvSpPr>
        <p:spPr>
          <a:xfrm>
            <a:off x="9587286" y="1981732"/>
            <a:ext cx="1008177" cy="3660265"/>
          </a:xfrm>
          <a:prstGeom prst="roundRect">
            <a:avLst/>
          </a:prstGeom>
          <a:solidFill>
            <a:srgbClr val="FF0000">
              <a:alpha val="33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xmlns="" id="{D3923733-EFAC-4BE4-A5F6-673A11BA763B}"/>
              </a:ext>
            </a:extLst>
          </p:cNvPr>
          <p:cNvSpPr/>
          <p:nvPr/>
        </p:nvSpPr>
        <p:spPr>
          <a:xfrm>
            <a:off x="3866567" y="1961038"/>
            <a:ext cx="5720720" cy="3927757"/>
          </a:xfrm>
          <a:prstGeom prst="roundRect">
            <a:avLst/>
          </a:prstGeom>
          <a:solidFill>
            <a:srgbClr val="00B050">
              <a:alpha val="33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A4404B73-FE5C-3756-65B4-34DB200683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7515" y="3053134"/>
            <a:ext cx="2424071" cy="2523610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2045CD3B-6063-5D9F-2AE2-2DA58A80B558}"/>
              </a:ext>
            </a:extLst>
          </p:cNvPr>
          <p:cNvCxnSpPr>
            <a:cxnSpLocks/>
          </p:cNvCxnSpPr>
          <p:nvPr/>
        </p:nvCxnSpPr>
        <p:spPr>
          <a:xfrm flipV="1">
            <a:off x="1878080" y="2049137"/>
            <a:ext cx="2048186" cy="2545503"/>
          </a:xfrm>
          <a:prstGeom prst="line">
            <a:avLst/>
          </a:prstGeom>
          <a:ln w="22225">
            <a:solidFill>
              <a:schemeClr val="tx1"/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32C43972-F0C2-0476-8B7F-67C3007B722D}"/>
              </a:ext>
            </a:extLst>
          </p:cNvPr>
          <p:cNvCxnSpPr>
            <a:cxnSpLocks/>
          </p:cNvCxnSpPr>
          <p:nvPr/>
        </p:nvCxnSpPr>
        <p:spPr>
          <a:xfrm>
            <a:off x="1878080" y="4639631"/>
            <a:ext cx="2192356" cy="1483850"/>
          </a:xfrm>
          <a:prstGeom prst="line">
            <a:avLst/>
          </a:prstGeom>
          <a:ln w="22225">
            <a:solidFill>
              <a:schemeClr val="tx1"/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598188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8" grpId="0" animBg="1"/>
      <p:bldP spid="2" grpId="0" animBg="1"/>
      <p:bldP spid="12" grpId="0" animBg="1"/>
      <p:bldP spid="1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793EB765-4974-4A70-97A8-6017648610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5C64D865-707A-AB17-07DD-46A193252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910" y="138982"/>
            <a:ext cx="10515600" cy="1325563"/>
          </a:xfrm>
        </p:spPr>
        <p:txBody>
          <a:bodyPr/>
          <a:lstStyle/>
          <a:p>
            <a:r>
              <a:rPr kumimoji="1" lang="pt-BR" sz="3600" b="1" dirty="0"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osoritida: Evidência Clínica Robusta</a:t>
            </a:r>
            <a:endParaRPr kumimoji="1" lang="en-US" sz="3600" b="1" dirty="0">
              <a:gradFill flip="none" rotWithShape="1">
                <a:gsLst>
                  <a:gs pos="100000">
                    <a:srgbClr val="343C98"/>
                  </a:gs>
                  <a:gs pos="0">
                    <a:srgbClr val="A9208E"/>
                  </a:gs>
                </a:gsLst>
                <a:lin ang="10800000" scaled="1"/>
                <a:tileRect/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: Rounded Corners 2">
            <a:extLst>
              <a:ext uri="{FF2B5EF4-FFF2-40B4-BE49-F238E27FC236}">
                <a16:creationId xmlns:a16="http://schemas.microsoft.com/office/drawing/2014/main" xmlns="" id="{C1D1499D-8DEE-71E5-CDB6-F606287F033A}"/>
              </a:ext>
            </a:extLst>
          </p:cNvPr>
          <p:cNvSpPr/>
          <p:nvPr/>
        </p:nvSpPr>
        <p:spPr>
          <a:xfrm>
            <a:off x="433528" y="1484959"/>
            <a:ext cx="2578079" cy="3230224"/>
          </a:xfrm>
          <a:prstGeom prst="roundRect">
            <a:avLst>
              <a:gd name="adj" fmla="val 6033"/>
            </a:avLst>
          </a:prstGeom>
          <a:solidFill>
            <a:schemeClr val="bg1"/>
          </a:solidFill>
          <a:ln w="38100" cap="flat" cmpd="sng" algn="ctr">
            <a:solidFill>
              <a:schemeClr val="bg2"/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111-901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Altura Basal </a:t>
            </a:r>
            <a:r>
              <a:rPr kumimoji="0" lang="en-US" sz="1400" b="0" i="1" u="none" strike="noStrike" kern="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Observacional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 </a:t>
            </a:r>
            <a:b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</a:br>
            <a:r>
              <a:rPr kumimoji="0" lang="en-US" sz="1400" b="0" i="1" u="none" strike="noStrike" kern="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Estudo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 do </a:t>
            </a:r>
            <a:r>
              <a:rPr kumimoji="0" lang="en-US" sz="1400" b="0" i="1" u="none" strike="noStrike" kern="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Crescimento</a:t>
            </a:r>
            <a:endParaRPr kumimoji="0" lang="en-US" sz="1400" b="0" i="1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ptos" panose="020B0004020202020204" pitchFamily="34" charset="0"/>
              <a:ea typeface="MS PGothic"/>
              <a:cs typeface="Arial" panose="020B0604020202020204" pitchFamily="34" charset="0"/>
              <a:sym typeface="Arial"/>
            </a:endParaRP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Idade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: 0 meses a &lt;18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ano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 </a:t>
            </a: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Nenhum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Medicação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ptos" panose="020B0004020202020204" pitchFamily="34" charset="0"/>
              <a:ea typeface="Geneva" charset="-128"/>
              <a:cs typeface="Arial" panose="020B0604020202020204" pitchFamily="34" charset="0"/>
              <a:sym typeface="Arial"/>
            </a:endParaRP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Duração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: ≥6 meses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ptos" panose="020B0004020202020204" pitchFamily="34" charset="0"/>
              <a:ea typeface="MS PGothic"/>
              <a:cs typeface="Arial" panose="020B0604020202020204" pitchFamily="34" charset="0"/>
              <a:sym typeface="Arial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xmlns="" id="{76C47DAA-F9BF-2392-D94A-84DC3B12B8BB}"/>
              </a:ext>
            </a:extLst>
          </p:cNvPr>
          <p:cNvSpPr/>
          <p:nvPr/>
        </p:nvSpPr>
        <p:spPr>
          <a:xfrm>
            <a:off x="3443203" y="1484959"/>
            <a:ext cx="3750071" cy="1016492"/>
          </a:xfrm>
          <a:prstGeom prst="roundRect">
            <a:avLst>
              <a:gd name="adj" fmla="val 6033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111-202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Fase 2*</a:t>
            </a: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Idade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: 5 </a:t>
            </a:r>
            <a:r>
              <a:rPr lang="en-US" sz="1400" kern="0" dirty="0">
                <a:solidFill>
                  <a:srgbClr val="28509C"/>
                </a:solidFill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 14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ano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28509C"/>
              </a:solidFill>
              <a:effectLst/>
              <a:uLnTx/>
              <a:uFillTx/>
              <a:latin typeface="Aptos" panose="020B0004020202020204" pitchFamily="34" charset="0"/>
              <a:ea typeface="Geneva" charset="-128"/>
              <a:cs typeface="Arial" panose="020B0604020202020204" pitchFamily="34" charset="0"/>
              <a:sym typeface="Arial"/>
            </a:endParaRP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Duração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: 24 mes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MS PGothic"/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Rectangle: Rounded Corners 22">
            <a:extLst>
              <a:ext uri="{FF2B5EF4-FFF2-40B4-BE49-F238E27FC236}">
                <a16:creationId xmlns:a16="http://schemas.microsoft.com/office/drawing/2014/main" xmlns="" id="{3FD447D6-E17C-9A1B-B6A6-3B0666F5483D}"/>
              </a:ext>
            </a:extLst>
          </p:cNvPr>
          <p:cNvSpPr/>
          <p:nvPr/>
        </p:nvSpPr>
        <p:spPr>
          <a:xfrm>
            <a:off x="3443203" y="2592024"/>
            <a:ext cx="3750071" cy="1013231"/>
          </a:xfrm>
          <a:prstGeom prst="roundRect">
            <a:avLst>
              <a:gd name="adj" fmla="val 6033"/>
            </a:avLst>
          </a:prstGeom>
          <a:solidFill>
            <a:schemeClr val="bg1"/>
          </a:solidFill>
          <a:ln w="38100" cap="flat" cmpd="sng" algn="ctr">
            <a:solidFill>
              <a:srgbClr val="6489D0"/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111-301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Fase 3**</a:t>
            </a: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Idade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: 5 </a:t>
            </a:r>
            <a:r>
              <a:rPr lang="en-US" sz="1400" kern="0" dirty="0">
                <a:solidFill>
                  <a:srgbClr val="6489D0"/>
                </a:solidFill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 &lt;18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ano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 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6489D0"/>
              </a:solidFill>
              <a:effectLst/>
              <a:uLnTx/>
              <a:uFillTx/>
              <a:latin typeface="Aptos" panose="020B0004020202020204" pitchFamily="34" charset="0"/>
              <a:ea typeface="Geneva" charset="-128"/>
              <a:cs typeface="Arial" panose="020B0604020202020204" pitchFamily="34" charset="0"/>
              <a:sym typeface="Arial"/>
            </a:endParaRP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Duração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: 52 Semana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MS PGothic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Rectangle: Rounded Corners 25">
            <a:extLst>
              <a:ext uri="{FF2B5EF4-FFF2-40B4-BE49-F238E27FC236}">
                <a16:creationId xmlns:a16="http://schemas.microsoft.com/office/drawing/2014/main" xmlns="" id="{66D33A08-E769-1D03-6FA2-2AA12BCDFD95}"/>
              </a:ext>
            </a:extLst>
          </p:cNvPr>
          <p:cNvSpPr/>
          <p:nvPr/>
        </p:nvSpPr>
        <p:spPr>
          <a:xfrm>
            <a:off x="3443204" y="3707732"/>
            <a:ext cx="3752490" cy="1011965"/>
          </a:xfrm>
          <a:prstGeom prst="roundRect">
            <a:avLst>
              <a:gd name="adj" fmla="val 6033"/>
            </a:avLst>
          </a:prstGeom>
          <a:solidFill>
            <a:schemeClr val="bg1"/>
          </a:solidFill>
          <a:ln w="38100" cap="flat" cmpd="sng" algn="ctr">
            <a:solidFill>
              <a:srgbClr val="2C3274"/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111-206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Fase 2**</a:t>
            </a: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Idade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: 0 </a:t>
            </a:r>
            <a:r>
              <a:rPr lang="en-US" sz="1400" kern="0" dirty="0">
                <a:solidFill>
                  <a:srgbClr val="2C3274"/>
                </a:solidFill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 &lt;5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ano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 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2C3274"/>
              </a:solidFill>
              <a:effectLst/>
              <a:uLnTx/>
              <a:uFillTx/>
              <a:latin typeface="Aptos" panose="020B0004020202020204" pitchFamily="34" charset="0"/>
              <a:ea typeface="Geneva" charset="-128"/>
              <a:cs typeface="Arial" panose="020B0604020202020204" pitchFamily="34" charset="0"/>
              <a:sym typeface="Arial"/>
            </a:endParaRP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Duração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: 52 Semana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C3274"/>
              </a:solidFill>
              <a:effectLst/>
              <a:uLnTx/>
              <a:uFillTx/>
              <a:latin typeface="Aptos" panose="020B0004020202020204" pitchFamily="34" charset="0"/>
              <a:ea typeface="MS PGothic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xmlns="" id="{148A18B4-46D2-77E9-E879-7B04688D44B0}"/>
              </a:ext>
            </a:extLst>
          </p:cNvPr>
          <p:cNvCxnSpPr>
            <a:cxnSpLocks/>
            <a:stCxn id="11" idx="1"/>
            <a:endCxn id="7" idx="3"/>
          </p:cNvCxnSpPr>
          <p:nvPr/>
        </p:nvCxnSpPr>
        <p:spPr>
          <a:xfrm flipH="1" flipV="1">
            <a:off x="7193274" y="1993205"/>
            <a:ext cx="366313" cy="1817"/>
          </a:xfrm>
          <a:prstGeom prst="straightConnector1">
            <a:avLst/>
          </a:prstGeom>
          <a:noFill/>
          <a:ln w="57150" cap="flat" cmpd="sng" algn="ctr">
            <a:noFill/>
            <a:prstDash val="solid"/>
            <a:headEnd type="triangle"/>
            <a:tailEnd type="non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cxnSp>
      <p:sp>
        <p:nvSpPr>
          <p:cNvPr id="11" name="Rectangle: Rounded Corners 45">
            <a:hlinkClick r:id="" action="ppaction://noaction"/>
            <a:extLst>
              <a:ext uri="{FF2B5EF4-FFF2-40B4-BE49-F238E27FC236}">
                <a16:creationId xmlns:a16="http://schemas.microsoft.com/office/drawing/2014/main" xmlns="" id="{74AED1CC-46A9-9652-DB5E-56E140E2C717}"/>
              </a:ext>
            </a:extLst>
          </p:cNvPr>
          <p:cNvSpPr/>
          <p:nvPr/>
        </p:nvSpPr>
        <p:spPr>
          <a:xfrm>
            <a:off x="7559587" y="1484959"/>
            <a:ext cx="3870646" cy="1020126"/>
          </a:xfrm>
          <a:prstGeom prst="roundRect">
            <a:avLst>
              <a:gd name="adj" fmla="val 6033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111-205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b="0" i="1" u="none" strike="noStrike" kern="0" cap="none" spc="0" normalizeH="0" baseline="0" noProof="0" dirty="0" err="1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Extensão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*</a:t>
            </a:r>
            <a:endParaRPr kumimoji="0" lang="en-US" sz="1200" b="1" i="1" u="none" strike="noStrike" kern="0" cap="none" spc="0" normalizeH="0" baseline="0" noProof="0" dirty="0">
              <a:ln>
                <a:noFill/>
              </a:ln>
              <a:solidFill>
                <a:srgbClr val="28509C"/>
              </a:solidFill>
              <a:effectLst/>
              <a:uLnTx/>
              <a:uFillTx/>
              <a:latin typeface="Aptos" panose="020B0004020202020204" pitchFamily="34" charset="0"/>
              <a:ea typeface="MS PGothic"/>
              <a:cs typeface="Arial" pitchFamily="34" charset="0"/>
              <a:sym typeface="Arial"/>
            </a:endParaRP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Duração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: </a:t>
            </a: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Altura Final do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Adulto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28509C"/>
              </a:solidFill>
              <a:effectLst/>
              <a:uLnTx/>
              <a:uFillTx/>
              <a:latin typeface="Aptos" panose="020B0004020202020204" pitchFamily="34" charset="0"/>
              <a:ea typeface="Geneva" charset="-128"/>
              <a:cs typeface="Arial" panose="020B0604020202020204" pitchFamily="34" charset="0"/>
              <a:sym typeface="Arial"/>
            </a:endParaRPr>
          </a:p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Geneva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Rectangle: Rounded Corners 51">
            <a:hlinkClick r:id="" action="ppaction://noaction"/>
            <a:extLst>
              <a:ext uri="{FF2B5EF4-FFF2-40B4-BE49-F238E27FC236}">
                <a16:creationId xmlns:a16="http://schemas.microsoft.com/office/drawing/2014/main" xmlns="" id="{DBF31767-D3E9-0865-8EC8-68FCE700FEAB}"/>
              </a:ext>
            </a:extLst>
          </p:cNvPr>
          <p:cNvSpPr/>
          <p:nvPr/>
        </p:nvSpPr>
        <p:spPr>
          <a:xfrm>
            <a:off x="7559587" y="2591625"/>
            <a:ext cx="3870646" cy="1011965"/>
          </a:xfrm>
          <a:prstGeom prst="roundRect">
            <a:avLst>
              <a:gd name="adj" fmla="val 6033"/>
            </a:avLst>
          </a:prstGeom>
          <a:solidFill>
            <a:schemeClr val="bg1"/>
          </a:solidFill>
          <a:ln w="38100" cap="flat" cmpd="sng" algn="ctr">
            <a:solidFill>
              <a:srgbClr val="6489D0"/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111-302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b="0" i="1" u="none" strike="noStrike" kern="0" cap="none" spc="0" normalizeH="0" baseline="0" noProof="0" dirty="0" err="1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Extensão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*</a:t>
            </a:r>
            <a:endParaRPr kumimoji="0" lang="en-US" sz="1100" b="0" i="1" u="none" strike="noStrike" kern="0" cap="none" spc="0" normalizeH="0" baseline="0" noProof="0" dirty="0">
              <a:ln>
                <a:noFill/>
              </a:ln>
              <a:solidFill>
                <a:srgbClr val="6489D0"/>
              </a:solidFill>
              <a:effectLst/>
              <a:uLnTx/>
              <a:uFillTx/>
              <a:latin typeface="Aptos" panose="020B0004020202020204" pitchFamily="34" charset="0"/>
              <a:ea typeface="MS PGothic"/>
              <a:cs typeface="Arial" panose="020B0604020202020204" pitchFamily="34" charset="0"/>
              <a:sym typeface="Arial"/>
            </a:endParaRP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Duração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: </a:t>
            </a: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Altura Final do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89D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Adulto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6489D0"/>
              </a:solidFill>
              <a:effectLst/>
              <a:uLnTx/>
              <a:uFillTx/>
              <a:latin typeface="Aptos" panose="020B0004020202020204" pitchFamily="34" charset="0"/>
              <a:ea typeface="Geneva" charset="-128"/>
              <a:cs typeface="Arial" panose="020B0604020202020204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MS PGothic"/>
              <a:cs typeface="Arial" panose="020B0604020202020204" pitchFamily="34" charset="0"/>
              <a:sym typeface="Arial"/>
            </a:endParaRPr>
          </a:p>
        </p:txBody>
      </p:sp>
      <p:sp>
        <p:nvSpPr>
          <p:cNvPr id="13" name="Rectangle: Rounded Corners 56">
            <a:hlinkClick r:id="" action="ppaction://noaction"/>
            <a:extLst>
              <a:ext uri="{FF2B5EF4-FFF2-40B4-BE49-F238E27FC236}">
                <a16:creationId xmlns:a16="http://schemas.microsoft.com/office/drawing/2014/main" xmlns="" id="{7F141602-50D3-B354-3239-2CB7400A4DD0}"/>
              </a:ext>
            </a:extLst>
          </p:cNvPr>
          <p:cNvSpPr/>
          <p:nvPr/>
        </p:nvSpPr>
        <p:spPr>
          <a:xfrm>
            <a:off x="7559586" y="3703218"/>
            <a:ext cx="3867398" cy="1011965"/>
          </a:xfrm>
          <a:prstGeom prst="roundRect">
            <a:avLst>
              <a:gd name="adj" fmla="val 6033"/>
            </a:avLst>
          </a:prstGeom>
          <a:solidFill>
            <a:schemeClr val="bg1"/>
          </a:solidFill>
          <a:ln w="38100" cap="flat" cmpd="sng" algn="ctr">
            <a:solidFill>
              <a:srgbClr val="2C3274"/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111-208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b="0" i="1" u="none" strike="noStrike" kern="0" cap="none" spc="0" normalizeH="0" baseline="0" noProof="0" dirty="0" err="1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Extensão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*</a:t>
            </a: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Duração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: </a:t>
            </a: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Altura Final do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2C3274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Adulto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2C3274"/>
              </a:solidFill>
              <a:effectLst/>
              <a:uLnTx/>
              <a:uFillTx/>
              <a:latin typeface="Aptos" panose="020B0004020202020204" pitchFamily="34" charset="0"/>
              <a:ea typeface="Geneva" charset="-128"/>
              <a:cs typeface="Arial" panose="020B0604020202020204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MS PGothic"/>
              <a:cs typeface="Arial" panose="020B0604020202020204" pitchFamily="34" charset="0"/>
              <a:sym typeface="Arial"/>
            </a:endParaRPr>
          </a:p>
        </p:txBody>
      </p:sp>
      <p:sp>
        <p:nvSpPr>
          <p:cNvPr id="14" name="Rectangle: Rounded Corners 25">
            <a:hlinkClick r:id="" action="ppaction://noaction"/>
            <a:extLst>
              <a:ext uri="{FF2B5EF4-FFF2-40B4-BE49-F238E27FC236}">
                <a16:creationId xmlns:a16="http://schemas.microsoft.com/office/drawing/2014/main" xmlns="" id="{992B311E-E784-10B5-DA84-EC2B01A714A4}"/>
              </a:ext>
            </a:extLst>
          </p:cNvPr>
          <p:cNvSpPr/>
          <p:nvPr/>
        </p:nvSpPr>
        <p:spPr>
          <a:xfrm>
            <a:off x="3457041" y="4822806"/>
            <a:ext cx="3752490" cy="1011965"/>
          </a:xfrm>
          <a:prstGeom prst="roundRect">
            <a:avLst>
              <a:gd name="adj" fmla="val 6033"/>
            </a:avLst>
          </a:prstGeom>
          <a:solidFill>
            <a:schemeClr val="bg1"/>
          </a:solidFill>
          <a:ln w="38100" cap="flat" cmpd="sng" algn="ctr">
            <a:solidFill>
              <a:srgbClr val="394098"/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394098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111-209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94098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394098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Fase 2*</a:t>
            </a: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94098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Idade:0 </a:t>
            </a:r>
            <a:r>
              <a:rPr lang="en-US" sz="1400" kern="0" dirty="0">
                <a:solidFill>
                  <a:srgbClr val="394098"/>
                </a:solidFill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94098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 ≤12 meses</a:t>
            </a:r>
          </a:p>
          <a:p>
            <a:pPr marL="91440" marR="0" lvl="0" indent="-9144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394098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Duração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94098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: 24 mes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MS PGothic"/>
              <a:cs typeface="Arial" panose="020B0604020202020204" pitchFamily="34" charset="0"/>
              <a:sym typeface="Arial"/>
            </a:endParaRPr>
          </a:p>
        </p:txBody>
      </p:sp>
      <p:sp>
        <p:nvSpPr>
          <p:cNvPr id="15" name="Rectangle: Rounded Corners 56">
            <a:extLst>
              <a:ext uri="{FF2B5EF4-FFF2-40B4-BE49-F238E27FC236}">
                <a16:creationId xmlns:a16="http://schemas.microsoft.com/office/drawing/2014/main" xmlns="" id="{8A2215C0-DED7-1313-A0FF-8E81EED9D667}"/>
              </a:ext>
            </a:extLst>
          </p:cNvPr>
          <p:cNvSpPr/>
          <p:nvPr/>
        </p:nvSpPr>
        <p:spPr>
          <a:xfrm>
            <a:off x="7559586" y="4822806"/>
            <a:ext cx="3867398" cy="1011965"/>
          </a:xfrm>
          <a:prstGeom prst="roundRect">
            <a:avLst>
              <a:gd name="adj" fmla="val 6033"/>
            </a:avLst>
          </a:prstGeom>
          <a:solidFill>
            <a:schemeClr val="bg1"/>
          </a:solidFill>
          <a:ln w="38100" cap="flat" cmpd="sng" algn="ctr">
            <a:solidFill>
              <a:srgbClr val="394098"/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 err="1">
                <a:ln>
                  <a:noFill/>
                </a:ln>
                <a:solidFill>
                  <a:srgbClr val="394098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 panose="020B0604020202020204" pitchFamily="34" charset="0"/>
                <a:sym typeface="Arial"/>
              </a:rPr>
              <a:t>Extensão</a:t>
            </a:r>
            <a:endParaRPr kumimoji="0" lang="en-US" sz="1100" b="0" i="1" u="none" strike="noStrike" kern="0" cap="none" spc="0" normalizeH="0" baseline="0" noProof="0" dirty="0">
              <a:ln>
                <a:noFill/>
              </a:ln>
              <a:solidFill>
                <a:srgbClr val="394098"/>
              </a:solidFill>
              <a:effectLst/>
              <a:uLnTx/>
              <a:uFillTx/>
              <a:latin typeface="Aptos" panose="020B0004020202020204" pitchFamily="34" charset="0"/>
              <a:ea typeface="MS PGothic"/>
              <a:cs typeface="Arial" panose="020B0604020202020204" pitchFamily="34" charset="0"/>
              <a:sym typeface="Arial"/>
            </a:endParaRPr>
          </a:p>
          <a:p>
            <a:pPr marR="0" lvl="0" algn="l" defTabSz="4572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394098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Duração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94098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: ≤ 3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394098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ano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394098"/>
              </a:solidFill>
              <a:effectLst/>
              <a:uLnTx/>
              <a:uFillTx/>
              <a:latin typeface="Aptos" panose="020B0004020202020204" pitchFamily="34" charset="0"/>
              <a:ea typeface="Geneva" charset="-128"/>
              <a:cs typeface="Arial" panose="020B0604020202020204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394098"/>
              </a:solidFill>
              <a:effectLst/>
              <a:uLnTx/>
              <a:uFillTx/>
              <a:latin typeface="Aptos" panose="020B0004020202020204" pitchFamily="34" charset="0"/>
              <a:ea typeface="MS PGothic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xmlns="" id="{7C0D90DB-D5B2-E2A8-84C9-6164E53DE11A}"/>
              </a:ext>
            </a:extLst>
          </p:cNvPr>
          <p:cNvCxnSpPr>
            <a:cxnSpLocks/>
            <a:stCxn id="12" idx="1"/>
            <a:endCxn id="8" idx="3"/>
          </p:cNvCxnSpPr>
          <p:nvPr/>
        </p:nvCxnSpPr>
        <p:spPr>
          <a:xfrm flipH="1">
            <a:off x="7193274" y="3097608"/>
            <a:ext cx="366313" cy="1032"/>
          </a:xfrm>
          <a:prstGeom prst="straightConnector1">
            <a:avLst/>
          </a:prstGeom>
          <a:noFill/>
          <a:ln w="57150" cap="flat" cmpd="sng" algn="ctr">
            <a:noFill/>
            <a:prstDash val="solid"/>
            <a:headEnd type="triangle"/>
            <a:tailEnd type="non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xmlns="" id="{69F01E31-4C08-22ED-AF25-F0B8FF3CEB9E}"/>
              </a:ext>
            </a:extLst>
          </p:cNvPr>
          <p:cNvCxnSpPr>
            <a:cxnSpLocks/>
            <a:stCxn id="13" idx="1"/>
            <a:endCxn id="9" idx="3"/>
          </p:cNvCxnSpPr>
          <p:nvPr/>
        </p:nvCxnSpPr>
        <p:spPr>
          <a:xfrm flipH="1">
            <a:off x="7195694" y="4209201"/>
            <a:ext cx="363892" cy="4514"/>
          </a:xfrm>
          <a:prstGeom prst="straightConnector1">
            <a:avLst/>
          </a:prstGeom>
          <a:noFill/>
          <a:ln w="57150" cap="flat" cmpd="sng" algn="ctr">
            <a:noFill/>
            <a:prstDash val="solid"/>
            <a:headEnd type="triangle"/>
            <a:tailEnd type="non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xmlns="" id="{AD68C07C-D308-19C4-CCA8-85775F9B41F9}"/>
              </a:ext>
            </a:extLst>
          </p:cNvPr>
          <p:cNvCxnSpPr>
            <a:cxnSpLocks/>
            <a:stCxn id="15" idx="1"/>
            <a:endCxn id="14" idx="3"/>
          </p:cNvCxnSpPr>
          <p:nvPr/>
        </p:nvCxnSpPr>
        <p:spPr>
          <a:xfrm flipH="1">
            <a:off x="7209531" y="5328789"/>
            <a:ext cx="350055" cy="0"/>
          </a:xfrm>
          <a:prstGeom prst="straightConnector1">
            <a:avLst/>
          </a:prstGeom>
          <a:noFill/>
          <a:ln w="57150" cap="flat" cmpd="sng" algn="ctr">
            <a:noFill/>
            <a:prstDash val="solid"/>
            <a:headEnd type="triangle"/>
            <a:tailEnd type="non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xmlns="" id="{5AFCCD39-A386-1197-50C3-D2831851B1DE}"/>
              </a:ext>
            </a:extLst>
          </p:cNvPr>
          <p:cNvCxnSpPr>
            <a:cxnSpLocks/>
            <a:stCxn id="7" idx="1"/>
          </p:cNvCxnSpPr>
          <p:nvPr/>
        </p:nvCxnSpPr>
        <p:spPr>
          <a:xfrm flipH="1">
            <a:off x="2916382" y="1993205"/>
            <a:ext cx="526821" cy="59394"/>
          </a:xfrm>
          <a:prstGeom prst="straightConnector1">
            <a:avLst/>
          </a:prstGeom>
          <a:noFill/>
          <a:ln w="57150" cap="flat" cmpd="sng" algn="ctr">
            <a:noFill/>
            <a:prstDash val="solid"/>
            <a:headEnd type="triangle"/>
            <a:tailEnd type="non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xmlns="" id="{AC047482-B7CA-FDE9-E5FD-0E745F56B09C}"/>
              </a:ext>
            </a:extLst>
          </p:cNvPr>
          <p:cNvCxnSpPr>
            <a:cxnSpLocks/>
            <a:stCxn id="8" idx="1"/>
          </p:cNvCxnSpPr>
          <p:nvPr/>
        </p:nvCxnSpPr>
        <p:spPr>
          <a:xfrm flipH="1">
            <a:off x="2737482" y="3098640"/>
            <a:ext cx="705721" cy="61022"/>
          </a:xfrm>
          <a:prstGeom prst="straightConnector1">
            <a:avLst/>
          </a:prstGeom>
          <a:noFill/>
          <a:ln w="57150" cap="flat" cmpd="sng" algn="ctr">
            <a:noFill/>
            <a:prstDash val="solid"/>
            <a:headEnd type="triangle"/>
            <a:tailEnd type="non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xmlns="" id="{2D2C1CF1-C0F5-FC35-5B6E-3E77AE6A1010}"/>
              </a:ext>
            </a:extLst>
          </p:cNvPr>
          <p:cNvCxnSpPr>
            <a:cxnSpLocks/>
            <a:stCxn id="9" idx="1"/>
          </p:cNvCxnSpPr>
          <p:nvPr/>
        </p:nvCxnSpPr>
        <p:spPr>
          <a:xfrm flipH="1">
            <a:off x="2868112" y="4213715"/>
            <a:ext cx="575092" cy="47643"/>
          </a:xfrm>
          <a:prstGeom prst="straightConnector1">
            <a:avLst/>
          </a:prstGeom>
          <a:noFill/>
          <a:ln w="57150" cap="flat" cmpd="sng" algn="ctr">
            <a:noFill/>
            <a:prstDash val="solid"/>
            <a:headEnd type="triangle"/>
            <a:tailEnd type="non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xmlns="" id="{D8CF8BBF-364B-BE11-D297-158E8CBB5843}"/>
              </a:ext>
            </a:extLst>
          </p:cNvPr>
          <p:cNvCxnSpPr>
            <a:cxnSpLocks/>
          </p:cNvCxnSpPr>
          <p:nvPr/>
        </p:nvCxnSpPr>
        <p:spPr>
          <a:xfrm>
            <a:off x="3069734" y="3080568"/>
            <a:ext cx="373470" cy="0"/>
          </a:xfrm>
          <a:prstGeom prst="straightConnector1">
            <a:avLst/>
          </a:prstGeom>
          <a:noFill/>
          <a:ln w="38100" cap="flat" cmpd="sng" algn="ctr">
            <a:solidFill>
              <a:srgbClr val="50505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xmlns="" id="{7E30C4CF-B0BE-3A9A-C838-FEC4550FA382}"/>
              </a:ext>
            </a:extLst>
          </p:cNvPr>
          <p:cNvCxnSpPr>
            <a:cxnSpLocks/>
          </p:cNvCxnSpPr>
          <p:nvPr/>
        </p:nvCxnSpPr>
        <p:spPr>
          <a:xfrm>
            <a:off x="3069733" y="4180862"/>
            <a:ext cx="373471" cy="0"/>
          </a:xfrm>
          <a:prstGeom prst="straightConnector1">
            <a:avLst/>
          </a:prstGeom>
          <a:noFill/>
          <a:ln w="38100" cap="flat" cmpd="sng" algn="ctr">
            <a:solidFill>
              <a:srgbClr val="50505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273ECCF7-7AC7-84A5-82B1-029B68C45B0A}"/>
              </a:ext>
            </a:extLst>
          </p:cNvPr>
          <p:cNvSpPr txBox="1"/>
          <p:nvPr/>
        </p:nvSpPr>
        <p:spPr>
          <a:xfrm>
            <a:off x="314264" y="4805756"/>
            <a:ext cx="316773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1440" marR="0" lvl="0" indent="-9144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*Open-label</a:t>
            </a:r>
          </a:p>
          <a:p>
            <a:pPr marL="91440" marR="0" lvl="0" indent="-9144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**Duplo-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cego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randomizado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, placebo-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ptos" panose="020B0004020202020204" pitchFamily="34" charset="0"/>
                <a:ea typeface="Geneva" charset="-128"/>
                <a:cs typeface="Arial" panose="020B0604020202020204" pitchFamily="34" charset="0"/>
                <a:sym typeface="Arial"/>
              </a:rPr>
              <a:t>controlado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ptos" panose="020B0004020202020204" pitchFamily="34" charset="0"/>
              <a:ea typeface="Geneva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25" name="Arrow: Pentagon 24">
            <a:extLst>
              <a:ext uri="{FF2B5EF4-FFF2-40B4-BE49-F238E27FC236}">
                <a16:creationId xmlns:a16="http://schemas.microsoft.com/office/drawing/2014/main" xmlns="" id="{D5954201-17E7-B892-394C-7F92481DC8B1}"/>
              </a:ext>
            </a:extLst>
          </p:cNvPr>
          <p:cNvSpPr/>
          <p:nvPr/>
        </p:nvSpPr>
        <p:spPr>
          <a:xfrm>
            <a:off x="7135149" y="1483438"/>
            <a:ext cx="366312" cy="1020125"/>
          </a:xfrm>
          <a:prstGeom prst="homePlate">
            <a:avLst/>
          </a:prstGeom>
          <a:solidFill>
            <a:schemeClr val="accent1"/>
          </a:solidFill>
          <a:ln w="63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26" name="Arrow: Pentagon 25">
            <a:extLst>
              <a:ext uri="{FF2B5EF4-FFF2-40B4-BE49-F238E27FC236}">
                <a16:creationId xmlns:a16="http://schemas.microsoft.com/office/drawing/2014/main" xmlns="" id="{2C0BA05E-990B-CD69-B0CB-360579A82BB1}"/>
              </a:ext>
            </a:extLst>
          </p:cNvPr>
          <p:cNvSpPr/>
          <p:nvPr/>
        </p:nvSpPr>
        <p:spPr>
          <a:xfrm>
            <a:off x="7149571" y="2577855"/>
            <a:ext cx="351889" cy="1047062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 w="6350" cap="flat" cmpd="sng" algn="ctr">
            <a:solidFill>
              <a:srgbClr val="6489D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27" name="Arrow: Pentagon 26">
            <a:extLst>
              <a:ext uri="{FF2B5EF4-FFF2-40B4-BE49-F238E27FC236}">
                <a16:creationId xmlns:a16="http://schemas.microsoft.com/office/drawing/2014/main" xmlns="" id="{4B4BCBDB-4D9B-B697-76CA-65345A6CA491}"/>
              </a:ext>
            </a:extLst>
          </p:cNvPr>
          <p:cNvSpPr/>
          <p:nvPr/>
        </p:nvSpPr>
        <p:spPr>
          <a:xfrm>
            <a:off x="7149571" y="3706599"/>
            <a:ext cx="351889" cy="1014984"/>
          </a:xfrm>
          <a:prstGeom prst="homePlate">
            <a:avLst/>
          </a:prstGeom>
          <a:solidFill>
            <a:srgbClr val="343C98">
              <a:lumMod val="75000"/>
            </a:srgbClr>
          </a:solidFill>
          <a:ln w="6350" cap="flat" cmpd="sng" algn="ctr">
            <a:solidFill>
              <a:srgbClr val="2C327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28" name="Arrow: Pentagon 27">
            <a:extLst>
              <a:ext uri="{FF2B5EF4-FFF2-40B4-BE49-F238E27FC236}">
                <a16:creationId xmlns:a16="http://schemas.microsoft.com/office/drawing/2014/main" xmlns="" id="{A59BD1BE-921B-2A4B-AD8D-8DA81BAD2BCB}"/>
              </a:ext>
            </a:extLst>
          </p:cNvPr>
          <p:cNvSpPr/>
          <p:nvPr/>
        </p:nvSpPr>
        <p:spPr>
          <a:xfrm>
            <a:off x="7149571" y="4819022"/>
            <a:ext cx="351889" cy="1019532"/>
          </a:xfrm>
          <a:prstGeom prst="homePlate">
            <a:avLst/>
          </a:prstGeom>
          <a:solidFill>
            <a:schemeClr val="accent6"/>
          </a:solidFill>
          <a:ln w="6350" cap="flat" cmpd="sng" algn="ctr">
            <a:solidFill>
              <a:srgbClr val="39409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Arial"/>
              <a:sym typeface="Arial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xmlns="" id="{CC866D26-73EB-49E0-6031-B670F1EF6014}"/>
              </a:ext>
            </a:extLst>
          </p:cNvPr>
          <p:cNvCxnSpPr>
            <a:cxnSpLocks/>
          </p:cNvCxnSpPr>
          <p:nvPr/>
        </p:nvCxnSpPr>
        <p:spPr>
          <a:xfrm>
            <a:off x="3069733" y="1967078"/>
            <a:ext cx="382356" cy="0"/>
          </a:xfrm>
          <a:prstGeom prst="straightConnector1">
            <a:avLst/>
          </a:prstGeom>
          <a:noFill/>
          <a:ln w="38100" cap="flat" cmpd="sng" algn="ctr">
            <a:solidFill>
              <a:srgbClr val="50505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0E967A0F-2C84-4134-DDB5-B2661F391AD9}"/>
              </a:ext>
            </a:extLst>
          </p:cNvPr>
          <p:cNvSpPr txBox="1"/>
          <p:nvPr/>
        </p:nvSpPr>
        <p:spPr>
          <a:xfrm>
            <a:off x="482885" y="6276545"/>
            <a:ext cx="11524442" cy="184666"/>
          </a:xfrm>
          <a:prstGeom prst="rect">
            <a:avLst/>
          </a:prstGeom>
        </p:spPr>
        <p:txBody>
          <a:bodyPr wrap="square" tIns="0" bIns="0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</a:rPr>
              <a:t>1. </a:t>
            </a: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clinicaltrials.gov/show/NCT03989947</a:t>
            </a: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</a:rPr>
              <a:t>.</a:t>
            </a: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</a:rPr>
              <a:t> 2. </a:t>
            </a: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clinicaltrials.gov/show/NCT01603095.</a:t>
            </a: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</a:rPr>
              <a:t> 3. </a:t>
            </a: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clinicaltrials.gov/show/NCT02055157</a:t>
            </a: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</a:rPr>
              <a:t>. </a:t>
            </a: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</a:rPr>
              <a:t>4. </a:t>
            </a: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clinicaltrials.gov/show/NCT02724228</a:t>
            </a: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</a:rPr>
              <a:t>. 5.</a:t>
            </a: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clinicaltrials.gov/show/NCT03583697</a:t>
            </a: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</a:rPr>
              <a:t>. </a:t>
            </a: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</a:rPr>
              <a:t>6. </a:t>
            </a: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  <a:hlinkClick r:id="rId8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clinicaltrials.gov/ct2/show/NCT03197766</a:t>
            </a: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</a:rPr>
              <a:t>. </a:t>
            </a:r>
            <a:r>
              <a:rPr kumimoji="0" lang="en-GB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</a:rPr>
              <a:t>7. </a:t>
            </a:r>
            <a:r>
              <a:rPr kumimoji="0" lang="en-GB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  <a:hlinkClick r:id="rId9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clinicaltrials.gov/ct2/show/NCT03424018</a:t>
            </a:r>
            <a:r>
              <a:rPr kumimoji="0" lang="en-GB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</a:rPr>
              <a:t>. 8. </a:t>
            </a:r>
            <a:r>
              <a:rPr kumimoji="0" lang="en-GB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  <a:hlinkClick r:id="rId10"/>
              </a:rPr>
              <a:t>https://clinicaltrials.gov/ct2/show/NCT04554940 /</a:t>
            </a:r>
            <a:r>
              <a:rPr kumimoji="0" lang="en-GB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</a:rPr>
              <a:t> BioMarin Data on File  9. </a:t>
            </a:r>
            <a:r>
              <a:rPr kumimoji="0" lang="en-GB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  <a:hlinkClick r:id="rId11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clinicaltrials.gov/ct2/show/NCT03872531</a:t>
            </a:r>
            <a:r>
              <a:rPr kumimoji="0" lang="en-GB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</a:rPr>
              <a:t>. 10.</a:t>
            </a:r>
            <a:r>
              <a:rPr kumimoji="0" lang="en-GB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  <a:hlinkClick r:id="rId1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clinicaltrials.gov/ct2/show/NCT03449368</a:t>
            </a:r>
            <a:r>
              <a:rPr kumimoji="0" lang="en-GB" sz="600" b="0" i="0" u="none" strike="noStrike" kern="0" cap="none" spc="0" normalizeH="0" baseline="0" noProof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ptos" panose="020B0004020202020204" pitchFamily="34" charset="0"/>
                <a:ea typeface="MS PGothic"/>
                <a:cs typeface="Arial"/>
                <a:sym typeface="Arial"/>
              </a:rPr>
              <a:t>.  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C51BD4B6-C396-373F-CEB0-69976F6A381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21129" y="2449232"/>
            <a:ext cx="2351724" cy="1307522"/>
          </a:xfrm>
          <a:prstGeom prst="rect">
            <a:avLst/>
          </a:prstGeom>
        </p:spPr>
      </p:pic>
      <p:pic>
        <p:nvPicPr>
          <p:cNvPr id="32" name="Picture 31" descr="A logo for a study&#10;&#10;Description automatically generated">
            <a:extLst>
              <a:ext uri="{FF2B5EF4-FFF2-40B4-BE49-F238E27FC236}">
                <a16:creationId xmlns:a16="http://schemas.microsoft.com/office/drawing/2014/main" xmlns="" id="{D661F84D-7819-ACE8-A691-F2A6536F744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77594" y="3168663"/>
            <a:ext cx="2911084" cy="1618518"/>
          </a:xfrm>
          <a:prstGeom prst="rect">
            <a:avLst/>
          </a:prstGeom>
        </p:spPr>
      </p:pic>
      <p:pic>
        <p:nvPicPr>
          <p:cNvPr id="33" name="Picture 32" descr="A logo for a company&#10;&#10;Description automatically generated">
            <a:extLst>
              <a:ext uri="{FF2B5EF4-FFF2-40B4-BE49-F238E27FC236}">
                <a16:creationId xmlns:a16="http://schemas.microsoft.com/office/drawing/2014/main" xmlns="" id="{202932A0-F2A4-8313-6518-E1673A1C3F6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973031" y="1372408"/>
            <a:ext cx="2350800" cy="1307009"/>
          </a:xfrm>
          <a:prstGeom prst="rect">
            <a:avLst/>
          </a:prstGeom>
        </p:spPr>
      </p:pic>
      <p:pic>
        <p:nvPicPr>
          <p:cNvPr id="34" name="Picture 33" descr="A logo for a company&#10;&#10;Description automatically generated">
            <a:extLst>
              <a:ext uri="{FF2B5EF4-FFF2-40B4-BE49-F238E27FC236}">
                <a16:creationId xmlns:a16="http://schemas.microsoft.com/office/drawing/2014/main" xmlns="" id="{AB0684DC-7398-55A9-8EC6-85CD7C052E2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205304" y="1352041"/>
            <a:ext cx="2340000" cy="1301004"/>
          </a:xfrm>
          <a:prstGeom prst="rect">
            <a:avLst/>
          </a:prstGeom>
        </p:spPr>
      </p:pic>
      <p:pic>
        <p:nvPicPr>
          <p:cNvPr id="35" name="Picture 34" descr="A logo for a company&#10;&#10;Description automatically generated">
            <a:extLst>
              <a:ext uri="{FF2B5EF4-FFF2-40B4-BE49-F238E27FC236}">
                <a16:creationId xmlns:a16="http://schemas.microsoft.com/office/drawing/2014/main" xmlns="" id="{F134FC31-3E1D-F436-DFF4-7D7C8A4E75C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126595" y="4675024"/>
            <a:ext cx="2165888" cy="1204201"/>
          </a:xfrm>
          <a:prstGeom prst="rect">
            <a:avLst/>
          </a:prstGeom>
        </p:spPr>
      </p:pic>
      <p:pic>
        <p:nvPicPr>
          <p:cNvPr id="36" name="Picture 35" descr="A logo for a company&#10;&#10;Description automatically generated">
            <a:extLst>
              <a:ext uri="{FF2B5EF4-FFF2-40B4-BE49-F238E27FC236}">
                <a16:creationId xmlns:a16="http://schemas.microsoft.com/office/drawing/2014/main" xmlns="" id="{B0F25A1A-EF18-4434-C0DF-CB450584546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034061" y="3579062"/>
            <a:ext cx="2301497" cy="1279597"/>
          </a:xfrm>
          <a:prstGeom prst="rect">
            <a:avLst/>
          </a:prstGeom>
        </p:spPr>
      </p:pic>
      <p:pic>
        <p:nvPicPr>
          <p:cNvPr id="37" name="Picture 36" descr="A logo for a company&#10;&#10;Description automatically generated">
            <a:extLst>
              <a:ext uri="{FF2B5EF4-FFF2-40B4-BE49-F238E27FC236}">
                <a16:creationId xmlns:a16="http://schemas.microsoft.com/office/drawing/2014/main" xmlns="" id="{BB7DB4DC-9027-0E75-E836-613DBACEF17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205303" y="2467448"/>
            <a:ext cx="2340000" cy="1301004"/>
          </a:xfrm>
          <a:prstGeom prst="rect">
            <a:avLst/>
          </a:prstGeom>
        </p:spPr>
      </p:pic>
      <p:pic>
        <p:nvPicPr>
          <p:cNvPr id="38" name="Picture 37" descr="A logo for a company&#10;&#10;Description automatically generated">
            <a:extLst>
              <a:ext uri="{FF2B5EF4-FFF2-40B4-BE49-F238E27FC236}">
                <a16:creationId xmlns:a16="http://schemas.microsoft.com/office/drawing/2014/main" xmlns="" id="{12F7E9C1-826C-E9EE-E676-3B0BFCCB466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208714" y="3514427"/>
            <a:ext cx="2340000" cy="1301004"/>
          </a:xfrm>
          <a:prstGeom prst="rect">
            <a:avLst/>
          </a:prstGeom>
        </p:spPr>
      </p:pic>
      <p:pic>
        <p:nvPicPr>
          <p:cNvPr id="39" name="Graphic 38" descr="Checkmark with solid fill">
            <a:extLst>
              <a:ext uri="{FF2B5EF4-FFF2-40B4-BE49-F238E27FC236}">
                <a16:creationId xmlns:a16="http://schemas.microsoft.com/office/drawing/2014/main" xmlns="" id="{A4C448C9-8CDD-1687-62A8-F93637F71D0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6097121" y="1318882"/>
            <a:ext cx="914400" cy="914400"/>
          </a:xfrm>
          <a:prstGeom prst="rect">
            <a:avLst/>
          </a:prstGeom>
        </p:spPr>
      </p:pic>
      <p:pic>
        <p:nvPicPr>
          <p:cNvPr id="40" name="Graphic 39" descr="Checkmark with solid fill">
            <a:extLst>
              <a:ext uri="{FF2B5EF4-FFF2-40B4-BE49-F238E27FC236}">
                <a16:creationId xmlns:a16="http://schemas.microsoft.com/office/drawing/2014/main" xmlns="" id="{A75A6AC2-4644-5FD9-3788-6A133B9F086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6107909" y="2424451"/>
            <a:ext cx="914400" cy="914400"/>
          </a:xfrm>
          <a:prstGeom prst="rect">
            <a:avLst/>
          </a:prstGeom>
        </p:spPr>
      </p:pic>
      <p:pic>
        <p:nvPicPr>
          <p:cNvPr id="41" name="Graphic 40" descr="Checkmark with solid fill">
            <a:extLst>
              <a:ext uri="{FF2B5EF4-FFF2-40B4-BE49-F238E27FC236}">
                <a16:creationId xmlns:a16="http://schemas.microsoft.com/office/drawing/2014/main" xmlns="" id="{401353F2-EE44-8D78-EE33-E58D77AE4B5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6120101" y="3553369"/>
            <a:ext cx="914400" cy="914400"/>
          </a:xfrm>
          <a:prstGeom prst="rect">
            <a:avLst/>
          </a:prstGeom>
        </p:spPr>
      </p:pic>
      <p:pic>
        <p:nvPicPr>
          <p:cNvPr id="42" name="Graphic 41" descr="Checkmark with solid fill">
            <a:extLst>
              <a:ext uri="{FF2B5EF4-FFF2-40B4-BE49-F238E27FC236}">
                <a16:creationId xmlns:a16="http://schemas.microsoft.com/office/drawing/2014/main" xmlns="" id="{71A62889-C57C-48D4-19AC-6D1A1353E67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2177478" y="1444486"/>
            <a:ext cx="827483" cy="827483"/>
          </a:xfrm>
          <a:prstGeom prst="rect">
            <a:avLst/>
          </a:prstGeom>
        </p:spPr>
      </p:pic>
      <p:pic>
        <p:nvPicPr>
          <p:cNvPr id="43" name="Graphic 42" descr="Arrow circle with solid fill">
            <a:extLst>
              <a:ext uri="{FF2B5EF4-FFF2-40B4-BE49-F238E27FC236}">
                <a16:creationId xmlns:a16="http://schemas.microsoft.com/office/drawing/2014/main" xmlns="" id="{6542F842-33F4-E806-F8F3-668A8F2D3F2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10593835" y="1354026"/>
            <a:ext cx="914400" cy="914400"/>
          </a:xfrm>
          <a:prstGeom prst="rect">
            <a:avLst/>
          </a:prstGeom>
        </p:spPr>
      </p:pic>
      <p:pic>
        <p:nvPicPr>
          <p:cNvPr id="44" name="Graphic 43" descr="Arrow circle with solid fill">
            <a:extLst>
              <a:ext uri="{FF2B5EF4-FFF2-40B4-BE49-F238E27FC236}">
                <a16:creationId xmlns:a16="http://schemas.microsoft.com/office/drawing/2014/main" xmlns="" id="{C37290C6-4418-840A-2978-5327C9E895A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10630903" y="2498968"/>
            <a:ext cx="914400" cy="914400"/>
          </a:xfrm>
          <a:prstGeom prst="rect">
            <a:avLst/>
          </a:prstGeom>
        </p:spPr>
      </p:pic>
      <p:pic>
        <p:nvPicPr>
          <p:cNvPr id="45" name="Graphic 44" descr="Arrow circle with solid fill">
            <a:extLst>
              <a:ext uri="{FF2B5EF4-FFF2-40B4-BE49-F238E27FC236}">
                <a16:creationId xmlns:a16="http://schemas.microsoft.com/office/drawing/2014/main" xmlns="" id="{9E2607A1-B8A1-578C-961E-7508270BF0B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10623540" y="3542211"/>
            <a:ext cx="914400" cy="914400"/>
          </a:xfrm>
          <a:prstGeom prst="rect">
            <a:avLst/>
          </a:prstGeom>
        </p:spPr>
      </p:pic>
      <p:pic>
        <p:nvPicPr>
          <p:cNvPr id="46" name="Graphic 45" descr="Arrow circle with solid fill">
            <a:extLst>
              <a:ext uri="{FF2B5EF4-FFF2-40B4-BE49-F238E27FC236}">
                <a16:creationId xmlns:a16="http://schemas.microsoft.com/office/drawing/2014/main" xmlns="" id="{AD484F21-6BFF-8699-07C4-446462E1685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6353257" y="4675024"/>
            <a:ext cx="914400" cy="914400"/>
          </a:xfrm>
          <a:prstGeom prst="rect">
            <a:avLst/>
          </a:prstGeom>
        </p:spPr>
      </p:pic>
      <p:pic>
        <p:nvPicPr>
          <p:cNvPr id="47" name="Picture 46" descr="A logo with a pink tree and blue text&#10;&#10;Description automatically generated">
            <a:extLst>
              <a:ext uri="{FF2B5EF4-FFF2-40B4-BE49-F238E27FC236}">
                <a16:creationId xmlns:a16="http://schemas.microsoft.com/office/drawing/2014/main" xmlns="" id="{BC9FBD1C-284D-8533-7410-E04C9F11EF77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654026" y="492965"/>
            <a:ext cx="1441155" cy="767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5120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7A29303D-EA99-DFC9-85BF-35A85DC415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37584B91-E3B2-F5D8-1E8E-D2403E8B91DA}"/>
              </a:ext>
            </a:extLst>
          </p:cNvPr>
          <p:cNvSpPr txBox="1"/>
          <p:nvPr/>
        </p:nvSpPr>
        <p:spPr>
          <a:xfrm>
            <a:off x="259011" y="82963"/>
            <a:ext cx="1160230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pt-BR" sz="2800" b="1" dirty="0"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A Velocidade de Crescimento Anual (VCA) foi consistentemente maior com vosoritida, aproximando-se da estatura média até a puberdade (≥5 anos de idade)</a:t>
            </a:r>
            <a:endParaRPr kumimoji="1" lang="en-US" sz="2800" b="1" dirty="0">
              <a:gradFill flip="none" rotWithShape="1">
                <a:gsLst>
                  <a:gs pos="100000">
                    <a:srgbClr val="343C98"/>
                  </a:gs>
                  <a:gs pos="0">
                    <a:srgbClr val="A9208E"/>
                  </a:gs>
                </a:gsLst>
                <a:lin ang="10800000" scaled="1"/>
                <a:tileRect/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DCBBF241-FF33-44C4-F47C-9A6BE33512E0}"/>
              </a:ext>
            </a:extLst>
          </p:cNvPr>
          <p:cNvSpPr txBox="1"/>
          <p:nvPr/>
        </p:nvSpPr>
        <p:spPr>
          <a:xfrm>
            <a:off x="334657" y="1505281"/>
            <a:ext cx="5819614" cy="3877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20" b="0" i="0" u="none" strike="noStrike" kern="1200" spc="0" baseline="0">
                <a:solidFill>
                  <a:srgbClr val="44546A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92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</a:rPr>
              <a:t>VCA </a:t>
            </a:r>
            <a:r>
              <a:rPr kumimoji="0" lang="en-US" sz="192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</a:rPr>
              <a:t>em</a:t>
            </a:r>
            <a:r>
              <a:rPr kumimoji="0" lang="en-US" sz="192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</a:rPr>
              <a:t> </a:t>
            </a:r>
            <a:r>
              <a:rPr kumimoji="0" lang="en-US" sz="192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</a:rPr>
              <a:t>meninos</a:t>
            </a:r>
            <a:r>
              <a:rPr kumimoji="0" lang="en-US" sz="192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</a:rPr>
              <a:t> </a:t>
            </a:r>
            <a:r>
              <a:rPr kumimoji="0" lang="en-US" sz="192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</a:rPr>
              <a:t>(4-anos de </a:t>
            </a:r>
            <a:r>
              <a:rPr lang="en-US" sz="192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/>
              </a:rPr>
              <a:t>A</a:t>
            </a:r>
            <a:r>
              <a:rPr kumimoji="0" lang="en-US" sz="192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</a:rPr>
              <a:t>companhamento</a:t>
            </a:r>
            <a:r>
              <a:rPr kumimoji="0" lang="en-US" sz="192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</a:rPr>
              <a:t>)</a:t>
            </a:r>
            <a:r>
              <a:rPr kumimoji="0" lang="en-US" sz="1920" b="0" i="0" u="none" strike="noStrike" kern="1200" cap="none" spc="0" normalizeH="0" baseline="30000" noProof="0" dirty="0">
                <a:ln>
                  <a:noFill/>
                </a:ln>
                <a:solidFill>
                  <a:schemeClr val="accent6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</a:rPr>
              <a:t>1</a:t>
            </a:r>
            <a:endParaRPr kumimoji="0" lang="en-US" sz="1920" b="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50000"/>
                  <a:lumOff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A10E82F0-8471-B40C-EEF8-A7A372A150B1}"/>
              </a:ext>
            </a:extLst>
          </p:cNvPr>
          <p:cNvSpPr txBox="1"/>
          <p:nvPr/>
        </p:nvSpPr>
        <p:spPr>
          <a:xfrm>
            <a:off x="6335620" y="1500826"/>
            <a:ext cx="5856380" cy="3877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20" b="0" i="0" u="none" strike="noStrike" kern="1200" spc="0" baseline="0">
                <a:solidFill>
                  <a:srgbClr val="44546A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920" b="1" i="0" u="none" strike="noStrike" kern="1200" cap="none" spc="0" normalizeH="0" baseline="0" noProof="0" dirty="0">
                <a:ln>
                  <a:noFill/>
                </a:ln>
                <a:solidFill>
                  <a:srgbClr val="CB007B"/>
                </a:solidFill>
                <a:effectLst/>
                <a:uLnTx/>
                <a:uFillTx/>
                <a:latin typeface="Arial"/>
              </a:rPr>
              <a:t>VCA </a:t>
            </a:r>
            <a:r>
              <a:rPr kumimoji="0" lang="en-US" sz="1920" b="1" i="0" u="none" strike="noStrike" kern="1200" cap="none" spc="0" normalizeH="0" baseline="0" noProof="0" dirty="0" err="1">
                <a:ln>
                  <a:noFill/>
                </a:ln>
                <a:solidFill>
                  <a:srgbClr val="CB007B"/>
                </a:solidFill>
                <a:effectLst/>
                <a:uLnTx/>
                <a:uFillTx/>
                <a:latin typeface="Arial"/>
              </a:rPr>
              <a:t>em</a:t>
            </a:r>
            <a:r>
              <a:rPr kumimoji="0" lang="en-US" sz="1920" b="1" i="0" u="none" strike="noStrike" kern="1200" cap="none" spc="0" normalizeH="0" baseline="0" noProof="0" dirty="0">
                <a:ln>
                  <a:noFill/>
                </a:ln>
                <a:solidFill>
                  <a:srgbClr val="CB007B"/>
                </a:solidFill>
                <a:effectLst/>
                <a:uLnTx/>
                <a:uFillTx/>
                <a:latin typeface="Arial"/>
              </a:rPr>
              <a:t> Meninas </a:t>
            </a:r>
            <a:r>
              <a:rPr kumimoji="0" lang="en-US" sz="1920" b="0" i="0" u="none" strike="noStrike" kern="1200" cap="none" spc="0" normalizeH="0" baseline="0" noProof="0" dirty="0">
                <a:ln>
                  <a:noFill/>
                </a:ln>
                <a:solidFill>
                  <a:srgbClr val="CB007B"/>
                </a:solidFill>
                <a:effectLst/>
                <a:uLnTx/>
                <a:uFillTx/>
                <a:latin typeface="Arial"/>
              </a:rPr>
              <a:t>(4 </a:t>
            </a:r>
            <a:r>
              <a:rPr kumimoji="0" lang="en-US" sz="1920" b="0" i="0" u="none" strike="noStrike" kern="1200" cap="none" spc="0" normalizeH="0" baseline="0" noProof="0" dirty="0" err="1">
                <a:ln>
                  <a:noFill/>
                </a:ln>
                <a:solidFill>
                  <a:srgbClr val="CB007B"/>
                </a:solidFill>
                <a:effectLst/>
                <a:uLnTx/>
                <a:uFillTx/>
                <a:latin typeface="Arial"/>
              </a:rPr>
              <a:t>anos</a:t>
            </a:r>
            <a:r>
              <a:rPr kumimoji="0" lang="en-US" sz="1920" b="0" i="0" u="none" strike="noStrike" kern="1200" cap="none" spc="0" normalizeH="0" baseline="0" noProof="0" dirty="0">
                <a:ln>
                  <a:noFill/>
                </a:ln>
                <a:solidFill>
                  <a:srgbClr val="CB007B"/>
                </a:solidFill>
                <a:effectLst/>
                <a:uLnTx/>
                <a:uFillTx/>
                <a:latin typeface="Arial"/>
              </a:rPr>
              <a:t> de </a:t>
            </a:r>
            <a:r>
              <a:rPr lang="en-US" sz="1920" dirty="0">
                <a:solidFill>
                  <a:srgbClr val="CB007B"/>
                </a:solidFill>
                <a:latin typeface="Arial"/>
              </a:rPr>
              <a:t>A</a:t>
            </a:r>
            <a:r>
              <a:rPr kumimoji="0" lang="en-US" sz="1920" b="0" i="0" u="none" strike="noStrike" kern="1200" cap="none" spc="0" normalizeH="0" baseline="0" noProof="0" dirty="0" err="1">
                <a:ln>
                  <a:noFill/>
                </a:ln>
                <a:solidFill>
                  <a:srgbClr val="CB007B"/>
                </a:solidFill>
                <a:effectLst/>
                <a:uLnTx/>
                <a:uFillTx/>
                <a:latin typeface="Arial"/>
              </a:rPr>
              <a:t>companhamento</a:t>
            </a:r>
            <a:r>
              <a:rPr kumimoji="0" lang="en-US" sz="1920" b="0" i="0" u="none" strike="noStrike" kern="1200" cap="none" spc="0" normalizeH="0" baseline="0" noProof="0" dirty="0">
                <a:ln>
                  <a:noFill/>
                </a:ln>
                <a:solidFill>
                  <a:srgbClr val="CB007B"/>
                </a:solidFill>
                <a:effectLst/>
                <a:uLnTx/>
                <a:uFillTx/>
                <a:latin typeface="Arial"/>
              </a:rPr>
              <a:t>)</a:t>
            </a:r>
            <a:r>
              <a:rPr kumimoji="0" lang="en-US" sz="1920" b="0" i="0" u="none" strike="noStrike" kern="1200" cap="none" spc="0" normalizeH="0" baseline="30000" noProof="0" dirty="0">
                <a:ln>
                  <a:noFill/>
                </a:ln>
                <a:solidFill>
                  <a:srgbClr val="CB007B"/>
                </a:solidFill>
                <a:effectLst/>
                <a:uLnTx/>
                <a:uFillTx/>
                <a:latin typeface="Arial"/>
              </a:rPr>
              <a:t>1</a:t>
            </a:r>
            <a:endParaRPr kumimoji="0" lang="en-US" sz="1920" b="0" i="0" u="none" strike="noStrike" kern="1200" cap="none" spc="0" normalizeH="0" baseline="0" noProof="0" dirty="0">
              <a:ln>
                <a:noFill/>
              </a:ln>
              <a:solidFill>
                <a:srgbClr val="CB007B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43D5F840-EDCF-3FCF-5954-1B4672AB1E6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grayscl/>
          </a:blip>
          <a:srcRect l="381" t="85817" r="8707"/>
          <a:stretch/>
        </p:blipFill>
        <p:spPr>
          <a:xfrm>
            <a:off x="264258" y="5069630"/>
            <a:ext cx="5419074" cy="510999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9230EB3C-2DEA-40F9-DC6C-ADC1DA6EE1DE}"/>
              </a:ext>
            </a:extLst>
          </p:cNvPr>
          <p:cNvGrpSpPr/>
          <p:nvPr/>
        </p:nvGrpSpPr>
        <p:grpSpPr>
          <a:xfrm>
            <a:off x="6123611" y="2323444"/>
            <a:ext cx="5440472" cy="2209399"/>
            <a:chOff x="6012027" y="1369865"/>
            <a:chExt cx="5440472" cy="220939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xmlns="" id="{D83A27DF-80FE-F77F-06C0-1EFFA6C7851A}"/>
                </a:ext>
              </a:extLst>
            </p:cNvPr>
            <p:cNvGrpSpPr/>
            <p:nvPr/>
          </p:nvGrpSpPr>
          <p:grpSpPr>
            <a:xfrm>
              <a:off x="10461812" y="1369865"/>
              <a:ext cx="990687" cy="2203203"/>
              <a:chOff x="10461812" y="1369865"/>
              <a:chExt cx="990687" cy="2203203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xmlns="" id="{4F8E2ABF-0190-A079-64A0-DE5EC08F3AA7}"/>
                  </a:ext>
                </a:extLst>
              </p:cNvPr>
              <p:cNvSpPr/>
              <p:nvPr/>
            </p:nvSpPr>
            <p:spPr>
              <a:xfrm>
                <a:off x="11225515" y="3405855"/>
                <a:ext cx="209320" cy="167213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xmlns="" id="{967B94C2-80DB-9A15-4DA2-1754DAA4D4BF}"/>
                  </a:ext>
                </a:extLst>
              </p:cNvPr>
              <p:cNvSpPr/>
              <p:nvPr/>
            </p:nvSpPr>
            <p:spPr>
              <a:xfrm>
                <a:off x="10461812" y="1369865"/>
                <a:ext cx="990687" cy="580102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xmlns="" id="{A7857EF4-BC29-FB9F-FE7F-D4186ED448FF}"/>
                </a:ext>
              </a:extLst>
            </p:cNvPr>
            <p:cNvSpPr txBox="1"/>
            <p:nvPr/>
          </p:nvSpPr>
          <p:spPr>
            <a:xfrm rot="16200000">
              <a:off x="5130328" y="2296384"/>
              <a:ext cx="2164579" cy="401181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 anchor="b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</a:rPr>
                <a:t>Mean AGV (cm/year)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</a:endParaRPr>
            </a:p>
          </p:txBody>
        </p:sp>
      </p:grpSp>
      <p:pic>
        <p:nvPicPr>
          <p:cNvPr id="319" name="Picture 318">
            <a:extLst>
              <a:ext uri="{FF2B5EF4-FFF2-40B4-BE49-F238E27FC236}">
                <a16:creationId xmlns:a16="http://schemas.microsoft.com/office/drawing/2014/main" xmlns="" id="{233B91FC-8B1A-D0ED-7A45-33C28AE9552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grayscl/>
          </a:blip>
          <a:srcRect t="85492" r="7091"/>
          <a:stretch/>
        </p:blipFill>
        <p:spPr>
          <a:xfrm>
            <a:off x="5835614" y="5078662"/>
            <a:ext cx="5506076" cy="492936"/>
          </a:xfrm>
          <a:prstGeom prst="rect">
            <a:avLst/>
          </a:prstGeom>
        </p:spPr>
      </p:pic>
      <p:grpSp>
        <p:nvGrpSpPr>
          <p:cNvPr id="321" name="Group 320">
            <a:extLst>
              <a:ext uri="{FF2B5EF4-FFF2-40B4-BE49-F238E27FC236}">
                <a16:creationId xmlns:a16="http://schemas.microsoft.com/office/drawing/2014/main" xmlns="" id="{33297AEF-E4E7-1081-D27F-EA35A873B01F}"/>
              </a:ext>
            </a:extLst>
          </p:cNvPr>
          <p:cNvGrpSpPr/>
          <p:nvPr/>
        </p:nvGrpSpPr>
        <p:grpSpPr>
          <a:xfrm>
            <a:off x="5835614" y="2171044"/>
            <a:ext cx="5576069" cy="2962481"/>
            <a:chOff x="5901556" y="2377663"/>
            <a:chExt cx="5576069" cy="2962481"/>
          </a:xfrm>
        </p:grpSpPr>
        <p:grpSp>
          <p:nvGrpSpPr>
            <p:cNvPr id="322" name="Group 321">
              <a:extLst>
                <a:ext uri="{FF2B5EF4-FFF2-40B4-BE49-F238E27FC236}">
                  <a16:creationId xmlns:a16="http://schemas.microsoft.com/office/drawing/2014/main" xmlns="" id="{B13C4393-135C-46D6-C78A-9D0008B08909}"/>
                </a:ext>
              </a:extLst>
            </p:cNvPr>
            <p:cNvGrpSpPr/>
            <p:nvPr/>
          </p:nvGrpSpPr>
          <p:grpSpPr>
            <a:xfrm>
              <a:off x="5901556" y="2377663"/>
              <a:ext cx="5576069" cy="2962481"/>
              <a:chOff x="5876430" y="1369865"/>
              <a:chExt cx="5576069" cy="2962481"/>
            </a:xfrm>
          </p:grpSpPr>
          <p:grpSp>
            <p:nvGrpSpPr>
              <p:cNvPr id="324" name="Group 323">
                <a:extLst>
                  <a:ext uri="{FF2B5EF4-FFF2-40B4-BE49-F238E27FC236}">
                    <a16:creationId xmlns:a16="http://schemas.microsoft.com/office/drawing/2014/main" xmlns="" id="{0591E929-5D32-918D-2183-7E2FA5338C95}"/>
                  </a:ext>
                </a:extLst>
              </p:cNvPr>
              <p:cNvGrpSpPr/>
              <p:nvPr/>
            </p:nvGrpSpPr>
            <p:grpSpPr>
              <a:xfrm>
                <a:off x="5876430" y="1369865"/>
                <a:ext cx="5576069" cy="2962481"/>
                <a:chOff x="5876430" y="1369865"/>
                <a:chExt cx="5576069" cy="2962481"/>
              </a:xfrm>
            </p:grpSpPr>
            <p:grpSp>
              <p:nvGrpSpPr>
                <p:cNvPr id="326" name="Group 325">
                  <a:extLst>
                    <a:ext uri="{FF2B5EF4-FFF2-40B4-BE49-F238E27FC236}">
                      <a16:creationId xmlns:a16="http://schemas.microsoft.com/office/drawing/2014/main" xmlns="" id="{FF137769-6ED5-FD2F-5D90-D51A9D7AA6DA}"/>
                    </a:ext>
                  </a:extLst>
                </p:cNvPr>
                <p:cNvGrpSpPr/>
                <p:nvPr/>
              </p:nvGrpSpPr>
              <p:grpSpPr>
                <a:xfrm>
                  <a:off x="5876430" y="1369865"/>
                  <a:ext cx="5558405" cy="2962481"/>
                  <a:chOff x="5847725" y="1944771"/>
                  <a:chExt cx="5558405" cy="2962481"/>
                </a:xfrm>
              </p:grpSpPr>
              <p:pic>
                <p:nvPicPr>
                  <p:cNvPr id="328" name="Picture 327">
                    <a:extLst>
                      <a:ext uri="{FF2B5EF4-FFF2-40B4-BE49-F238E27FC236}">
                        <a16:creationId xmlns:a16="http://schemas.microsoft.com/office/drawing/2014/main" xmlns="" id="{7FE3D837-E1AD-65C6-7214-93D8188A022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3"/>
                  <a:srcRect r="7091" b="12807"/>
                  <a:stretch/>
                </p:blipFill>
                <p:spPr>
                  <a:xfrm>
                    <a:off x="5847725" y="1944771"/>
                    <a:ext cx="5506076" cy="2962481"/>
                  </a:xfrm>
                  <a:prstGeom prst="rect">
                    <a:avLst/>
                  </a:prstGeom>
                </p:spPr>
              </p:pic>
              <p:sp>
                <p:nvSpPr>
                  <p:cNvPr id="329" name="Rectangle 328">
                    <a:extLst>
                      <a:ext uri="{FF2B5EF4-FFF2-40B4-BE49-F238E27FC236}">
                        <a16:creationId xmlns:a16="http://schemas.microsoft.com/office/drawing/2014/main" xmlns="" id="{ECC31B96-75A0-0034-CC9B-B12F99F75BF6}"/>
                      </a:ext>
                    </a:extLst>
                  </p:cNvPr>
                  <p:cNvSpPr/>
                  <p:nvPr/>
                </p:nvSpPr>
                <p:spPr>
                  <a:xfrm>
                    <a:off x="11196810" y="3980761"/>
                    <a:ext cx="209320" cy="167213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327" name="Rectangle 326">
                  <a:extLst>
                    <a:ext uri="{FF2B5EF4-FFF2-40B4-BE49-F238E27FC236}">
                      <a16:creationId xmlns:a16="http://schemas.microsoft.com/office/drawing/2014/main" xmlns="" id="{4D0E74A1-78F3-E14D-D606-BE76474B316B}"/>
                    </a:ext>
                  </a:extLst>
                </p:cNvPr>
                <p:cNvSpPr/>
                <p:nvPr/>
              </p:nvSpPr>
              <p:spPr>
                <a:xfrm>
                  <a:off x="10461812" y="1369865"/>
                  <a:ext cx="990687" cy="580102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25" name="TextBox 324">
                <a:extLst>
                  <a:ext uri="{FF2B5EF4-FFF2-40B4-BE49-F238E27FC236}">
                    <a16:creationId xmlns:a16="http://schemas.microsoft.com/office/drawing/2014/main" xmlns="" id="{18F55BBE-95BB-1F04-B5FC-1A3424E15AA8}"/>
                  </a:ext>
                </a:extLst>
              </p:cNvPr>
              <p:cNvSpPr txBox="1"/>
              <p:nvPr/>
            </p:nvSpPr>
            <p:spPr>
              <a:xfrm rot="16200000">
                <a:off x="5130328" y="2296384"/>
                <a:ext cx="2164579" cy="401181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rtlCol="0" anchor="b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rPr>
                  <a:t>Média</a:t>
                </a: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rPr>
                  <a:t> VCA (cm/</a:t>
                </a:r>
                <a:r>
                  <a:rPr lang="en-GB" sz="1400" kern="0" dirty="0" err="1">
                    <a:solidFill>
                      <a:prstClr val="black"/>
                    </a:solidFill>
                    <a:latin typeface="Arial"/>
                  </a:rPr>
                  <a:t>ano</a:t>
                </a: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rPr>
                  <a:t>)</a:t>
                </a: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323" name="Rectangle 322">
              <a:extLst>
                <a:ext uri="{FF2B5EF4-FFF2-40B4-BE49-F238E27FC236}">
                  <a16:creationId xmlns:a16="http://schemas.microsoft.com/office/drawing/2014/main" xmlns="" id="{9C2E79A0-0B5B-0F3A-C83A-09DEAF423094}"/>
                </a:ext>
              </a:extLst>
            </p:cNvPr>
            <p:cNvSpPr/>
            <p:nvPr/>
          </p:nvSpPr>
          <p:spPr>
            <a:xfrm>
              <a:off x="8839200" y="2377663"/>
              <a:ext cx="923681" cy="207744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30" name="Group 329">
            <a:extLst>
              <a:ext uri="{FF2B5EF4-FFF2-40B4-BE49-F238E27FC236}">
                <a16:creationId xmlns:a16="http://schemas.microsoft.com/office/drawing/2014/main" xmlns="" id="{AB87EBAF-2A83-43D6-365D-A7DBFCB980A4}"/>
              </a:ext>
            </a:extLst>
          </p:cNvPr>
          <p:cNvGrpSpPr/>
          <p:nvPr/>
        </p:nvGrpSpPr>
        <p:grpSpPr>
          <a:xfrm>
            <a:off x="229261" y="1983788"/>
            <a:ext cx="5825923" cy="3149737"/>
            <a:chOff x="295203" y="2190407"/>
            <a:chExt cx="5825923" cy="3149737"/>
          </a:xfrm>
        </p:grpSpPr>
        <p:grpSp>
          <p:nvGrpSpPr>
            <p:cNvPr id="331" name="Group 330">
              <a:extLst>
                <a:ext uri="{FF2B5EF4-FFF2-40B4-BE49-F238E27FC236}">
                  <a16:creationId xmlns:a16="http://schemas.microsoft.com/office/drawing/2014/main" xmlns="" id="{FD63E8DC-4274-B4B4-E378-9ECA141D3D93}"/>
                </a:ext>
              </a:extLst>
            </p:cNvPr>
            <p:cNvGrpSpPr/>
            <p:nvPr/>
          </p:nvGrpSpPr>
          <p:grpSpPr>
            <a:xfrm>
              <a:off x="295203" y="2190407"/>
              <a:ext cx="5825923" cy="3149737"/>
              <a:chOff x="270077" y="1751733"/>
              <a:chExt cx="6497165" cy="3512639"/>
            </a:xfrm>
          </p:grpSpPr>
          <p:sp>
            <p:nvSpPr>
              <p:cNvPr id="333" name="Rectangle 332">
                <a:extLst>
                  <a:ext uri="{FF2B5EF4-FFF2-40B4-BE49-F238E27FC236}">
                    <a16:creationId xmlns:a16="http://schemas.microsoft.com/office/drawing/2014/main" xmlns="" id="{41162239-FA08-8527-7104-F070D1C5734A}"/>
                  </a:ext>
                </a:extLst>
              </p:cNvPr>
              <p:cNvSpPr/>
              <p:nvPr/>
            </p:nvSpPr>
            <p:spPr>
              <a:xfrm>
                <a:off x="2966317" y="2970138"/>
                <a:ext cx="891893" cy="219089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4" name="Rectangle 333">
                <a:extLst>
                  <a:ext uri="{FF2B5EF4-FFF2-40B4-BE49-F238E27FC236}">
                    <a16:creationId xmlns:a16="http://schemas.microsoft.com/office/drawing/2014/main" xmlns="" id="{4DED3CF7-0889-4DD7-6CDC-2C9E77948C59}"/>
                  </a:ext>
                </a:extLst>
              </p:cNvPr>
              <p:cNvSpPr/>
              <p:nvPr/>
            </p:nvSpPr>
            <p:spPr>
              <a:xfrm>
                <a:off x="2966317" y="2970138"/>
                <a:ext cx="891893" cy="219089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335" name="Group 334">
                <a:extLst>
                  <a:ext uri="{FF2B5EF4-FFF2-40B4-BE49-F238E27FC236}">
                    <a16:creationId xmlns:a16="http://schemas.microsoft.com/office/drawing/2014/main" xmlns="" id="{DCE5546A-188A-ED84-5CDB-C4708F9D3F9E}"/>
                  </a:ext>
                </a:extLst>
              </p:cNvPr>
              <p:cNvGrpSpPr/>
              <p:nvPr/>
            </p:nvGrpSpPr>
            <p:grpSpPr>
              <a:xfrm>
                <a:off x="270077" y="1751733"/>
                <a:ext cx="6497165" cy="3512639"/>
                <a:chOff x="6032404" y="2408999"/>
                <a:chExt cx="6023761" cy="3111970"/>
              </a:xfrm>
            </p:grpSpPr>
            <p:pic>
              <p:nvPicPr>
                <p:cNvPr id="90" name="Picture 89">
                  <a:extLst>
                    <a:ext uri="{FF2B5EF4-FFF2-40B4-BE49-F238E27FC236}">
                      <a16:creationId xmlns:a16="http://schemas.microsoft.com/office/drawing/2014/main" xmlns="" id="{CF20CCBF-740A-CF1F-5BAA-EDDA7DC35DB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"/>
                <a:srcRect l="381" r="8707" b="12579"/>
                <a:stretch/>
              </p:blipFill>
              <p:spPr>
                <a:xfrm>
                  <a:off x="6032404" y="2408999"/>
                  <a:ext cx="5603096" cy="3111970"/>
                </a:xfrm>
                <a:prstGeom prst="rect">
                  <a:avLst/>
                </a:prstGeom>
              </p:spPr>
            </p:pic>
            <p:sp>
              <p:nvSpPr>
                <p:cNvPr id="92" name="TextBox 91">
                  <a:extLst>
                    <a:ext uri="{FF2B5EF4-FFF2-40B4-BE49-F238E27FC236}">
                      <a16:creationId xmlns:a16="http://schemas.microsoft.com/office/drawing/2014/main" xmlns="" id="{F2EE33B1-9772-04D2-63C7-C7FC76F81FFB}"/>
                    </a:ext>
                  </a:extLst>
                </p:cNvPr>
                <p:cNvSpPr txBox="1"/>
                <p:nvPr/>
              </p:nvSpPr>
              <p:spPr>
                <a:xfrm rot="16200000">
                  <a:off x="5323426" y="3546388"/>
                  <a:ext cx="2138625" cy="414804"/>
                </a:xfrm>
                <a:prstGeom prst="rect">
                  <a:avLst/>
                </a:prstGeom>
                <a:solidFill>
                  <a:sysClr val="window" lastClr="FFFFFF"/>
                </a:solidFill>
              </p:spPr>
              <p:txBody>
                <a:bodyPr wrap="square" rtlCol="0" anchor="b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4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</a:rPr>
                    <a:t>Média</a:t>
                  </a:r>
                  <a:r>
                    <a:rPr kumimoji="0" lang="en-GB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</a:rPr>
                    <a:t> VCA (cm/</a:t>
                  </a:r>
                  <a:r>
                    <a:rPr lang="en-GB" sz="1400" kern="0" dirty="0" err="1">
                      <a:solidFill>
                        <a:prstClr val="black"/>
                      </a:solidFill>
                      <a:latin typeface="Arial"/>
                    </a:rPr>
                    <a:t>ano</a:t>
                  </a:r>
                  <a:r>
                    <a:rPr kumimoji="0" lang="en-GB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</a:rPr>
                    <a:t>)</a:t>
                  </a: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94" name="Rectangle 93">
                  <a:extLst>
                    <a:ext uri="{FF2B5EF4-FFF2-40B4-BE49-F238E27FC236}">
                      <a16:creationId xmlns:a16="http://schemas.microsoft.com/office/drawing/2014/main" xmlns="" id="{558FFE86-A357-94B0-8D5D-C82A002942C9}"/>
                    </a:ext>
                  </a:extLst>
                </p:cNvPr>
                <p:cNvSpPr/>
                <p:nvPr/>
              </p:nvSpPr>
              <p:spPr>
                <a:xfrm>
                  <a:off x="10505661" y="2408999"/>
                  <a:ext cx="1550504" cy="672131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336" name="Picture 335">
                <a:extLst>
                  <a:ext uri="{FF2B5EF4-FFF2-40B4-BE49-F238E27FC236}">
                    <a16:creationId xmlns:a16="http://schemas.microsoft.com/office/drawing/2014/main" xmlns="" id="{A605D5CC-3FD7-F0E5-FF5C-14D165E064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44031" y="4474803"/>
                <a:ext cx="1161019" cy="201566"/>
              </a:xfrm>
              <a:prstGeom prst="rect">
                <a:avLst/>
              </a:prstGeom>
            </p:spPr>
          </p:pic>
          <p:sp>
            <p:nvSpPr>
              <p:cNvPr id="337" name="Freeform: Shape 336">
                <a:extLst>
                  <a:ext uri="{FF2B5EF4-FFF2-40B4-BE49-F238E27FC236}">
                    <a16:creationId xmlns:a16="http://schemas.microsoft.com/office/drawing/2014/main" xmlns="" id="{C2B37D85-90EC-00BD-9D70-B3FA9627352D}"/>
                  </a:ext>
                </a:extLst>
              </p:cNvPr>
              <p:cNvSpPr/>
              <p:nvPr/>
            </p:nvSpPr>
            <p:spPr>
              <a:xfrm>
                <a:off x="6024563" y="3514725"/>
                <a:ext cx="323850" cy="912019"/>
              </a:xfrm>
              <a:custGeom>
                <a:avLst/>
                <a:gdLst>
                  <a:gd name="connsiteX0" fmla="*/ 0 w 323850"/>
                  <a:gd name="connsiteY0" fmla="*/ 902494 h 912019"/>
                  <a:gd name="connsiteX1" fmla="*/ 14287 w 323850"/>
                  <a:gd name="connsiteY1" fmla="*/ 640556 h 912019"/>
                  <a:gd name="connsiteX2" fmla="*/ 197643 w 323850"/>
                  <a:gd name="connsiteY2" fmla="*/ 523875 h 912019"/>
                  <a:gd name="connsiteX3" fmla="*/ 252412 w 323850"/>
                  <a:gd name="connsiteY3" fmla="*/ 433388 h 912019"/>
                  <a:gd name="connsiteX4" fmla="*/ 16668 w 323850"/>
                  <a:gd name="connsiteY4" fmla="*/ 328613 h 912019"/>
                  <a:gd name="connsiteX5" fmla="*/ 209550 w 323850"/>
                  <a:gd name="connsiteY5" fmla="*/ 4763 h 912019"/>
                  <a:gd name="connsiteX6" fmla="*/ 321468 w 323850"/>
                  <a:gd name="connsiteY6" fmla="*/ 0 h 912019"/>
                  <a:gd name="connsiteX7" fmla="*/ 323850 w 323850"/>
                  <a:gd name="connsiteY7" fmla="*/ 912019 h 912019"/>
                  <a:gd name="connsiteX8" fmla="*/ 0 w 323850"/>
                  <a:gd name="connsiteY8" fmla="*/ 902494 h 912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850" h="912019">
                    <a:moveTo>
                      <a:pt x="0" y="902494"/>
                    </a:moveTo>
                    <a:lnTo>
                      <a:pt x="14287" y="640556"/>
                    </a:lnTo>
                    <a:lnTo>
                      <a:pt x="197643" y="523875"/>
                    </a:lnTo>
                    <a:lnTo>
                      <a:pt x="252412" y="433388"/>
                    </a:lnTo>
                    <a:lnTo>
                      <a:pt x="16668" y="328613"/>
                    </a:lnTo>
                    <a:lnTo>
                      <a:pt x="209550" y="4763"/>
                    </a:lnTo>
                    <a:lnTo>
                      <a:pt x="321468" y="0"/>
                    </a:lnTo>
                    <a:lnTo>
                      <a:pt x="323850" y="912019"/>
                    </a:lnTo>
                    <a:lnTo>
                      <a:pt x="0" y="902494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338" name="Group 337">
                <a:extLst>
                  <a:ext uri="{FF2B5EF4-FFF2-40B4-BE49-F238E27FC236}">
                    <a16:creationId xmlns:a16="http://schemas.microsoft.com/office/drawing/2014/main" xmlns="" id="{2BC5A069-158A-0103-7D2E-B4BB6D984009}"/>
                  </a:ext>
                </a:extLst>
              </p:cNvPr>
              <p:cNvGrpSpPr/>
              <p:nvPr/>
            </p:nvGrpSpPr>
            <p:grpSpPr>
              <a:xfrm>
                <a:off x="6154699" y="3760313"/>
                <a:ext cx="59319" cy="604518"/>
                <a:chOff x="6246675" y="3595688"/>
                <a:chExt cx="58875" cy="719137"/>
              </a:xfrm>
            </p:grpSpPr>
            <p:cxnSp>
              <p:nvCxnSpPr>
                <p:cNvPr id="350" name="Straight Connector 349">
                  <a:extLst>
                    <a:ext uri="{FF2B5EF4-FFF2-40B4-BE49-F238E27FC236}">
                      <a16:creationId xmlns:a16="http://schemas.microsoft.com/office/drawing/2014/main" xmlns="" id="{C811D71E-8F53-6E89-8DE2-CBC5FEDF0D2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76112" y="3595688"/>
                  <a:ext cx="0" cy="71675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C218F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351" name="Straight Connector 350">
                  <a:extLst>
                    <a:ext uri="{FF2B5EF4-FFF2-40B4-BE49-F238E27FC236}">
                      <a16:creationId xmlns:a16="http://schemas.microsoft.com/office/drawing/2014/main" xmlns="" id="{D0765C85-7CAD-D515-DC8E-4D7B21D4F1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46675" y="3595688"/>
                  <a:ext cx="5887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C218F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xmlns="" id="{6D035292-3BC3-0C0A-7453-AD004CFCD4B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46675" y="4314825"/>
                  <a:ext cx="5887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C218F"/>
                  </a:solidFill>
                  <a:prstDash val="solid"/>
                  <a:miter lim="800000"/>
                </a:ln>
                <a:effectLst/>
              </p:spPr>
            </p:cxnSp>
          </p:grpSp>
          <p:sp>
            <p:nvSpPr>
              <p:cNvPr id="339" name="Oval 338">
                <a:extLst>
                  <a:ext uri="{FF2B5EF4-FFF2-40B4-BE49-F238E27FC236}">
                    <a16:creationId xmlns:a16="http://schemas.microsoft.com/office/drawing/2014/main" xmlns="" id="{5840921C-4B8A-3F18-5BDE-5DA6BABB9E1F}"/>
                  </a:ext>
                </a:extLst>
              </p:cNvPr>
              <p:cNvSpPr/>
              <p:nvPr/>
            </p:nvSpPr>
            <p:spPr>
              <a:xfrm>
                <a:off x="6158667" y="4032945"/>
                <a:ext cx="59319" cy="59319"/>
              </a:xfrm>
              <a:prstGeom prst="ellipse">
                <a:avLst/>
              </a:prstGeom>
              <a:solidFill>
                <a:srgbClr val="AC218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340" name="Group 339">
                <a:extLst>
                  <a:ext uri="{FF2B5EF4-FFF2-40B4-BE49-F238E27FC236}">
                    <a16:creationId xmlns:a16="http://schemas.microsoft.com/office/drawing/2014/main" xmlns="" id="{A93317BD-4C41-9760-67E4-7EFFA4A019BE}"/>
                  </a:ext>
                </a:extLst>
              </p:cNvPr>
              <p:cNvGrpSpPr/>
              <p:nvPr/>
            </p:nvGrpSpPr>
            <p:grpSpPr>
              <a:xfrm>
                <a:off x="6070599" y="3864238"/>
                <a:ext cx="63210" cy="519639"/>
                <a:chOff x="6246675" y="3595688"/>
                <a:chExt cx="58875" cy="719137"/>
              </a:xfrm>
            </p:grpSpPr>
            <p:cxnSp>
              <p:nvCxnSpPr>
                <p:cNvPr id="347" name="Straight Connector 346">
                  <a:extLst>
                    <a:ext uri="{FF2B5EF4-FFF2-40B4-BE49-F238E27FC236}">
                      <a16:creationId xmlns:a16="http://schemas.microsoft.com/office/drawing/2014/main" xmlns="" id="{7C475818-11B1-7F21-5ECF-63EEE39B8AD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76112" y="3595688"/>
                  <a:ext cx="0" cy="71675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F1643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348" name="Straight Connector 347">
                  <a:extLst>
                    <a:ext uri="{FF2B5EF4-FFF2-40B4-BE49-F238E27FC236}">
                      <a16:creationId xmlns:a16="http://schemas.microsoft.com/office/drawing/2014/main" xmlns="" id="{1D3484BD-B20E-AA68-8A84-8B2616A80A0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46675" y="3595688"/>
                  <a:ext cx="5887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F1643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349" name="Straight Connector 348">
                  <a:extLst>
                    <a:ext uri="{FF2B5EF4-FFF2-40B4-BE49-F238E27FC236}">
                      <a16:creationId xmlns:a16="http://schemas.microsoft.com/office/drawing/2014/main" xmlns="" id="{7FC7069F-C6F4-D27A-B636-2387FC3E5D5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46675" y="4314825"/>
                  <a:ext cx="5887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F16430"/>
                  </a:solidFill>
                  <a:prstDash val="solid"/>
                  <a:miter lim="800000"/>
                </a:ln>
                <a:effectLst/>
              </p:spPr>
            </p:cxnSp>
          </p:grpSp>
          <p:sp>
            <p:nvSpPr>
              <p:cNvPr id="341" name="Oval 340">
                <a:extLst>
                  <a:ext uri="{FF2B5EF4-FFF2-40B4-BE49-F238E27FC236}">
                    <a16:creationId xmlns:a16="http://schemas.microsoft.com/office/drawing/2014/main" xmlns="" id="{DE790394-8C4B-A605-AC87-014E1314936C}"/>
                  </a:ext>
                </a:extLst>
              </p:cNvPr>
              <p:cNvSpPr/>
              <p:nvPr/>
            </p:nvSpPr>
            <p:spPr>
              <a:xfrm>
                <a:off x="6074427" y="4092832"/>
                <a:ext cx="59319" cy="59319"/>
              </a:xfrm>
              <a:prstGeom prst="ellipse">
                <a:avLst/>
              </a:prstGeom>
              <a:solidFill>
                <a:srgbClr val="F1643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342" name="Group 341">
                <a:extLst>
                  <a:ext uri="{FF2B5EF4-FFF2-40B4-BE49-F238E27FC236}">
                    <a16:creationId xmlns:a16="http://schemas.microsoft.com/office/drawing/2014/main" xmlns="" id="{74D18560-E10E-9029-9855-E487CFDD8ED5}"/>
                  </a:ext>
                </a:extLst>
              </p:cNvPr>
              <p:cNvGrpSpPr/>
              <p:nvPr/>
            </p:nvGrpSpPr>
            <p:grpSpPr>
              <a:xfrm>
                <a:off x="6246274" y="3599016"/>
                <a:ext cx="59319" cy="711040"/>
                <a:chOff x="6246675" y="3595688"/>
                <a:chExt cx="58875" cy="719137"/>
              </a:xfrm>
            </p:grpSpPr>
            <p:cxnSp>
              <p:nvCxnSpPr>
                <p:cNvPr id="344" name="Straight Connector 343">
                  <a:extLst>
                    <a:ext uri="{FF2B5EF4-FFF2-40B4-BE49-F238E27FC236}">
                      <a16:creationId xmlns:a16="http://schemas.microsoft.com/office/drawing/2014/main" xmlns="" id="{65EFF612-7FB8-1348-363F-6B0FB4DEC5E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76112" y="3595688"/>
                  <a:ext cx="0" cy="71675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393C98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345" name="Straight Connector 344">
                  <a:extLst>
                    <a:ext uri="{FF2B5EF4-FFF2-40B4-BE49-F238E27FC236}">
                      <a16:creationId xmlns:a16="http://schemas.microsoft.com/office/drawing/2014/main" xmlns="" id="{019C6FCC-5B94-0574-EEEA-5B7802FCE92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46675" y="3595688"/>
                  <a:ext cx="5887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393C98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346" name="Straight Connector 345">
                  <a:extLst>
                    <a:ext uri="{FF2B5EF4-FFF2-40B4-BE49-F238E27FC236}">
                      <a16:creationId xmlns:a16="http://schemas.microsoft.com/office/drawing/2014/main" xmlns="" id="{2BAC3770-F853-5F43-3A81-63D8AB8C62A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46675" y="4314825"/>
                  <a:ext cx="5887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393C98"/>
                  </a:solidFill>
                  <a:prstDash val="solid"/>
                  <a:miter lim="800000"/>
                </a:ln>
                <a:effectLst/>
              </p:spPr>
            </p:cxnSp>
          </p:grpSp>
          <p:sp>
            <p:nvSpPr>
              <p:cNvPr id="343" name="Oval 342">
                <a:extLst>
                  <a:ext uri="{FF2B5EF4-FFF2-40B4-BE49-F238E27FC236}">
                    <a16:creationId xmlns:a16="http://schemas.microsoft.com/office/drawing/2014/main" xmlns="" id="{42193490-8116-A715-F805-6EC155C84AFA}"/>
                  </a:ext>
                </a:extLst>
              </p:cNvPr>
              <p:cNvSpPr/>
              <p:nvPr/>
            </p:nvSpPr>
            <p:spPr>
              <a:xfrm>
                <a:off x="6244861" y="3927603"/>
                <a:ext cx="59319" cy="59319"/>
              </a:xfrm>
              <a:prstGeom prst="ellipse">
                <a:avLst/>
              </a:prstGeom>
              <a:solidFill>
                <a:srgbClr val="393C98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332" name="Rectangle 331">
              <a:extLst>
                <a:ext uri="{FF2B5EF4-FFF2-40B4-BE49-F238E27FC236}">
                  <a16:creationId xmlns:a16="http://schemas.microsoft.com/office/drawing/2014/main" xmlns="" id="{2A351D01-40B0-70CF-BC7B-350B27C04CB5}"/>
                </a:ext>
              </a:extLst>
            </p:cNvPr>
            <p:cNvSpPr/>
            <p:nvPr/>
          </p:nvSpPr>
          <p:spPr>
            <a:xfrm>
              <a:off x="3264094" y="2263959"/>
              <a:ext cx="923681" cy="207744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9" name="Content Placeholder 22">
            <a:extLst>
              <a:ext uri="{FF2B5EF4-FFF2-40B4-BE49-F238E27FC236}">
                <a16:creationId xmlns:a16="http://schemas.microsoft.com/office/drawing/2014/main" xmlns="" id="{F295D651-51B8-7713-0CDA-62E478A92FFD}"/>
              </a:ext>
            </a:extLst>
          </p:cNvPr>
          <p:cNvSpPr txBox="1">
            <a:spLocks/>
          </p:cNvSpPr>
          <p:nvPr/>
        </p:nvSpPr>
        <p:spPr>
          <a:xfrm>
            <a:off x="1414853" y="1912494"/>
            <a:ext cx="3783344" cy="34798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ctr">
              <a:defRPr sz="15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 1.73 cm/yr </a:t>
            </a:r>
            <a:r>
              <a:rPr lang="en-GB" kern="0" dirty="0" err="1">
                <a:solidFill>
                  <a:prstClr val="black"/>
                </a:solidFill>
                <a:latin typeface="Arial"/>
              </a:rPr>
              <a:t>Vosiritida</a:t>
            </a:r>
            <a:r>
              <a:rPr kumimoji="0" lang="en-GB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s </a:t>
            </a:r>
            <a:r>
              <a:rPr kumimoji="0" lang="en-GB" sz="15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ão</a:t>
            </a:r>
            <a:r>
              <a:rPr kumimoji="0" lang="en-GB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5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tatado</a:t>
            </a:r>
            <a:endParaRPr kumimoji="0" lang="en-GB" sz="15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Content Placeholder 22">
            <a:extLst>
              <a:ext uri="{FF2B5EF4-FFF2-40B4-BE49-F238E27FC236}">
                <a16:creationId xmlns:a16="http://schemas.microsoft.com/office/drawing/2014/main" xmlns="" id="{7DBD101E-693D-8E16-DC1F-29D7863F1298}"/>
              </a:ext>
            </a:extLst>
          </p:cNvPr>
          <p:cNvSpPr txBox="1">
            <a:spLocks/>
          </p:cNvSpPr>
          <p:nvPr/>
        </p:nvSpPr>
        <p:spPr>
          <a:xfrm>
            <a:off x="7072150" y="1902661"/>
            <a:ext cx="3783344" cy="34798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ctr">
              <a:defRPr sz="15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 1.46 cm/yr </a:t>
            </a:r>
            <a:r>
              <a:rPr kumimoji="0" lang="en-GB" sz="15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soritida</a:t>
            </a:r>
            <a:r>
              <a:rPr kumimoji="0" lang="en-GB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s </a:t>
            </a:r>
            <a:r>
              <a:rPr kumimoji="0" lang="en-GB" sz="15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ão</a:t>
            </a:r>
            <a:r>
              <a:rPr kumimoji="0" lang="en-GB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5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tado</a:t>
            </a:r>
            <a:endParaRPr kumimoji="0" lang="en-GB" sz="15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1" name="Picture 100">
            <a:extLst>
              <a:ext uri="{FF2B5EF4-FFF2-40B4-BE49-F238E27FC236}">
                <a16:creationId xmlns:a16="http://schemas.microsoft.com/office/drawing/2014/main" xmlns="" id="{288D1CAB-3150-D956-8CFE-8D4B8346D2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05940" y="2204180"/>
            <a:ext cx="1483768" cy="546966"/>
          </a:xfrm>
          <a:prstGeom prst="rect">
            <a:avLst/>
          </a:prstGeom>
        </p:spPr>
      </p:pic>
      <p:sp>
        <p:nvSpPr>
          <p:cNvPr id="105" name="Text Placeholder 3">
            <a:extLst>
              <a:ext uri="{FF2B5EF4-FFF2-40B4-BE49-F238E27FC236}">
                <a16:creationId xmlns:a16="http://schemas.microsoft.com/office/drawing/2014/main" xmlns="" id="{B2B054ED-DA3E-7D31-3FB9-629459D97569}"/>
              </a:ext>
            </a:extLst>
          </p:cNvPr>
          <p:cNvSpPr txBox="1">
            <a:spLocks/>
          </p:cNvSpPr>
          <p:nvPr/>
        </p:nvSpPr>
        <p:spPr>
          <a:xfrm>
            <a:off x="583223" y="6022120"/>
            <a:ext cx="10515600" cy="544512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4438"/>
              </a:buClr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D: standard deviation </a:t>
            </a:r>
            <a:b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e 3 data confirm findings of long-term Fase 2 study (7-yr FU)</a:t>
            </a:r>
            <a:r>
              <a:rPr kumimoji="0" lang="en-GB" sz="900" b="0" i="0" u="none" strike="noStrike" kern="1200" cap="none" spc="0" normalizeH="0" baseline="3000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Adapted from: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varirayan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 et al. Poster presented at ACMG 2024 (P139), March 13-15, Toronto, ON, Canada – Fase 3 study (111-301/302) in children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aded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≥5 yrs;</a:t>
            </a:r>
            <a:b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 Hoover-Fong J et al. Poster presented at ACMG 2024 (P144), March 13-15, Toronto, ON, Canada – Fase 2 study (111-202/205) in children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aded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≥5 yrs</a:t>
            </a:r>
          </a:p>
        </p:txBody>
      </p:sp>
    </p:spTree>
    <p:extLst>
      <p:ext uri="{BB962C8B-B14F-4D97-AF65-F5344CB8AC3E}">
        <p14:creationId xmlns:p14="http://schemas.microsoft.com/office/powerpoint/2010/main" val="23981143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0C3CC598-3D04-3E11-12F5-F353937183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CA7BB1CB-EB79-5ECA-8083-E0F945A60E6E}"/>
              </a:ext>
            </a:extLst>
          </p:cNvPr>
          <p:cNvSpPr txBox="1"/>
          <p:nvPr/>
        </p:nvSpPr>
        <p:spPr>
          <a:xfrm>
            <a:off x="599524" y="226398"/>
            <a:ext cx="107249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pt-BR" sz="2800" b="1" dirty="0"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Ganho de altura em crianças tratadas e não tratadas em comparação com crianças de estatura média (≤5 anos)</a:t>
            </a:r>
            <a:endParaRPr kumimoji="1" lang="en-US" sz="2800" b="1" dirty="0">
              <a:gradFill flip="none" rotWithShape="1">
                <a:gsLst>
                  <a:gs pos="100000">
                    <a:srgbClr val="343C98"/>
                  </a:gs>
                  <a:gs pos="0">
                    <a:srgbClr val="A9208E"/>
                  </a:gs>
                </a:gsLst>
                <a:lin ang="10800000" scaled="1"/>
                <a:tileRect/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8227FBD9-6E2E-70DC-0B2F-304BBF4AFAAF}"/>
              </a:ext>
            </a:extLst>
          </p:cNvPr>
          <p:cNvSpPr txBox="1"/>
          <p:nvPr/>
        </p:nvSpPr>
        <p:spPr>
          <a:xfrm>
            <a:off x="741496" y="6113503"/>
            <a:ext cx="101177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/>
              </a:rPr>
              <a:t>Data shown are from the 111-206/208 study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. </a:t>
            </a: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/>
              </a:rPr>
              <a:t>AverIdade-stature numbers were matched to respective ACH treated and untreated cohorts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/>
            </a: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</a:b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AchNH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 reference derived from CLARITY (Hoover-Fong J </a:t>
            </a:r>
            <a:r>
              <a:rPr kumimoji="0" lang="en-US" sz="600" b="0" i="1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et al. </a:t>
            </a:r>
            <a:r>
              <a:rPr kumimoji="0" lang="en-US" sz="600" b="0" i="1" u="none" strike="noStrike" kern="1200" cap="none" spc="0" normalizeH="0" baseline="0" noProof="0" dirty="0" err="1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Orphanet</a:t>
            </a:r>
            <a:r>
              <a:rPr kumimoji="0" lang="en-US" sz="600" b="0" i="1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 J Rare Dis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2021;16:522) </a:t>
            </a: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</a:b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ACH, achondroplasia;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AchNH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, achondroplasia natural history study; </a:t>
            </a: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/>
              </a:rPr>
              <a:t>ACMG, Annual Clinical Genetics Meeting; CLARITY, achondroplasia natural history study 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969696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Savarirayan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 R </a:t>
            </a:r>
            <a:r>
              <a:rPr kumimoji="0" lang="en-US" sz="600" b="0" i="1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et a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. Presented at ACMG 2024, Toronto, Canada, March 12–16, 2024; abstract P131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4FD4478B-7C74-4818-EE51-0DAF2B33D139}"/>
              </a:ext>
            </a:extLst>
          </p:cNvPr>
          <p:cNvGrpSpPr>
            <a:grpSpLocks/>
          </p:cNvGrpSpPr>
          <p:nvPr/>
        </p:nvGrpSpPr>
        <p:grpSpPr>
          <a:xfrm>
            <a:off x="893487" y="1382897"/>
            <a:ext cx="4148139" cy="4577045"/>
            <a:chOff x="5265499" y="1633478"/>
            <a:chExt cx="4148139" cy="4577045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xmlns="" id="{E8ACCBFC-5D7B-9E7E-D000-B6C8D20C01DA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5633638" y="2169067"/>
            <a:ext cx="3780000" cy="331610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2" name="Text Placeholder 3">
              <a:extLst>
                <a:ext uri="{FF2B5EF4-FFF2-40B4-BE49-F238E27FC236}">
                  <a16:creationId xmlns:a16="http://schemas.microsoft.com/office/drawing/2014/main" xmlns="" id="{FB759F51-74F3-506D-45C5-6807FCD9B3A9}"/>
                </a:ext>
              </a:extLst>
            </p:cNvPr>
            <p:cNvSpPr txBox="1">
              <a:spLocks/>
            </p:cNvSpPr>
            <p:nvPr/>
          </p:nvSpPr>
          <p:spPr>
            <a:xfrm>
              <a:off x="5926202" y="1633478"/>
              <a:ext cx="3429874" cy="590931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indent="-1682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stem Font Regular"/>
                <a:buChar char="–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19113" indent="-176213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tabLst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85800" indent="-166688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stem Font Regular"/>
                <a:buChar char="–"/>
                <a:tabLst/>
                <a:defRPr sz="10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62013" indent="-176213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tabLst/>
                <a:defRPr sz="10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A9208E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anho de altura após 3 anos em crianças tratadas e não tratadas com idade &lt;2 anos vs crianças com estatura média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FC2DEF70-6E8C-8FBE-9968-51EBC1ED0418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4528599" y="3688104"/>
              <a:ext cx="175080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Ganho</a:t>
              </a: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e Altura (cm)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4236A62-B1A4-D6B5-0F13-D37AD2238C17}"/>
                </a:ext>
              </a:extLst>
            </p:cNvPr>
            <p:cNvSpPr txBox="1">
              <a:spLocks/>
            </p:cNvSpPr>
            <p:nvPr/>
          </p:nvSpPr>
          <p:spPr>
            <a:xfrm>
              <a:off x="6041785" y="5379526"/>
              <a:ext cx="982760" cy="46166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1200" kern="0" dirty="0">
                  <a:solidFill>
                    <a:srgbClr val="505050"/>
                  </a:solidFill>
                  <a:latin typeface="Arial" panose="020B0604020202020204"/>
                </a:rPr>
                <a:t>E</a:t>
              </a:r>
              <a:r>
                <a:rPr lang="en-US" sz="1200" kern="0" dirty="0" err="1">
                  <a:solidFill>
                    <a:srgbClr val="505050"/>
                  </a:solidFill>
                  <a:latin typeface="Arial" panose="020B0604020202020204"/>
                </a:rPr>
                <a:t>statura</a:t>
              </a:r>
              <a:r>
                <a:rPr lang="en-US" sz="1200" kern="0" dirty="0">
                  <a:solidFill>
                    <a:srgbClr val="505050"/>
                  </a:solidFill>
                  <a:latin typeface="Arial" panose="020B0604020202020204"/>
                </a:rPr>
                <a:t> </a:t>
              </a:r>
              <a:r>
                <a:rPr lang="en-US" sz="1200" kern="0" dirty="0" err="1">
                  <a:solidFill>
                    <a:srgbClr val="505050"/>
                  </a:solidFill>
                  <a:latin typeface="Arial" panose="020B0604020202020204"/>
                </a:rPr>
                <a:t>Média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A27D26E4-4BFE-8282-B38B-66763C1C4BF0}"/>
                </a:ext>
              </a:extLst>
            </p:cNvPr>
            <p:cNvSpPr txBox="1">
              <a:spLocks/>
            </p:cNvSpPr>
            <p:nvPr/>
          </p:nvSpPr>
          <p:spPr>
            <a:xfrm>
              <a:off x="6646973" y="5379526"/>
              <a:ext cx="1066588" cy="46166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CH, 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osoritida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xmlns="" id="{1E3AC5C5-7B5B-CE62-5449-4430C501963A}"/>
                </a:ext>
              </a:extLst>
            </p:cNvPr>
            <p:cNvSpPr txBox="1">
              <a:spLocks/>
            </p:cNvSpPr>
            <p:nvPr/>
          </p:nvSpPr>
          <p:spPr>
            <a:xfrm>
              <a:off x="7669127" y="5379526"/>
              <a:ext cx="982760" cy="46166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statura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édia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C3D30DE9-6237-8E30-4DB5-72496BAEDDB9}"/>
                </a:ext>
              </a:extLst>
            </p:cNvPr>
            <p:cNvSpPr txBox="1">
              <a:spLocks/>
            </p:cNvSpPr>
            <p:nvPr/>
          </p:nvSpPr>
          <p:spPr>
            <a:xfrm>
              <a:off x="8312936" y="5379526"/>
              <a:ext cx="982760" cy="83099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CH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kern="0" dirty="0" err="1">
                  <a:solidFill>
                    <a:srgbClr val="505050"/>
                  </a:solidFill>
                  <a:latin typeface="Arial" panose="020B0604020202020204"/>
                </a:rPr>
                <a:t>História</a:t>
              </a:r>
              <a:r>
                <a:rPr lang="en-US" sz="1200" kern="0" dirty="0">
                  <a:solidFill>
                    <a:srgbClr val="505050"/>
                  </a:solidFill>
                  <a:latin typeface="Arial" panose="020B0604020202020204"/>
                </a:rPr>
                <a:t> Natural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xmlns="" id="{94E1B8E8-7A34-496A-8788-9FDC290AE4BD}"/>
                </a:ext>
              </a:extLst>
            </p:cNvPr>
            <p:cNvSpPr txBox="1">
              <a:spLocks/>
            </p:cNvSpPr>
            <p:nvPr/>
          </p:nvSpPr>
          <p:spPr>
            <a:xfrm>
              <a:off x="6887045" y="4999905"/>
              <a:ext cx="52931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=14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xmlns="" id="{EDE9B20D-4E2C-EE0F-50C0-F9C1D0B7F3CD}"/>
                </a:ext>
              </a:extLst>
            </p:cNvPr>
            <p:cNvSpPr txBox="1">
              <a:spLocks/>
            </p:cNvSpPr>
            <p:nvPr/>
          </p:nvSpPr>
          <p:spPr>
            <a:xfrm>
              <a:off x="8482355" y="5003980"/>
              <a:ext cx="61427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=150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15DE7125-EF9C-D6B1-69A1-AEB31E897A07}"/>
                </a:ext>
              </a:extLst>
            </p:cNvPr>
            <p:cNvSpPr txBox="1">
              <a:spLocks/>
            </p:cNvSpPr>
            <p:nvPr/>
          </p:nvSpPr>
          <p:spPr>
            <a:xfrm>
              <a:off x="6208062" y="2407833"/>
              <a:ext cx="5677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6.37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xmlns="" id="{4F8E24FD-F4B0-8677-7E03-D6E6E8798BDB}"/>
                </a:ext>
              </a:extLst>
            </p:cNvPr>
            <p:cNvSpPr txBox="1">
              <a:spLocks/>
            </p:cNvSpPr>
            <p:nvPr/>
          </p:nvSpPr>
          <p:spPr>
            <a:xfrm>
              <a:off x="7876615" y="2407833"/>
              <a:ext cx="5677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6.46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78DC56A5-37B0-5447-2306-B76F2040B677}"/>
                </a:ext>
              </a:extLst>
            </p:cNvPr>
            <p:cNvSpPr txBox="1">
              <a:spLocks/>
            </p:cNvSpPr>
            <p:nvPr/>
          </p:nvSpPr>
          <p:spPr>
            <a:xfrm>
              <a:off x="6838470" y="2951802"/>
              <a:ext cx="5677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1.10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xmlns="" id="{590E4B46-6784-CE1A-CAB5-83527CFD7B6E}"/>
                </a:ext>
              </a:extLst>
            </p:cNvPr>
            <p:cNvSpPr txBox="1">
              <a:spLocks/>
            </p:cNvSpPr>
            <p:nvPr/>
          </p:nvSpPr>
          <p:spPr>
            <a:xfrm>
              <a:off x="8489703" y="3275164"/>
              <a:ext cx="5677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7.66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6EE65ACD-E0FC-F40D-CBB6-1444887BFBF1}"/>
              </a:ext>
            </a:extLst>
          </p:cNvPr>
          <p:cNvGrpSpPr/>
          <p:nvPr/>
        </p:nvGrpSpPr>
        <p:grpSpPr>
          <a:xfrm>
            <a:off x="5603197" y="1382897"/>
            <a:ext cx="4072382" cy="4577045"/>
            <a:chOff x="735227" y="1633478"/>
            <a:chExt cx="4072382" cy="4577045"/>
          </a:xfrm>
        </p:grpSpPr>
        <p:sp>
          <p:nvSpPr>
            <p:cNvPr id="26" name="Text Placeholder 3">
              <a:extLst>
                <a:ext uri="{FF2B5EF4-FFF2-40B4-BE49-F238E27FC236}">
                  <a16:creationId xmlns:a16="http://schemas.microsoft.com/office/drawing/2014/main" xmlns="" id="{054C834D-24B4-70F0-E167-C2E93FC2C7EE}"/>
                </a:ext>
              </a:extLst>
            </p:cNvPr>
            <p:cNvSpPr txBox="1">
              <a:spLocks/>
            </p:cNvSpPr>
            <p:nvPr/>
          </p:nvSpPr>
          <p:spPr>
            <a:xfrm>
              <a:off x="1296480" y="1633478"/>
              <a:ext cx="3450332" cy="480131"/>
            </a:xfrm>
            <a:prstGeom prst="rect">
              <a:avLst/>
            </a:prstGeom>
          </p:spPr>
          <p:txBody>
            <a:bodyPr/>
            <a:lstStyle>
              <a:lvl1pPr marL="180975" indent="-180975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7188" indent="-176213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82563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725" indent="-182563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462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anho de altura após 4 anos em crianças tratadas e não tratadas com idade ≥2 anos vs crianças com estatura média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aphicFrame>
          <p:nvGraphicFramePr>
            <p:cNvPr id="27" name="Chart 26">
              <a:extLst>
                <a:ext uri="{FF2B5EF4-FFF2-40B4-BE49-F238E27FC236}">
                  <a16:creationId xmlns:a16="http://schemas.microsoft.com/office/drawing/2014/main" xmlns="" id="{7DC83923-123C-22C9-1596-89F0E4DCDBAF}"/>
                </a:ext>
              </a:extLst>
            </p:cNvPr>
            <p:cNvGraphicFramePr/>
            <p:nvPr/>
          </p:nvGraphicFramePr>
          <p:xfrm>
            <a:off x="1027609" y="2169068"/>
            <a:ext cx="3780000" cy="331610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5CF322F7-9F33-D826-4CCE-58004E6B084F}"/>
                </a:ext>
              </a:extLst>
            </p:cNvPr>
            <p:cNvSpPr txBox="1"/>
            <p:nvPr/>
          </p:nvSpPr>
          <p:spPr>
            <a:xfrm rot="16200000">
              <a:off x="-23314" y="3688104"/>
              <a:ext cx="179408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Ganho</a:t>
              </a: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e Altura  (cm)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6E70E442-84E1-F24B-B040-C94789BF5730}"/>
                </a:ext>
              </a:extLst>
            </p:cNvPr>
            <p:cNvSpPr txBox="1"/>
            <p:nvPr/>
          </p:nvSpPr>
          <p:spPr>
            <a:xfrm>
              <a:off x="1394690" y="5379526"/>
              <a:ext cx="982760" cy="46166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statura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édia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xmlns="" id="{280DF093-DEA0-3641-E26B-A95A2E928ED2}"/>
                </a:ext>
              </a:extLst>
            </p:cNvPr>
            <p:cNvSpPr txBox="1"/>
            <p:nvPr/>
          </p:nvSpPr>
          <p:spPr>
            <a:xfrm>
              <a:off x="2036996" y="5379526"/>
              <a:ext cx="993912" cy="46166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CH, 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osoritida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CA3B5CCD-4A86-B892-C1AD-EB62430B1E58}"/>
                </a:ext>
              </a:extLst>
            </p:cNvPr>
            <p:cNvSpPr txBox="1"/>
            <p:nvPr/>
          </p:nvSpPr>
          <p:spPr>
            <a:xfrm>
              <a:off x="2319591" y="5011037"/>
              <a:ext cx="4443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=9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74B3505A-8E55-7272-0242-3C628CD8CB17}"/>
                </a:ext>
              </a:extLst>
            </p:cNvPr>
            <p:cNvSpPr txBox="1"/>
            <p:nvPr/>
          </p:nvSpPr>
          <p:spPr>
            <a:xfrm>
              <a:off x="3022032" y="5379526"/>
              <a:ext cx="982760" cy="46166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statura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édia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1F91BF70-9703-8FF0-CD1E-A5D3896A2A79}"/>
                </a:ext>
              </a:extLst>
            </p:cNvPr>
            <p:cNvSpPr txBox="1"/>
            <p:nvPr/>
          </p:nvSpPr>
          <p:spPr>
            <a:xfrm>
              <a:off x="3665841" y="5379526"/>
              <a:ext cx="982760" cy="83099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CH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História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Natural 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xmlns="" id="{248F4E37-9C07-E692-1240-833C6F981F66}"/>
                </a:ext>
              </a:extLst>
            </p:cNvPr>
            <p:cNvSpPr txBox="1"/>
            <p:nvPr/>
          </p:nvSpPr>
          <p:spPr>
            <a:xfrm>
              <a:off x="3899585" y="5011036"/>
              <a:ext cx="52931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=30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xmlns="" id="{77E0E71C-ED2B-43C9-9CC1-2557AEB4E4C3}"/>
                </a:ext>
              </a:extLst>
            </p:cNvPr>
            <p:cNvSpPr txBox="1"/>
            <p:nvPr/>
          </p:nvSpPr>
          <p:spPr>
            <a:xfrm>
              <a:off x="1618412" y="2445080"/>
              <a:ext cx="5677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6.21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xmlns="" id="{7DF762BC-5126-8F6F-5CE4-A468135674C9}"/>
                </a:ext>
              </a:extLst>
            </p:cNvPr>
            <p:cNvSpPr txBox="1"/>
            <p:nvPr/>
          </p:nvSpPr>
          <p:spPr>
            <a:xfrm>
              <a:off x="2266395" y="2685626"/>
              <a:ext cx="5677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3.71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xmlns="" id="{8302E120-FC9F-78A3-BFA2-A9627180A78F}"/>
                </a:ext>
              </a:extLst>
            </p:cNvPr>
            <p:cNvSpPr txBox="1"/>
            <p:nvPr/>
          </p:nvSpPr>
          <p:spPr>
            <a:xfrm>
              <a:off x="3240464" y="2407833"/>
              <a:ext cx="5677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6.36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xmlns="" id="{CE6E1206-B0CA-08AB-C835-FEEF449F0C4F}"/>
                </a:ext>
              </a:extLst>
            </p:cNvPr>
            <p:cNvSpPr txBox="1"/>
            <p:nvPr/>
          </p:nvSpPr>
          <p:spPr>
            <a:xfrm>
              <a:off x="3889321" y="3313264"/>
              <a:ext cx="5677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7.31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701773E6-4CFE-6BE8-FDED-E6C3DAB696E8}"/>
              </a:ext>
            </a:extLst>
          </p:cNvPr>
          <p:cNvGrpSpPr/>
          <p:nvPr/>
        </p:nvGrpSpPr>
        <p:grpSpPr>
          <a:xfrm rot="10800000">
            <a:off x="10304903" y="572185"/>
            <a:ext cx="1485052" cy="4855277"/>
            <a:chOff x="2045680" y="1586311"/>
            <a:chExt cx="1336775" cy="4512990"/>
          </a:xfrm>
        </p:grpSpPr>
        <p:pic>
          <p:nvPicPr>
            <p:cNvPr id="62" name="Picture 61" descr="A white hexagon with black border&#10;&#10;Description automatically generated">
              <a:extLst>
                <a:ext uri="{FF2B5EF4-FFF2-40B4-BE49-F238E27FC236}">
                  <a16:creationId xmlns:a16="http://schemas.microsoft.com/office/drawing/2014/main" xmlns="" id="{39F0AA1C-95C9-F7CE-664F-E8CB39BE6E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1" t="1" r="-9638" b="63206"/>
            <a:stretch/>
          </p:blipFill>
          <p:spPr>
            <a:xfrm rot="5400000">
              <a:off x="463618" y="3180463"/>
              <a:ext cx="4512990" cy="1324685"/>
            </a:xfrm>
            <a:prstGeom prst="rect">
              <a:avLst/>
            </a:prstGeom>
          </p:spPr>
        </p:pic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xmlns="" id="{5F3FC5BC-6E50-1C0B-1464-91B0E0A895A2}"/>
                </a:ext>
              </a:extLst>
            </p:cNvPr>
            <p:cNvSpPr/>
            <p:nvPr/>
          </p:nvSpPr>
          <p:spPr>
            <a:xfrm rot="16200000">
              <a:off x="595188" y="3215541"/>
              <a:ext cx="3755061" cy="854077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C3A8E9EE-AD64-79E0-1086-F945543D850E}"/>
              </a:ext>
            </a:extLst>
          </p:cNvPr>
          <p:cNvSpPr txBox="1"/>
          <p:nvPr/>
        </p:nvSpPr>
        <p:spPr>
          <a:xfrm>
            <a:off x="10483893" y="2389040"/>
            <a:ext cx="1619617" cy="18928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300" b="1" i="0" u="none" strike="noStrike" kern="0" cap="none" spc="0" normalizeH="0" baseline="0" noProof="0" dirty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icácia consistente e duradoura </a:t>
            </a:r>
            <a:r>
              <a:rPr kumimoji="0" lang="pt-BR" sz="13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 vosoritida em crianças que iniciaram o tratamento </a:t>
            </a:r>
            <a:r>
              <a:rPr kumimoji="0" lang="pt-BR" sz="1300" b="1" i="0" u="none" strike="noStrike" kern="0" cap="none" spc="0" normalizeH="0" baseline="0" noProof="0" dirty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pois dos 5 anos de idade</a:t>
            </a:r>
            <a:endParaRPr kumimoji="0" lang="en-GB" sz="1300" b="1" i="0" u="none" strike="sngStrike" kern="0" cap="none" spc="0" normalizeH="0" baseline="0" noProof="0" dirty="0">
              <a:ln>
                <a:noFill/>
              </a:ln>
              <a:solidFill>
                <a:srgbClr val="28509C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23544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F4B7A54-5477-0E41-A872-B73F35915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735" y="103239"/>
            <a:ext cx="11412794" cy="58656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b="1" dirty="0">
                <a:gradFill flip="none" rotWithShape="1">
                  <a:gsLst>
                    <a:gs pos="100000">
                      <a:schemeClr val="accent5"/>
                    </a:gs>
                    <a:gs pos="0">
                      <a:schemeClr val="accent1"/>
                    </a:gs>
                  </a:gsLst>
                  <a:lin ang="10800000" scaled="1"/>
                  <a:tileRect/>
                </a:gradFill>
                <a:latin typeface="+mj-lt"/>
                <a:ea typeface="+mn-ea"/>
                <a:cs typeface="Futura Medium" panose="020B0602020204020303" pitchFamily="34" charset="-79"/>
              </a:rPr>
              <a:t>Maior redução na proporção dos segmentos superior e inferior do corpo em crianças tratadas com vosoritida em comparação ao grupo não tratado</a:t>
            </a:r>
            <a:r>
              <a:rPr lang="en-US" b="1" dirty="0"/>
              <a:t>									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28C38FB0-7BDA-7D42-1AE8-7048200B5052}"/>
              </a:ext>
            </a:extLst>
          </p:cNvPr>
          <p:cNvGrpSpPr/>
          <p:nvPr/>
        </p:nvGrpSpPr>
        <p:grpSpPr>
          <a:xfrm>
            <a:off x="-124657" y="1244921"/>
            <a:ext cx="11987497" cy="4781005"/>
            <a:chOff x="-199088" y="1319349"/>
            <a:chExt cx="11987497" cy="4781005"/>
          </a:xfrm>
        </p:grpSpPr>
        <p:pic>
          <p:nvPicPr>
            <p:cNvPr id="10" name="Picture 9" descr="A white light in the corner of a black background&#10;&#10;Description automatically generated">
              <a:extLst>
                <a:ext uri="{FF2B5EF4-FFF2-40B4-BE49-F238E27FC236}">
                  <a16:creationId xmlns:a16="http://schemas.microsoft.com/office/drawing/2014/main" xmlns="" id="{7056FB33-DC5F-BAEC-BB91-6B18D29BFE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9148760" y="1319349"/>
              <a:ext cx="1048255" cy="4781005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80EC5218-78D4-AC12-3F6E-FF90058A4099}"/>
                </a:ext>
              </a:extLst>
            </p:cNvPr>
            <p:cNvSpPr txBox="1"/>
            <p:nvPr/>
          </p:nvSpPr>
          <p:spPr>
            <a:xfrm>
              <a:off x="9699647" y="4792939"/>
              <a:ext cx="208876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ea typeface="+mn-ea"/>
                </a:rPr>
                <a:t>A proporcionalidade está associada a uma </a:t>
              </a:r>
              <a:r>
                <a:rPr lang="pt-BR" sz="1200" b="1" kern="0" dirty="0">
                  <a:solidFill>
                    <a:srgbClr val="28509C"/>
                  </a:solidFill>
                </a:rPr>
                <a:t>maior funcionalidade </a:t>
              </a:r>
              <a:r>
                <a:rPr kumimoji="0" lang="pt-B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ea typeface="+mn-ea"/>
                </a:rPr>
                <a:t>e </a:t>
              </a:r>
              <a:r>
                <a:rPr lang="pt-BR" sz="1200" b="1" kern="0" dirty="0">
                  <a:solidFill>
                    <a:srgbClr val="28509C"/>
                  </a:solidFill>
                </a:rPr>
                <a:t>qualidade de vida</a:t>
              </a:r>
              <a:endParaRPr lang="en-US" sz="1200" b="1" kern="0" dirty="0">
                <a:solidFill>
                  <a:srgbClr val="28509C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3F76E148-04D7-20AA-67F5-68117C751654}"/>
                </a:ext>
              </a:extLst>
            </p:cNvPr>
            <p:cNvSpPr txBox="1"/>
            <p:nvPr/>
          </p:nvSpPr>
          <p:spPr>
            <a:xfrm>
              <a:off x="9786569" y="2103905"/>
              <a:ext cx="197116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28509C"/>
                  </a:solidFill>
                  <a:effectLst/>
                  <a:uLnTx/>
                  <a:uFillTx/>
                  <a:ea typeface="+mn-ea"/>
                </a:rPr>
                <a:t>Proporção entre os segmentos superior e inferior do corpo</a:t>
              </a:r>
              <a:endParaRPr kumimoji="0" lang="en-GB" sz="1200" b="0" i="0" u="none" strike="noStrike" kern="0" cap="none" spc="0" normalizeH="0" baseline="3000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ea typeface="+mn-ea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xmlns="" id="{09BFF1E0-CC4E-7657-4A2A-6667E2892E57}"/>
                </a:ext>
              </a:extLst>
            </p:cNvPr>
            <p:cNvGrpSpPr/>
            <p:nvPr/>
          </p:nvGrpSpPr>
          <p:grpSpPr>
            <a:xfrm>
              <a:off x="9315215" y="2804166"/>
              <a:ext cx="2226532" cy="1846862"/>
              <a:chOff x="9476991" y="2895666"/>
              <a:chExt cx="1955728" cy="1627482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xmlns="" id="{B0D3061C-5FAA-B21C-651A-663398823B2F}"/>
                  </a:ext>
                </a:extLst>
              </p:cNvPr>
              <p:cNvSpPr txBox="1"/>
              <p:nvPr/>
            </p:nvSpPr>
            <p:spPr>
              <a:xfrm>
                <a:off x="9476991" y="3193137"/>
                <a:ext cx="870892" cy="352583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EC037C"/>
                    </a:solidFill>
                    <a:effectLst/>
                    <a:uLnTx/>
                    <a:uFillTx/>
                    <a:ea typeface="+mn-ea"/>
                  </a:rPr>
                  <a:t>Segmento</a:t>
                </a: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C037C"/>
                    </a:solidFill>
                    <a:effectLst/>
                    <a:uLnTx/>
                    <a:uFillTx/>
                    <a:ea typeface="+mn-ea"/>
                  </a:rPr>
                  <a:t> Superior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xmlns="" id="{A5BA31D0-608B-6954-BA85-D2F72D73837B}"/>
                  </a:ext>
                </a:extLst>
              </p:cNvPr>
              <p:cNvSpPr txBox="1"/>
              <p:nvPr/>
            </p:nvSpPr>
            <p:spPr>
              <a:xfrm>
                <a:off x="9486441" y="4013481"/>
                <a:ext cx="861444" cy="352583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50505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ea typeface="+mn-ea"/>
                  </a:rPr>
                  <a:t>Segmento</a:t>
                </a: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ea typeface="+mn-ea"/>
                  </a:rPr>
                  <a:t> Inferior</a:t>
                </a:r>
              </a:p>
            </p:txBody>
          </p: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xmlns="" id="{2C057BEF-D6EF-0DFB-DF55-039EC1A0C1E5}"/>
                  </a:ext>
                </a:extLst>
              </p:cNvPr>
              <p:cNvGrpSpPr/>
              <p:nvPr/>
            </p:nvGrpSpPr>
            <p:grpSpPr>
              <a:xfrm>
                <a:off x="10552405" y="2895666"/>
                <a:ext cx="880314" cy="1615728"/>
                <a:chOff x="10552405" y="2895666"/>
                <a:chExt cx="880314" cy="1615728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xmlns="" id="{6EDC9CE5-8228-65A2-968E-4895F531D3A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552405" y="3847394"/>
                  <a:ext cx="880314" cy="0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B3B3B3"/>
                  </a:solidFill>
                  <a:prstDash val="solid"/>
                  <a:miter lim="800000"/>
                </a:ln>
                <a:effectLst/>
              </p:spPr>
            </p:cxnSp>
            <p:grpSp>
              <p:nvGrpSpPr>
                <p:cNvPr id="24" name="Graphic 4">
                  <a:extLst>
                    <a:ext uri="{FF2B5EF4-FFF2-40B4-BE49-F238E27FC236}">
                      <a16:creationId xmlns:a16="http://schemas.microsoft.com/office/drawing/2014/main" xmlns="" id="{09A64A09-FC31-8259-FCCC-1FCAEDC20E3C}"/>
                    </a:ext>
                  </a:extLst>
                </p:cNvPr>
                <p:cNvGrpSpPr/>
                <p:nvPr/>
              </p:nvGrpSpPr>
              <p:grpSpPr>
                <a:xfrm>
                  <a:off x="10552405" y="2895666"/>
                  <a:ext cx="880314" cy="1615728"/>
                  <a:chOff x="7086391" y="3465083"/>
                  <a:chExt cx="1217679" cy="2234938"/>
                </a:xfrm>
                <a:solidFill>
                  <a:srgbClr val="000000"/>
                </a:solidFill>
              </p:grpSpPr>
              <p:sp>
                <p:nvSpPr>
                  <p:cNvPr id="25" name="Freeform: Shape 24">
                    <a:extLst>
                      <a:ext uri="{FF2B5EF4-FFF2-40B4-BE49-F238E27FC236}">
                        <a16:creationId xmlns:a16="http://schemas.microsoft.com/office/drawing/2014/main" xmlns="" id="{55BE21DA-6213-2FA3-66C3-98639A56F64E}"/>
                      </a:ext>
                    </a:extLst>
                  </p:cNvPr>
                  <p:cNvSpPr/>
                  <p:nvPr/>
                </p:nvSpPr>
                <p:spPr>
                  <a:xfrm>
                    <a:off x="7086391" y="3465083"/>
                    <a:ext cx="1217679" cy="1326739"/>
                  </a:xfrm>
                  <a:custGeom>
                    <a:avLst/>
                    <a:gdLst>
                      <a:gd name="connsiteX0" fmla="*/ 1204835 w 1217679"/>
                      <a:gd name="connsiteY0" fmla="*/ 1178718 h 1326740"/>
                      <a:gd name="connsiteX1" fmla="*/ 1201210 w 1217679"/>
                      <a:gd name="connsiteY1" fmla="*/ 1171630 h 1326740"/>
                      <a:gd name="connsiteX2" fmla="*/ 1195692 w 1217679"/>
                      <a:gd name="connsiteY2" fmla="*/ 1162108 h 1326740"/>
                      <a:gd name="connsiteX3" fmla="*/ 1191255 w 1217679"/>
                      <a:gd name="connsiteY3" fmla="*/ 1154859 h 1326740"/>
                      <a:gd name="connsiteX4" fmla="*/ 1181896 w 1217679"/>
                      <a:gd name="connsiteY4" fmla="*/ 1138358 h 1326740"/>
                      <a:gd name="connsiteX5" fmla="*/ 1175404 w 1217679"/>
                      <a:gd name="connsiteY5" fmla="*/ 1125373 h 1326740"/>
                      <a:gd name="connsiteX6" fmla="*/ 1173564 w 1217679"/>
                      <a:gd name="connsiteY6" fmla="*/ 1121262 h 1326740"/>
                      <a:gd name="connsiteX7" fmla="*/ 1172536 w 1217679"/>
                      <a:gd name="connsiteY7" fmla="*/ 1116663 h 1326740"/>
                      <a:gd name="connsiteX8" fmla="*/ 1178000 w 1217679"/>
                      <a:gd name="connsiteY8" fmla="*/ 1122289 h 1326740"/>
                      <a:gd name="connsiteX9" fmla="*/ 1194988 w 1217679"/>
                      <a:gd name="connsiteY9" fmla="*/ 1135923 h 1326740"/>
                      <a:gd name="connsiteX10" fmla="*/ 1203807 w 1217679"/>
                      <a:gd name="connsiteY10" fmla="*/ 1137330 h 1326740"/>
                      <a:gd name="connsiteX11" fmla="*/ 1212572 w 1217679"/>
                      <a:gd name="connsiteY11" fmla="*/ 1134949 h 1326740"/>
                      <a:gd name="connsiteX12" fmla="*/ 1217116 w 1217679"/>
                      <a:gd name="connsiteY12" fmla="*/ 1129160 h 1326740"/>
                      <a:gd name="connsiteX13" fmla="*/ 1215601 w 1217679"/>
                      <a:gd name="connsiteY13" fmla="*/ 1123209 h 1326740"/>
                      <a:gd name="connsiteX14" fmla="*/ 1212247 w 1217679"/>
                      <a:gd name="connsiteY14" fmla="*/ 1120180 h 1326740"/>
                      <a:gd name="connsiteX15" fmla="*/ 1201968 w 1217679"/>
                      <a:gd name="connsiteY15" fmla="*/ 1107357 h 1326740"/>
                      <a:gd name="connsiteX16" fmla="*/ 1194934 w 1217679"/>
                      <a:gd name="connsiteY16" fmla="*/ 1098972 h 1326740"/>
                      <a:gd name="connsiteX17" fmla="*/ 1186440 w 1217679"/>
                      <a:gd name="connsiteY17" fmla="*/ 1091830 h 1326740"/>
                      <a:gd name="connsiteX18" fmla="*/ 1179624 w 1217679"/>
                      <a:gd name="connsiteY18" fmla="*/ 1083823 h 1326740"/>
                      <a:gd name="connsiteX19" fmla="*/ 1172752 w 1217679"/>
                      <a:gd name="connsiteY19" fmla="*/ 1075870 h 1326740"/>
                      <a:gd name="connsiteX20" fmla="*/ 1164746 w 1217679"/>
                      <a:gd name="connsiteY20" fmla="*/ 1071542 h 1326740"/>
                      <a:gd name="connsiteX21" fmla="*/ 1131960 w 1217679"/>
                      <a:gd name="connsiteY21" fmla="*/ 1062561 h 1326740"/>
                      <a:gd name="connsiteX22" fmla="*/ 1119300 w 1217679"/>
                      <a:gd name="connsiteY22" fmla="*/ 1062182 h 1326740"/>
                      <a:gd name="connsiteX23" fmla="*/ 1109778 w 1217679"/>
                      <a:gd name="connsiteY23" fmla="*/ 1060289 h 1326740"/>
                      <a:gd name="connsiteX24" fmla="*/ 1106261 w 1217679"/>
                      <a:gd name="connsiteY24" fmla="*/ 1056772 h 1326740"/>
                      <a:gd name="connsiteX25" fmla="*/ 1068498 w 1217679"/>
                      <a:gd name="connsiteY25" fmla="*/ 963230 h 1326740"/>
                      <a:gd name="connsiteX26" fmla="*/ 1036037 w 1217679"/>
                      <a:gd name="connsiteY26" fmla="*/ 866333 h 1326740"/>
                      <a:gd name="connsiteX27" fmla="*/ 1006606 w 1217679"/>
                      <a:gd name="connsiteY27" fmla="*/ 821212 h 1326740"/>
                      <a:gd name="connsiteX28" fmla="*/ 976687 w 1217679"/>
                      <a:gd name="connsiteY28" fmla="*/ 748662 h 1326740"/>
                      <a:gd name="connsiteX29" fmla="*/ 959970 w 1217679"/>
                      <a:gd name="connsiteY29" fmla="*/ 688284 h 1326740"/>
                      <a:gd name="connsiteX30" fmla="*/ 954884 w 1217679"/>
                      <a:gd name="connsiteY30" fmla="*/ 600531 h 1326740"/>
                      <a:gd name="connsiteX31" fmla="*/ 891477 w 1217679"/>
                      <a:gd name="connsiteY31" fmla="*/ 540153 h 1326740"/>
                      <a:gd name="connsiteX32" fmla="*/ 840729 w 1217679"/>
                      <a:gd name="connsiteY32" fmla="*/ 529008 h 1326740"/>
                      <a:gd name="connsiteX33" fmla="*/ 727115 w 1217679"/>
                      <a:gd name="connsiteY33" fmla="*/ 479830 h 1326740"/>
                      <a:gd name="connsiteX34" fmla="*/ 699199 w 1217679"/>
                      <a:gd name="connsiteY34" fmla="*/ 453428 h 1326740"/>
                      <a:gd name="connsiteX35" fmla="*/ 699199 w 1217679"/>
                      <a:gd name="connsiteY35" fmla="*/ 361130 h 1326740"/>
                      <a:gd name="connsiteX36" fmla="*/ 715916 w 1217679"/>
                      <a:gd name="connsiteY36" fmla="*/ 327154 h 1326740"/>
                      <a:gd name="connsiteX37" fmla="*/ 726087 w 1217679"/>
                      <a:gd name="connsiteY37" fmla="*/ 302808 h 1326740"/>
                      <a:gd name="connsiteX38" fmla="*/ 738260 w 1217679"/>
                      <a:gd name="connsiteY38" fmla="*/ 295180 h 1326740"/>
                      <a:gd name="connsiteX39" fmla="*/ 746376 w 1217679"/>
                      <a:gd name="connsiteY39" fmla="*/ 218572 h 1326740"/>
                      <a:gd name="connsiteX40" fmla="*/ 729658 w 1217679"/>
                      <a:gd name="connsiteY40" fmla="*/ 215542 h 1326740"/>
                      <a:gd name="connsiteX41" fmla="*/ 744861 w 1217679"/>
                      <a:gd name="connsiteY41" fmla="*/ 105986 h 1326740"/>
                      <a:gd name="connsiteX42" fmla="*/ 611445 w 1217679"/>
                      <a:gd name="connsiteY42" fmla="*/ 0 h 1326740"/>
                      <a:gd name="connsiteX43" fmla="*/ 606035 w 1217679"/>
                      <a:gd name="connsiteY43" fmla="*/ 0 h 1326740"/>
                      <a:gd name="connsiteX44" fmla="*/ 472620 w 1217679"/>
                      <a:gd name="connsiteY44" fmla="*/ 105986 h 1326740"/>
                      <a:gd name="connsiteX45" fmla="*/ 487823 w 1217679"/>
                      <a:gd name="connsiteY45" fmla="*/ 215542 h 1326740"/>
                      <a:gd name="connsiteX46" fmla="*/ 471105 w 1217679"/>
                      <a:gd name="connsiteY46" fmla="*/ 218572 h 1326740"/>
                      <a:gd name="connsiteX47" fmla="*/ 479221 w 1217679"/>
                      <a:gd name="connsiteY47" fmla="*/ 295180 h 1326740"/>
                      <a:gd name="connsiteX48" fmla="*/ 491393 w 1217679"/>
                      <a:gd name="connsiteY48" fmla="*/ 302808 h 1326740"/>
                      <a:gd name="connsiteX49" fmla="*/ 501565 w 1217679"/>
                      <a:gd name="connsiteY49" fmla="*/ 327154 h 1326740"/>
                      <a:gd name="connsiteX50" fmla="*/ 518282 w 1217679"/>
                      <a:gd name="connsiteY50" fmla="*/ 361130 h 1326740"/>
                      <a:gd name="connsiteX51" fmla="*/ 518282 w 1217679"/>
                      <a:gd name="connsiteY51" fmla="*/ 453428 h 1326740"/>
                      <a:gd name="connsiteX52" fmla="*/ 490366 w 1217679"/>
                      <a:gd name="connsiteY52" fmla="*/ 479830 h 1326740"/>
                      <a:gd name="connsiteX53" fmla="*/ 376752 w 1217679"/>
                      <a:gd name="connsiteY53" fmla="*/ 529008 h 1326740"/>
                      <a:gd name="connsiteX54" fmla="*/ 326004 w 1217679"/>
                      <a:gd name="connsiteY54" fmla="*/ 540153 h 1326740"/>
                      <a:gd name="connsiteX55" fmla="*/ 262597 w 1217679"/>
                      <a:gd name="connsiteY55" fmla="*/ 600531 h 1326740"/>
                      <a:gd name="connsiteX56" fmla="*/ 257511 w 1217679"/>
                      <a:gd name="connsiteY56" fmla="*/ 688284 h 1326740"/>
                      <a:gd name="connsiteX57" fmla="*/ 240794 w 1217679"/>
                      <a:gd name="connsiteY57" fmla="*/ 748662 h 1326740"/>
                      <a:gd name="connsiteX58" fmla="*/ 210875 w 1217679"/>
                      <a:gd name="connsiteY58" fmla="*/ 821212 h 1326740"/>
                      <a:gd name="connsiteX59" fmla="*/ 181444 w 1217679"/>
                      <a:gd name="connsiteY59" fmla="*/ 866333 h 1326740"/>
                      <a:gd name="connsiteX60" fmla="*/ 148983 w 1217679"/>
                      <a:gd name="connsiteY60" fmla="*/ 963230 h 1326740"/>
                      <a:gd name="connsiteX61" fmla="*/ 111219 w 1217679"/>
                      <a:gd name="connsiteY61" fmla="*/ 1056772 h 1326740"/>
                      <a:gd name="connsiteX62" fmla="*/ 107703 w 1217679"/>
                      <a:gd name="connsiteY62" fmla="*/ 1060289 h 1326740"/>
                      <a:gd name="connsiteX63" fmla="*/ 98181 w 1217679"/>
                      <a:gd name="connsiteY63" fmla="*/ 1062182 h 1326740"/>
                      <a:gd name="connsiteX64" fmla="*/ 85521 w 1217679"/>
                      <a:gd name="connsiteY64" fmla="*/ 1062561 h 1326740"/>
                      <a:gd name="connsiteX65" fmla="*/ 52735 w 1217679"/>
                      <a:gd name="connsiteY65" fmla="*/ 1071542 h 1326740"/>
                      <a:gd name="connsiteX66" fmla="*/ 44728 w 1217679"/>
                      <a:gd name="connsiteY66" fmla="*/ 1075870 h 1326740"/>
                      <a:gd name="connsiteX67" fmla="*/ 37857 w 1217679"/>
                      <a:gd name="connsiteY67" fmla="*/ 1083823 h 1326740"/>
                      <a:gd name="connsiteX68" fmla="*/ 31040 w 1217679"/>
                      <a:gd name="connsiteY68" fmla="*/ 1091830 h 1326740"/>
                      <a:gd name="connsiteX69" fmla="*/ 22547 w 1217679"/>
                      <a:gd name="connsiteY69" fmla="*/ 1098972 h 1326740"/>
                      <a:gd name="connsiteX70" fmla="*/ 15513 w 1217679"/>
                      <a:gd name="connsiteY70" fmla="*/ 1107357 h 1326740"/>
                      <a:gd name="connsiteX71" fmla="*/ 5234 w 1217679"/>
                      <a:gd name="connsiteY71" fmla="*/ 1120180 h 1326740"/>
                      <a:gd name="connsiteX72" fmla="*/ 1880 w 1217679"/>
                      <a:gd name="connsiteY72" fmla="*/ 1123209 h 1326740"/>
                      <a:gd name="connsiteX73" fmla="*/ 365 w 1217679"/>
                      <a:gd name="connsiteY73" fmla="*/ 1129160 h 1326740"/>
                      <a:gd name="connsiteX74" fmla="*/ 4909 w 1217679"/>
                      <a:gd name="connsiteY74" fmla="*/ 1134949 h 1326740"/>
                      <a:gd name="connsiteX75" fmla="*/ 13674 w 1217679"/>
                      <a:gd name="connsiteY75" fmla="*/ 1137330 h 1326740"/>
                      <a:gd name="connsiteX76" fmla="*/ 22492 w 1217679"/>
                      <a:gd name="connsiteY76" fmla="*/ 1135923 h 1326740"/>
                      <a:gd name="connsiteX77" fmla="*/ 39480 w 1217679"/>
                      <a:gd name="connsiteY77" fmla="*/ 1122289 h 1326740"/>
                      <a:gd name="connsiteX78" fmla="*/ 44945 w 1217679"/>
                      <a:gd name="connsiteY78" fmla="*/ 1116663 h 1326740"/>
                      <a:gd name="connsiteX79" fmla="*/ 43917 w 1217679"/>
                      <a:gd name="connsiteY79" fmla="*/ 1121262 h 1326740"/>
                      <a:gd name="connsiteX80" fmla="*/ 42077 w 1217679"/>
                      <a:gd name="connsiteY80" fmla="*/ 1125373 h 1326740"/>
                      <a:gd name="connsiteX81" fmla="*/ 35585 w 1217679"/>
                      <a:gd name="connsiteY81" fmla="*/ 1138358 h 1326740"/>
                      <a:gd name="connsiteX82" fmla="*/ 26225 w 1217679"/>
                      <a:gd name="connsiteY82" fmla="*/ 1154859 h 1326740"/>
                      <a:gd name="connsiteX83" fmla="*/ 21789 w 1217679"/>
                      <a:gd name="connsiteY83" fmla="*/ 1162108 h 1326740"/>
                      <a:gd name="connsiteX84" fmla="*/ 16271 w 1217679"/>
                      <a:gd name="connsiteY84" fmla="*/ 1171630 h 1326740"/>
                      <a:gd name="connsiteX85" fmla="*/ 12646 w 1217679"/>
                      <a:gd name="connsiteY85" fmla="*/ 1178718 h 1326740"/>
                      <a:gd name="connsiteX86" fmla="*/ 2312 w 1217679"/>
                      <a:gd name="connsiteY86" fmla="*/ 1205877 h 1326740"/>
                      <a:gd name="connsiteX87" fmla="*/ 257 w 1217679"/>
                      <a:gd name="connsiteY87" fmla="*/ 1218753 h 1326740"/>
                      <a:gd name="connsiteX88" fmla="*/ 1447 w 1217679"/>
                      <a:gd name="connsiteY88" fmla="*/ 1224271 h 1326740"/>
                      <a:gd name="connsiteX89" fmla="*/ 10374 w 1217679"/>
                      <a:gd name="connsiteY89" fmla="*/ 1230493 h 1326740"/>
                      <a:gd name="connsiteX90" fmla="*/ 18597 w 1217679"/>
                      <a:gd name="connsiteY90" fmla="*/ 1226381 h 1326740"/>
                      <a:gd name="connsiteX91" fmla="*/ 22655 w 1217679"/>
                      <a:gd name="connsiteY91" fmla="*/ 1217779 h 1326740"/>
                      <a:gd name="connsiteX92" fmla="*/ 29526 w 1217679"/>
                      <a:gd name="connsiteY92" fmla="*/ 1200034 h 1326740"/>
                      <a:gd name="connsiteX93" fmla="*/ 33421 w 1217679"/>
                      <a:gd name="connsiteY93" fmla="*/ 1193055 h 1326740"/>
                      <a:gd name="connsiteX94" fmla="*/ 47271 w 1217679"/>
                      <a:gd name="connsiteY94" fmla="*/ 1171035 h 1326740"/>
                      <a:gd name="connsiteX95" fmla="*/ 50138 w 1217679"/>
                      <a:gd name="connsiteY95" fmla="*/ 1167573 h 1326740"/>
                      <a:gd name="connsiteX96" fmla="*/ 53006 w 1217679"/>
                      <a:gd name="connsiteY96" fmla="*/ 1169142 h 1326740"/>
                      <a:gd name="connsiteX97" fmla="*/ 49543 w 1217679"/>
                      <a:gd name="connsiteY97" fmla="*/ 1175526 h 1326740"/>
                      <a:gd name="connsiteX98" fmla="*/ 42077 w 1217679"/>
                      <a:gd name="connsiteY98" fmla="*/ 1187969 h 1326740"/>
                      <a:gd name="connsiteX99" fmla="*/ 31960 w 1217679"/>
                      <a:gd name="connsiteY99" fmla="*/ 1211936 h 1326740"/>
                      <a:gd name="connsiteX100" fmla="*/ 24873 w 1217679"/>
                      <a:gd name="connsiteY100" fmla="*/ 1231197 h 1326740"/>
                      <a:gd name="connsiteX101" fmla="*/ 21356 w 1217679"/>
                      <a:gd name="connsiteY101" fmla="*/ 1243207 h 1326740"/>
                      <a:gd name="connsiteX102" fmla="*/ 21194 w 1217679"/>
                      <a:gd name="connsiteY102" fmla="*/ 1248239 h 1326740"/>
                      <a:gd name="connsiteX103" fmla="*/ 29526 w 1217679"/>
                      <a:gd name="connsiteY103" fmla="*/ 1257057 h 1326740"/>
                      <a:gd name="connsiteX104" fmla="*/ 40400 w 1217679"/>
                      <a:gd name="connsiteY104" fmla="*/ 1253000 h 1326740"/>
                      <a:gd name="connsiteX105" fmla="*/ 43646 w 1217679"/>
                      <a:gd name="connsiteY105" fmla="*/ 1245696 h 1326740"/>
                      <a:gd name="connsiteX106" fmla="*/ 47163 w 1217679"/>
                      <a:gd name="connsiteY106" fmla="*/ 1235795 h 1326740"/>
                      <a:gd name="connsiteX107" fmla="*/ 54791 w 1217679"/>
                      <a:gd name="connsiteY107" fmla="*/ 1219456 h 1326740"/>
                      <a:gd name="connsiteX108" fmla="*/ 68966 w 1217679"/>
                      <a:gd name="connsiteY108" fmla="*/ 1189592 h 1326740"/>
                      <a:gd name="connsiteX109" fmla="*/ 73348 w 1217679"/>
                      <a:gd name="connsiteY109" fmla="*/ 1181369 h 1326740"/>
                      <a:gd name="connsiteX110" fmla="*/ 77406 w 1217679"/>
                      <a:gd name="connsiteY110" fmla="*/ 1182721 h 1326740"/>
                      <a:gd name="connsiteX111" fmla="*/ 74755 w 1217679"/>
                      <a:gd name="connsiteY111" fmla="*/ 1188997 h 1326740"/>
                      <a:gd name="connsiteX112" fmla="*/ 64854 w 1217679"/>
                      <a:gd name="connsiteY112" fmla="*/ 1214100 h 1326740"/>
                      <a:gd name="connsiteX113" fmla="*/ 57767 w 1217679"/>
                      <a:gd name="connsiteY113" fmla="*/ 1231683 h 1326740"/>
                      <a:gd name="connsiteX114" fmla="*/ 50301 w 1217679"/>
                      <a:gd name="connsiteY114" fmla="*/ 1248617 h 1326740"/>
                      <a:gd name="connsiteX115" fmla="*/ 49706 w 1217679"/>
                      <a:gd name="connsiteY115" fmla="*/ 1251539 h 1326740"/>
                      <a:gd name="connsiteX116" fmla="*/ 53709 w 1217679"/>
                      <a:gd name="connsiteY116" fmla="*/ 1259059 h 1326740"/>
                      <a:gd name="connsiteX117" fmla="*/ 67830 w 1217679"/>
                      <a:gd name="connsiteY117" fmla="*/ 1257274 h 1326740"/>
                      <a:gd name="connsiteX118" fmla="*/ 73619 w 1217679"/>
                      <a:gd name="connsiteY118" fmla="*/ 1247319 h 1326740"/>
                      <a:gd name="connsiteX119" fmla="*/ 86603 w 1217679"/>
                      <a:gd name="connsiteY119" fmla="*/ 1221350 h 1326740"/>
                      <a:gd name="connsiteX120" fmla="*/ 93907 w 1217679"/>
                      <a:gd name="connsiteY120" fmla="*/ 1204903 h 1326740"/>
                      <a:gd name="connsiteX121" fmla="*/ 99912 w 1217679"/>
                      <a:gd name="connsiteY121" fmla="*/ 1189484 h 1326740"/>
                      <a:gd name="connsiteX122" fmla="*/ 100940 w 1217679"/>
                      <a:gd name="connsiteY122" fmla="*/ 1187807 h 1326740"/>
                      <a:gd name="connsiteX123" fmla="*/ 104944 w 1217679"/>
                      <a:gd name="connsiteY123" fmla="*/ 1187915 h 1326740"/>
                      <a:gd name="connsiteX124" fmla="*/ 101914 w 1217679"/>
                      <a:gd name="connsiteY124" fmla="*/ 1196247 h 1326740"/>
                      <a:gd name="connsiteX125" fmla="*/ 98992 w 1217679"/>
                      <a:gd name="connsiteY125" fmla="*/ 1206851 h 1326740"/>
                      <a:gd name="connsiteX126" fmla="*/ 96882 w 1217679"/>
                      <a:gd name="connsiteY126" fmla="*/ 1215074 h 1326740"/>
                      <a:gd name="connsiteX127" fmla="*/ 90498 w 1217679"/>
                      <a:gd name="connsiteY127" fmla="*/ 1231413 h 1326740"/>
                      <a:gd name="connsiteX128" fmla="*/ 89092 w 1217679"/>
                      <a:gd name="connsiteY128" fmla="*/ 1238284 h 1326740"/>
                      <a:gd name="connsiteX129" fmla="*/ 93420 w 1217679"/>
                      <a:gd name="connsiteY129" fmla="*/ 1245696 h 1326740"/>
                      <a:gd name="connsiteX130" fmla="*/ 102509 w 1217679"/>
                      <a:gd name="connsiteY130" fmla="*/ 1245209 h 1326740"/>
                      <a:gd name="connsiteX131" fmla="*/ 106296 w 1217679"/>
                      <a:gd name="connsiteY131" fmla="*/ 1241259 h 1326740"/>
                      <a:gd name="connsiteX132" fmla="*/ 114141 w 1217679"/>
                      <a:gd name="connsiteY132" fmla="*/ 1225624 h 1326740"/>
                      <a:gd name="connsiteX133" fmla="*/ 128424 w 1217679"/>
                      <a:gd name="connsiteY133" fmla="*/ 1189268 h 1326740"/>
                      <a:gd name="connsiteX134" fmla="*/ 130155 w 1217679"/>
                      <a:gd name="connsiteY134" fmla="*/ 1186238 h 1326740"/>
                      <a:gd name="connsiteX135" fmla="*/ 141571 w 1217679"/>
                      <a:gd name="connsiteY135" fmla="*/ 1169250 h 1326740"/>
                      <a:gd name="connsiteX136" fmla="*/ 143464 w 1217679"/>
                      <a:gd name="connsiteY136" fmla="*/ 1166328 h 1326740"/>
                      <a:gd name="connsiteX137" fmla="*/ 151039 w 1217679"/>
                      <a:gd name="connsiteY137" fmla="*/ 1153939 h 1326740"/>
                      <a:gd name="connsiteX138" fmla="*/ 160182 w 1217679"/>
                      <a:gd name="connsiteY138" fmla="*/ 1130675 h 1326740"/>
                      <a:gd name="connsiteX139" fmla="*/ 162833 w 1217679"/>
                      <a:gd name="connsiteY139" fmla="*/ 1120450 h 1326740"/>
                      <a:gd name="connsiteX140" fmla="*/ 166836 w 1217679"/>
                      <a:gd name="connsiteY140" fmla="*/ 1100757 h 1326740"/>
                      <a:gd name="connsiteX141" fmla="*/ 187828 w 1217679"/>
                      <a:gd name="connsiteY141" fmla="*/ 1058990 h 1326740"/>
                      <a:gd name="connsiteX142" fmla="*/ 239062 w 1217679"/>
                      <a:gd name="connsiteY142" fmla="*/ 1003211 h 1326740"/>
                      <a:gd name="connsiteX143" fmla="*/ 303227 w 1217679"/>
                      <a:gd name="connsiteY143" fmla="*/ 923573 h 1326740"/>
                      <a:gd name="connsiteX144" fmla="*/ 355219 w 1217679"/>
                      <a:gd name="connsiteY144" fmla="*/ 815045 h 1326740"/>
                      <a:gd name="connsiteX145" fmla="*/ 369394 w 1217679"/>
                      <a:gd name="connsiteY145" fmla="*/ 761268 h 1326740"/>
                      <a:gd name="connsiteX146" fmla="*/ 385624 w 1217679"/>
                      <a:gd name="connsiteY146" fmla="*/ 843935 h 1326740"/>
                      <a:gd name="connsiteX147" fmla="*/ 414028 w 1217679"/>
                      <a:gd name="connsiteY147" fmla="*/ 949921 h 1326740"/>
                      <a:gd name="connsiteX148" fmla="*/ 400827 w 1217679"/>
                      <a:gd name="connsiteY148" fmla="*/ 1059964 h 1326740"/>
                      <a:gd name="connsiteX149" fmla="*/ 395254 w 1217679"/>
                      <a:gd name="connsiteY149" fmla="*/ 1198952 h 1326740"/>
                      <a:gd name="connsiteX150" fmla="*/ 376752 w 1217679"/>
                      <a:gd name="connsiteY150" fmla="*/ 1326740 h 1326740"/>
                      <a:gd name="connsiteX151" fmla="*/ 841162 w 1217679"/>
                      <a:gd name="connsiteY151" fmla="*/ 1326740 h 1326740"/>
                      <a:gd name="connsiteX152" fmla="*/ 822659 w 1217679"/>
                      <a:gd name="connsiteY152" fmla="*/ 1198952 h 1326740"/>
                      <a:gd name="connsiteX153" fmla="*/ 817087 w 1217679"/>
                      <a:gd name="connsiteY153" fmla="*/ 1059964 h 1326740"/>
                      <a:gd name="connsiteX154" fmla="*/ 803886 w 1217679"/>
                      <a:gd name="connsiteY154" fmla="*/ 949921 h 1326740"/>
                      <a:gd name="connsiteX155" fmla="*/ 832289 w 1217679"/>
                      <a:gd name="connsiteY155" fmla="*/ 843935 h 1326740"/>
                      <a:gd name="connsiteX156" fmla="*/ 848520 w 1217679"/>
                      <a:gd name="connsiteY156" fmla="*/ 761268 h 1326740"/>
                      <a:gd name="connsiteX157" fmla="*/ 862695 w 1217679"/>
                      <a:gd name="connsiteY157" fmla="*/ 815045 h 1326740"/>
                      <a:gd name="connsiteX158" fmla="*/ 914687 w 1217679"/>
                      <a:gd name="connsiteY158" fmla="*/ 923573 h 1326740"/>
                      <a:gd name="connsiteX159" fmla="*/ 978851 w 1217679"/>
                      <a:gd name="connsiteY159" fmla="*/ 1003211 h 1326740"/>
                      <a:gd name="connsiteX160" fmla="*/ 1030086 w 1217679"/>
                      <a:gd name="connsiteY160" fmla="*/ 1058990 h 1326740"/>
                      <a:gd name="connsiteX161" fmla="*/ 1051077 w 1217679"/>
                      <a:gd name="connsiteY161" fmla="*/ 1100757 h 1326740"/>
                      <a:gd name="connsiteX162" fmla="*/ 1055081 w 1217679"/>
                      <a:gd name="connsiteY162" fmla="*/ 1120450 h 1326740"/>
                      <a:gd name="connsiteX163" fmla="*/ 1057732 w 1217679"/>
                      <a:gd name="connsiteY163" fmla="*/ 1130675 h 1326740"/>
                      <a:gd name="connsiteX164" fmla="*/ 1066875 w 1217679"/>
                      <a:gd name="connsiteY164" fmla="*/ 1153939 h 1326740"/>
                      <a:gd name="connsiteX165" fmla="*/ 1074449 w 1217679"/>
                      <a:gd name="connsiteY165" fmla="*/ 1166328 h 1326740"/>
                      <a:gd name="connsiteX166" fmla="*/ 1076343 w 1217679"/>
                      <a:gd name="connsiteY166" fmla="*/ 1169250 h 1326740"/>
                      <a:gd name="connsiteX167" fmla="*/ 1087758 w 1217679"/>
                      <a:gd name="connsiteY167" fmla="*/ 1186238 h 1326740"/>
                      <a:gd name="connsiteX168" fmla="*/ 1089490 w 1217679"/>
                      <a:gd name="connsiteY168" fmla="*/ 1189268 h 1326740"/>
                      <a:gd name="connsiteX169" fmla="*/ 1103773 w 1217679"/>
                      <a:gd name="connsiteY169" fmla="*/ 1225624 h 1326740"/>
                      <a:gd name="connsiteX170" fmla="*/ 1111617 w 1217679"/>
                      <a:gd name="connsiteY170" fmla="*/ 1241259 h 1326740"/>
                      <a:gd name="connsiteX171" fmla="*/ 1115405 w 1217679"/>
                      <a:gd name="connsiteY171" fmla="*/ 1245209 h 1326740"/>
                      <a:gd name="connsiteX172" fmla="*/ 1124494 w 1217679"/>
                      <a:gd name="connsiteY172" fmla="*/ 1245696 h 1326740"/>
                      <a:gd name="connsiteX173" fmla="*/ 1128822 w 1217679"/>
                      <a:gd name="connsiteY173" fmla="*/ 1238284 h 1326740"/>
                      <a:gd name="connsiteX174" fmla="*/ 1127415 w 1217679"/>
                      <a:gd name="connsiteY174" fmla="*/ 1231413 h 1326740"/>
                      <a:gd name="connsiteX175" fmla="*/ 1121031 w 1217679"/>
                      <a:gd name="connsiteY175" fmla="*/ 1215074 h 1326740"/>
                      <a:gd name="connsiteX176" fmla="*/ 1118921 w 1217679"/>
                      <a:gd name="connsiteY176" fmla="*/ 1206851 h 1326740"/>
                      <a:gd name="connsiteX177" fmla="*/ 1116000 w 1217679"/>
                      <a:gd name="connsiteY177" fmla="*/ 1196247 h 1326740"/>
                      <a:gd name="connsiteX178" fmla="*/ 1112970 w 1217679"/>
                      <a:gd name="connsiteY178" fmla="*/ 1187915 h 1326740"/>
                      <a:gd name="connsiteX179" fmla="*/ 1116973 w 1217679"/>
                      <a:gd name="connsiteY179" fmla="*/ 1187807 h 1326740"/>
                      <a:gd name="connsiteX180" fmla="*/ 1118001 w 1217679"/>
                      <a:gd name="connsiteY180" fmla="*/ 1189484 h 1326740"/>
                      <a:gd name="connsiteX181" fmla="*/ 1124007 w 1217679"/>
                      <a:gd name="connsiteY181" fmla="*/ 1204903 h 1326740"/>
                      <a:gd name="connsiteX182" fmla="*/ 1131311 w 1217679"/>
                      <a:gd name="connsiteY182" fmla="*/ 1221350 h 1326740"/>
                      <a:gd name="connsiteX183" fmla="*/ 1144295 w 1217679"/>
                      <a:gd name="connsiteY183" fmla="*/ 1247319 h 1326740"/>
                      <a:gd name="connsiteX184" fmla="*/ 1150084 w 1217679"/>
                      <a:gd name="connsiteY184" fmla="*/ 1257274 h 1326740"/>
                      <a:gd name="connsiteX185" fmla="*/ 1164204 w 1217679"/>
                      <a:gd name="connsiteY185" fmla="*/ 1259059 h 1326740"/>
                      <a:gd name="connsiteX186" fmla="*/ 1168208 w 1217679"/>
                      <a:gd name="connsiteY186" fmla="*/ 1251539 h 1326740"/>
                      <a:gd name="connsiteX187" fmla="*/ 1167613 w 1217679"/>
                      <a:gd name="connsiteY187" fmla="*/ 1248617 h 1326740"/>
                      <a:gd name="connsiteX188" fmla="*/ 1160147 w 1217679"/>
                      <a:gd name="connsiteY188" fmla="*/ 1231683 h 1326740"/>
                      <a:gd name="connsiteX189" fmla="*/ 1153060 w 1217679"/>
                      <a:gd name="connsiteY189" fmla="*/ 1214100 h 1326740"/>
                      <a:gd name="connsiteX190" fmla="*/ 1143159 w 1217679"/>
                      <a:gd name="connsiteY190" fmla="*/ 1188997 h 1326740"/>
                      <a:gd name="connsiteX191" fmla="*/ 1140508 w 1217679"/>
                      <a:gd name="connsiteY191" fmla="*/ 1182721 h 1326740"/>
                      <a:gd name="connsiteX192" fmla="*/ 1144565 w 1217679"/>
                      <a:gd name="connsiteY192" fmla="*/ 1181369 h 1326740"/>
                      <a:gd name="connsiteX193" fmla="*/ 1148948 w 1217679"/>
                      <a:gd name="connsiteY193" fmla="*/ 1189592 h 1326740"/>
                      <a:gd name="connsiteX194" fmla="*/ 1163122 w 1217679"/>
                      <a:gd name="connsiteY194" fmla="*/ 1219456 h 1326740"/>
                      <a:gd name="connsiteX195" fmla="*/ 1170751 w 1217679"/>
                      <a:gd name="connsiteY195" fmla="*/ 1235795 h 1326740"/>
                      <a:gd name="connsiteX196" fmla="*/ 1174267 w 1217679"/>
                      <a:gd name="connsiteY196" fmla="*/ 1245696 h 1326740"/>
                      <a:gd name="connsiteX197" fmla="*/ 1177513 w 1217679"/>
                      <a:gd name="connsiteY197" fmla="*/ 1253000 h 1326740"/>
                      <a:gd name="connsiteX198" fmla="*/ 1188388 w 1217679"/>
                      <a:gd name="connsiteY198" fmla="*/ 1257057 h 1326740"/>
                      <a:gd name="connsiteX199" fmla="*/ 1196720 w 1217679"/>
                      <a:gd name="connsiteY199" fmla="*/ 1248239 h 1326740"/>
                      <a:gd name="connsiteX200" fmla="*/ 1196557 w 1217679"/>
                      <a:gd name="connsiteY200" fmla="*/ 1243207 h 1326740"/>
                      <a:gd name="connsiteX201" fmla="*/ 1193041 w 1217679"/>
                      <a:gd name="connsiteY201" fmla="*/ 1231197 h 1326740"/>
                      <a:gd name="connsiteX202" fmla="*/ 1185953 w 1217679"/>
                      <a:gd name="connsiteY202" fmla="*/ 1211936 h 1326740"/>
                      <a:gd name="connsiteX203" fmla="*/ 1175836 w 1217679"/>
                      <a:gd name="connsiteY203" fmla="*/ 1187969 h 1326740"/>
                      <a:gd name="connsiteX204" fmla="*/ 1168370 w 1217679"/>
                      <a:gd name="connsiteY204" fmla="*/ 1175526 h 1326740"/>
                      <a:gd name="connsiteX205" fmla="*/ 1164908 w 1217679"/>
                      <a:gd name="connsiteY205" fmla="*/ 1169142 h 1326740"/>
                      <a:gd name="connsiteX206" fmla="*/ 1167775 w 1217679"/>
                      <a:gd name="connsiteY206" fmla="*/ 1167573 h 1326740"/>
                      <a:gd name="connsiteX207" fmla="*/ 1170643 w 1217679"/>
                      <a:gd name="connsiteY207" fmla="*/ 1171035 h 1326740"/>
                      <a:gd name="connsiteX208" fmla="*/ 1184493 w 1217679"/>
                      <a:gd name="connsiteY208" fmla="*/ 1193055 h 1326740"/>
                      <a:gd name="connsiteX209" fmla="*/ 1188388 w 1217679"/>
                      <a:gd name="connsiteY209" fmla="*/ 1200034 h 1326740"/>
                      <a:gd name="connsiteX210" fmla="*/ 1195259 w 1217679"/>
                      <a:gd name="connsiteY210" fmla="*/ 1217779 h 1326740"/>
                      <a:gd name="connsiteX211" fmla="*/ 1199317 w 1217679"/>
                      <a:gd name="connsiteY211" fmla="*/ 1226381 h 1326740"/>
                      <a:gd name="connsiteX212" fmla="*/ 1207540 w 1217679"/>
                      <a:gd name="connsiteY212" fmla="*/ 1230493 h 1326740"/>
                      <a:gd name="connsiteX213" fmla="*/ 1216467 w 1217679"/>
                      <a:gd name="connsiteY213" fmla="*/ 1224271 h 1326740"/>
                      <a:gd name="connsiteX214" fmla="*/ 1217657 w 1217679"/>
                      <a:gd name="connsiteY214" fmla="*/ 1218753 h 1326740"/>
                      <a:gd name="connsiteX215" fmla="*/ 1215601 w 1217679"/>
                      <a:gd name="connsiteY215" fmla="*/ 1205877 h 1326740"/>
                      <a:gd name="connsiteX216" fmla="*/ 1205268 w 1217679"/>
                      <a:gd name="connsiteY216" fmla="*/ 1178718 h 1326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</a:cxnLst>
                    <a:rect l="l" t="t" r="r" b="b"/>
                    <a:pathLst>
                      <a:path w="1217679" h="1326740">
                        <a:moveTo>
                          <a:pt x="1204835" y="1178718"/>
                        </a:moveTo>
                        <a:cubicBezTo>
                          <a:pt x="1203861" y="1176229"/>
                          <a:pt x="1202455" y="1173957"/>
                          <a:pt x="1201210" y="1171630"/>
                        </a:cubicBezTo>
                        <a:cubicBezTo>
                          <a:pt x="1199425" y="1168438"/>
                          <a:pt x="1197585" y="1165246"/>
                          <a:pt x="1195692" y="1162108"/>
                        </a:cubicBezTo>
                        <a:cubicBezTo>
                          <a:pt x="1194231" y="1159674"/>
                          <a:pt x="1192987" y="1157077"/>
                          <a:pt x="1191255" y="1154859"/>
                        </a:cubicBezTo>
                        <a:cubicBezTo>
                          <a:pt x="1187252" y="1149827"/>
                          <a:pt x="1184655" y="1144038"/>
                          <a:pt x="1181896" y="1138358"/>
                        </a:cubicBezTo>
                        <a:cubicBezTo>
                          <a:pt x="1179732" y="1134030"/>
                          <a:pt x="1177568" y="1129701"/>
                          <a:pt x="1175404" y="1125373"/>
                        </a:cubicBezTo>
                        <a:cubicBezTo>
                          <a:pt x="1174754" y="1124021"/>
                          <a:pt x="1174051" y="1122668"/>
                          <a:pt x="1173564" y="1121262"/>
                        </a:cubicBezTo>
                        <a:cubicBezTo>
                          <a:pt x="1173131" y="1120017"/>
                          <a:pt x="1172969" y="1118665"/>
                          <a:pt x="1172536" y="1116663"/>
                        </a:cubicBezTo>
                        <a:cubicBezTo>
                          <a:pt x="1175079" y="1118556"/>
                          <a:pt x="1176702" y="1120125"/>
                          <a:pt x="1178000" y="1122289"/>
                        </a:cubicBezTo>
                        <a:cubicBezTo>
                          <a:pt x="1181896" y="1128782"/>
                          <a:pt x="1187252" y="1133759"/>
                          <a:pt x="1194988" y="1135923"/>
                        </a:cubicBezTo>
                        <a:cubicBezTo>
                          <a:pt x="1197802" y="1136735"/>
                          <a:pt x="1200831" y="1137059"/>
                          <a:pt x="1203807" y="1137330"/>
                        </a:cubicBezTo>
                        <a:cubicBezTo>
                          <a:pt x="1206891" y="1137600"/>
                          <a:pt x="1209812" y="1136572"/>
                          <a:pt x="1212572" y="1134949"/>
                        </a:cubicBezTo>
                        <a:cubicBezTo>
                          <a:pt x="1214898" y="1133597"/>
                          <a:pt x="1216359" y="1131595"/>
                          <a:pt x="1217116" y="1129160"/>
                        </a:cubicBezTo>
                        <a:cubicBezTo>
                          <a:pt x="1217819" y="1126834"/>
                          <a:pt x="1217603" y="1124778"/>
                          <a:pt x="1215601" y="1123209"/>
                        </a:cubicBezTo>
                        <a:cubicBezTo>
                          <a:pt x="1214411" y="1122289"/>
                          <a:pt x="1213329" y="1121207"/>
                          <a:pt x="1212247" y="1120180"/>
                        </a:cubicBezTo>
                        <a:cubicBezTo>
                          <a:pt x="1208135" y="1116392"/>
                          <a:pt x="1204348" y="1112389"/>
                          <a:pt x="1201968" y="1107357"/>
                        </a:cubicBezTo>
                        <a:cubicBezTo>
                          <a:pt x="1200399" y="1104003"/>
                          <a:pt x="1197802" y="1101352"/>
                          <a:pt x="1194934" y="1098972"/>
                        </a:cubicBezTo>
                        <a:cubicBezTo>
                          <a:pt x="1192067" y="1096645"/>
                          <a:pt x="1189037" y="1094427"/>
                          <a:pt x="1186440" y="1091830"/>
                        </a:cubicBezTo>
                        <a:cubicBezTo>
                          <a:pt x="1183952" y="1089396"/>
                          <a:pt x="1181896" y="1086528"/>
                          <a:pt x="1179624" y="1083823"/>
                        </a:cubicBezTo>
                        <a:cubicBezTo>
                          <a:pt x="1177351" y="1081172"/>
                          <a:pt x="1175133" y="1078413"/>
                          <a:pt x="1172752" y="1075870"/>
                        </a:cubicBezTo>
                        <a:cubicBezTo>
                          <a:pt x="1170643" y="1073598"/>
                          <a:pt x="1167829" y="1072353"/>
                          <a:pt x="1164746" y="1071542"/>
                        </a:cubicBezTo>
                        <a:cubicBezTo>
                          <a:pt x="1153817" y="1068620"/>
                          <a:pt x="1142888" y="1065645"/>
                          <a:pt x="1131960" y="1062561"/>
                        </a:cubicBezTo>
                        <a:cubicBezTo>
                          <a:pt x="1127794" y="1061371"/>
                          <a:pt x="1123628" y="1061317"/>
                          <a:pt x="1119300" y="1062182"/>
                        </a:cubicBezTo>
                        <a:cubicBezTo>
                          <a:pt x="1115675" y="1062886"/>
                          <a:pt x="1112537" y="1062182"/>
                          <a:pt x="1109778" y="1060289"/>
                        </a:cubicBezTo>
                        <a:cubicBezTo>
                          <a:pt x="1108425" y="1059369"/>
                          <a:pt x="1107181" y="1058125"/>
                          <a:pt x="1106261" y="1056772"/>
                        </a:cubicBezTo>
                        <a:cubicBezTo>
                          <a:pt x="1106261" y="1056772"/>
                          <a:pt x="1075099" y="988550"/>
                          <a:pt x="1068498" y="963230"/>
                        </a:cubicBezTo>
                        <a:cubicBezTo>
                          <a:pt x="1061898" y="937910"/>
                          <a:pt x="1051240" y="894737"/>
                          <a:pt x="1036037" y="866333"/>
                        </a:cubicBezTo>
                        <a:cubicBezTo>
                          <a:pt x="1020834" y="837930"/>
                          <a:pt x="1006606" y="821212"/>
                          <a:pt x="1006606" y="821212"/>
                        </a:cubicBezTo>
                        <a:cubicBezTo>
                          <a:pt x="1006606" y="821212"/>
                          <a:pt x="986804" y="777606"/>
                          <a:pt x="976687" y="748662"/>
                        </a:cubicBezTo>
                        <a:cubicBezTo>
                          <a:pt x="966570" y="719717"/>
                          <a:pt x="959970" y="696399"/>
                          <a:pt x="959970" y="688284"/>
                        </a:cubicBezTo>
                        <a:cubicBezTo>
                          <a:pt x="959970" y="680169"/>
                          <a:pt x="974145" y="641648"/>
                          <a:pt x="954884" y="600531"/>
                        </a:cubicBezTo>
                        <a:cubicBezTo>
                          <a:pt x="935624" y="559413"/>
                          <a:pt x="904137" y="545780"/>
                          <a:pt x="891477" y="540153"/>
                        </a:cubicBezTo>
                        <a:cubicBezTo>
                          <a:pt x="878817" y="534527"/>
                          <a:pt x="865616" y="537610"/>
                          <a:pt x="840729" y="529008"/>
                        </a:cubicBezTo>
                        <a:cubicBezTo>
                          <a:pt x="815842" y="520406"/>
                          <a:pt x="749405" y="495032"/>
                          <a:pt x="727115" y="479830"/>
                        </a:cubicBezTo>
                        <a:cubicBezTo>
                          <a:pt x="704825" y="464627"/>
                          <a:pt x="699199" y="453428"/>
                          <a:pt x="699199" y="453428"/>
                        </a:cubicBezTo>
                        <a:lnTo>
                          <a:pt x="699199" y="361130"/>
                        </a:lnTo>
                        <a:cubicBezTo>
                          <a:pt x="699199" y="361130"/>
                          <a:pt x="709857" y="342357"/>
                          <a:pt x="715916" y="327154"/>
                        </a:cubicBezTo>
                        <a:cubicBezTo>
                          <a:pt x="721976" y="311951"/>
                          <a:pt x="726087" y="302808"/>
                          <a:pt x="726087" y="302808"/>
                        </a:cubicBezTo>
                        <a:cubicBezTo>
                          <a:pt x="726087" y="302808"/>
                          <a:pt x="734690" y="302808"/>
                          <a:pt x="738260" y="295180"/>
                        </a:cubicBezTo>
                        <a:cubicBezTo>
                          <a:pt x="741831" y="287552"/>
                          <a:pt x="756547" y="225713"/>
                          <a:pt x="746376" y="218572"/>
                        </a:cubicBezTo>
                        <a:cubicBezTo>
                          <a:pt x="737286" y="212188"/>
                          <a:pt x="729658" y="215542"/>
                          <a:pt x="729658" y="215542"/>
                        </a:cubicBezTo>
                        <a:cubicBezTo>
                          <a:pt x="729658" y="215542"/>
                          <a:pt x="744861" y="168906"/>
                          <a:pt x="744861" y="105986"/>
                        </a:cubicBezTo>
                        <a:cubicBezTo>
                          <a:pt x="744861" y="43065"/>
                          <a:pt x="683996" y="0"/>
                          <a:pt x="611445" y="0"/>
                        </a:cubicBezTo>
                        <a:lnTo>
                          <a:pt x="606035" y="0"/>
                        </a:lnTo>
                        <a:cubicBezTo>
                          <a:pt x="533485" y="0"/>
                          <a:pt x="472620" y="43119"/>
                          <a:pt x="472620" y="105986"/>
                        </a:cubicBezTo>
                        <a:cubicBezTo>
                          <a:pt x="472620" y="168852"/>
                          <a:pt x="487823" y="215542"/>
                          <a:pt x="487823" y="215542"/>
                        </a:cubicBezTo>
                        <a:cubicBezTo>
                          <a:pt x="487823" y="215542"/>
                          <a:pt x="480194" y="212188"/>
                          <a:pt x="471105" y="218572"/>
                        </a:cubicBezTo>
                        <a:cubicBezTo>
                          <a:pt x="460934" y="225659"/>
                          <a:pt x="475650" y="287552"/>
                          <a:pt x="479221" y="295180"/>
                        </a:cubicBezTo>
                        <a:cubicBezTo>
                          <a:pt x="482791" y="302808"/>
                          <a:pt x="491393" y="302808"/>
                          <a:pt x="491393" y="302808"/>
                        </a:cubicBezTo>
                        <a:cubicBezTo>
                          <a:pt x="491393" y="302808"/>
                          <a:pt x="495451" y="311951"/>
                          <a:pt x="501565" y="327154"/>
                        </a:cubicBezTo>
                        <a:cubicBezTo>
                          <a:pt x="507678" y="342357"/>
                          <a:pt x="518282" y="361130"/>
                          <a:pt x="518282" y="361130"/>
                        </a:cubicBezTo>
                        <a:lnTo>
                          <a:pt x="518282" y="453428"/>
                        </a:lnTo>
                        <a:cubicBezTo>
                          <a:pt x="518282" y="453428"/>
                          <a:pt x="512709" y="464573"/>
                          <a:pt x="490366" y="479830"/>
                        </a:cubicBezTo>
                        <a:cubicBezTo>
                          <a:pt x="468021" y="495086"/>
                          <a:pt x="401584" y="520406"/>
                          <a:pt x="376752" y="529008"/>
                        </a:cubicBezTo>
                        <a:cubicBezTo>
                          <a:pt x="351919" y="537610"/>
                          <a:pt x="338718" y="534581"/>
                          <a:pt x="326004" y="540153"/>
                        </a:cubicBezTo>
                        <a:cubicBezTo>
                          <a:pt x="313290" y="545726"/>
                          <a:pt x="281857" y="559413"/>
                          <a:pt x="262597" y="600531"/>
                        </a:cubicBezTo>
                        <a:cubicBezTo>
                          <a:pt x="243336" y="641648"/>
                          <a:pt x="257511" y="680169"/>
                          <a:pt x="257511" y="688284"/>
                        </a:cubicBezTo>
                        <a:cubicBezTo>
                          <a:pt x="257511" y="696399"/>
                          <a:pt x="250911" y="719717"/>
                          <a:pt x="240794" y="748662"/>
                        </a:cubicBezTo>
                        <a:cubicBezTo>
                          <a:pt x="230676" y="777606"/>
                          <a:pt x="210875" y="821212"/>
                          <a:pt x="210875" y="821212"/>
                        </a:cubicBezTo>
                        <a:cubicBezTo>
                          <a:pt x="210875" y="821212"/>
                          <a:pt x="196701" y="837930"/>
                          <a:pt x="181444" y="866333"/>
                        </a:cubicBezTo>
                        <a:cubicBezTo>
                          <a:pt x="166187" y="894737"/>
                          <a:pt x="155583" y="937856"/>
                          <a:pt x="148983" y="963230"/>
                        </a:cubicBezTo>
                        <a:cubicBezTo>
                          <a:pt x="142382" y="988604"/>
                          <a:pt x="111219" y="1056772"/>
                          <a:pt x="111219" y="1056772"/>
                        </a:cubicBezTo>
                        <a:cubicBezTo>
                          <a:pt x="110246" y="1058125"/>
                          <a:pt x="109055" y="1059369"/>
                          <a:pt x="107703" y="1060289"/>
                        </a:cubicBezTo>
                        <a:cubicBezTo>
                          <a:pt x="104944" y="1062128"/>
                          <a:pt x="101752" y="1062886"/>
                          <a:pt x="98181" y="1062182"/>
                        </a:cubicBezTo>
                        <a:cubicBezTo>
                          <a:pt x="93853" y="1061317"/>
                          <a:pt x="89633" y="1061425"/>
                          <a:pt x="85521" y="1062561"/>
                        </a:cubicBezTo>
                        <a:cubicBezTo>
                          <a:pt x="74647" y="1065645"/>
                          <a:pt x="63718" y="1068620"/>
                          <a:pt x="52735" y="1071542"/>
                        </a:cubicBezTo>
                        <a:cubicBezTo>
                          <a:pt x="49597" y="1072353"/>
                          <a:pt x="46838" y="1073598"/>
                          <a:pt x="44728" y="1075870"/>
                        </a:cubicBezTo>
                        <a:cubicBezTo>
                          <a:pt x="42348" y="1078467"/>
                          <a:pt x="40130" y="1081172"/>
                          <a:pt x="37857" y="1083823"/>
                        </a:cubicBezTo>
                        <a:cubicBezTo>
                          <a:pt x="35585" y="1086474"/>
                          <a:pt x="33529" y="1089341"/>
                          <a:pt x="31040" y="1091830"/>
                        </a:cubicBezTo>
                        <a:cubicBezTo>
                          <a:pt x="28444" y="1094427"/>
                          <a:pt x="25414" y="1096645"/>
                          <a:pt x="22547" y="1098972"/>
                        </a:cubicBezTo>
                        <a:cubicBezTo>
                          <a:pt x="19625" y="1101352"/>
                          <a:pt x="17082" y="1104003"/>
                          <a:pt x="15513" y="1107357"/>
                        </a:cubicBezTo>
                        <a:cubicBezTo>
                          <a:pt x="13079" y="1112443"/>
                          <a:pt x="9346" y="1116446"/>
                          <a:pt x="5234" y="1120180"/>
                        </a:cubicBezTo>
                        <a:cubicBezTo>
                          <a:pt x="4098" y="1121207"/>
                          <a:pt x="3070" y="1122289"/>
                          <a:pt x="1880" y="1123209"/>
                        </a:cubicBezTo>
                        <a:cubicBezTo>
                          <a:pt x="-122" y="1124778"/>
                          <a:pt x="-339" y="1126834"/>
                          <a:pt x="365" y="1129160"/>
                        </a:cubicBezTo>
                        <a:cubicBezTo>
                          <a:pt x="1122" y="1131595"/>
                          <a:pt x="2583" y="1133543"/>
                          <a:pt x="4909" y="1134949"/>
                        </a:cubicBezTo>
                        <a:cubicBezTo>
                          <a:pt x="7668" y="1136572"/>
                          <a:pt x="10590" y="1137600"/>
                          <a:pt x="13674" y="1137330"/>
                        </a:cubicBezTo>
                        <a:cubicBezTo>
                          <a:pt x="16649" y="1137059"/>
                          <a:pt x="19679" y="1136735"/>
                          <a:pt x="22492" y="1135923"/>
                        </a:cubicBezTo>
                        <a:cubicBezTo>
                          <a:pt x="30229" y="1133759"/>
                          <a:pt x="35639" y="1128728"/>
                          <a:pt x="39480" y="1122289"/>
                        </a:cubicBezTo>
                        <a:cubicBezTo>
                          <a:pt x="40779" y="1120180"/>
                          <a:pt x="42402" y="1118556"/>
                          <a:pt x="44945" y="1116663"/>
                        </a:cubicBezTo>
                        <a:cubicBezTo>
                          <a:pt x="44512" y="1118665"/>
                          <a:pt x="44350" y="1120017"/>
                          <a:pt x="43917" y="1121262"/>
                        </a:cubicBezTo>
                        <a:cubicBezTo>
                          <a:pt x="43430" y="1122668"/>
                          <a:pt x="42726" y="1124021"/>
                          <a:pt x="42077" y="1125373"/>
                        </a:cubicBezTo>
                        <a:cubicBezTo>
                          <a:pt x="39913" y="1129701"/>
                          <a:pt x="37695" y="1133975"/>
                          <a:pt x="35585" y="1138358"/>
                        </a:cubicBezTo>
                        <a:cubicBezTo>
                          <a:pt x="32772" y="1144038"/>
                          <a:pt x="30229" y="1149827"/>
                          <a:pt x="26225" y="1154859"/>
                        </a:cubicBezTo>
                        <a:cubicBezTo>
                          <a:pt x="24494" y="1157077"/>
                          <a:pt x="23196" y="1159674"/>
                          <a:pt x="21789" y="1162108"/>
                        </a:cubicBezTo>
                        <a:cubicBezTo>
                          <a:pt x="19950" y="1165246"/>
                          <a:pt x="18056" y="1168438"/>
                          <a:pt x="16271" y="1171630"/>
                        </a:cubicBezTo>
                        <a:cubicBezTo>
                          <a:pt x="14972" y="1173957"/>
                          <a:pt x="13566" y="1176229"/>
                          <a:pt x="12646" y="1178718"/>
                        </a:cubicBezTo>
                        <a:cubicBezTo>
                          <a:pt x="9129" y="1187753"/>
                          <a:pt x="5721" y="1196788"/>
                          <a:pt x="2312" y="1205877"/>
                        </a:cubicBezTo>
                        <a:cubicBezTo>
                          <a:pt x="743" y="1209989"/>
                          <a:pt x="40" y="1214317"/>
                          <a:pt x="257" y="1218753"/>
                        </a:cubicBezTo>
                        <a:cubicBezTo>
                          <a:pt x="311" y="1220593"/>
                          <a:pt x="689" y="1222540"/>
                          <a:pt x="1447" y="1224271"/>
                        </a:cubicBezTo>
                        <a:cubicBezTo>
                          <a:pt x="3070" y="1228005"/>
                          <a:pt x="6370" y="1229952"/>
                          <a:pt x="10374" y="1230493"/>
                        </a:cubicBezTo>
                        <a:cubicBezTo>
                          <a:pt x="14107" y="1230980"/>
                          <a:pt x="16974" y="1229465"/>
                          <a:pt x="18597" y="1226381"/>
                        </a:cubicBezTo>
                        <a:cubicBezTo>
                          <a:pt x="20112" y="1223568"/>
                          <a:pt x="21464" y="1220701"/>
                          <a:pt x="22655" y="1217779"/>
                        </a:cubicBezTo>
                        <a:cubicBezTo>
                          <a:pt x="25035" y="1211882"/>
                          <a:pt x="27145" y="1205931"/>
                          <a:pt x="29526" y="1200034"/>
                        </a:cubicBezTo>
                        <a:cubicBezTo>
                          <a:pt x="30554" y="1197599"/>
                          <a:pt x="32014" y="1195327"/>
                          <a:pt x="33421" y="1193055"/>
                        </a:cubicBezTo>
                        <a:cubicBezTo>
                          <a:pt x="38020" y="1185697"/>
                          <a:pt x="42618" y="1178339"/>
                          <a:pt x="47271" y="1171035"/>
                        </a:cubicBezTo>
                        <a:cubicBezTo>
                          <a:pt x="48083" y="1169791"/>
                          <a:pt x="48461" y="1168222"/>
                          <a:pt x="50138" y="1167573"/>
                        </a:cubicBezTo>
                        <a:cubicBezTo>
                          <a:pt x="50950" y="1168006"/>
                          <a:pt x="51816" y="1168492"/>
                          <a:pt x="53006" y="1169142"/>
                        </a:cubicBezTo>
                        <a:cubicBezTo>
                          <a:pt x="51762" y="1171414"/>
                          <a:pt x="50734" y="1173524"/>
                          <a:pt x="49543" y="1175526"/>
                        </a:cubicBezTo>
                        <a:cubicBezTo>
                          <a:pt x="47109" y="1179692"/>
                          <a:pt x="44566" y="1183803"/>
                          <a:pt x="42077" y="1187969"/>
                        </a:cubicBezTo>
                        <a:cubicBezTo>
                          <a:pt x="37587" y="1195435"/>
                          <a:pt x="34719" y="1203659"/>
                          <a:pt x="31960" y="1211936"/>
                        </a:cubicBezTo>
                        <a:cubicBezTo>
                          <a:pt x="29796" y="1218428"/>
                          <a:pt x="27740" y="1224975"/>
                          <a:pt x="24873" y="1231197"/>
                        </a:cubicBezTo>
                        <a:cubicBezTo>
                          <a:pt x="23142" y="1234930"/>
                          <a:pt x="22330" y="1239149"/>
                          <a:pt x="21356" y="1243207"/>
                        </a:cubicBezTo>
                        <a:cubicBezTo>
                          <a:pt x="20978" y="1244776"/>
                          <a:pt x="20978" y="1246562"/>
                          <a:pt x="21194" y="1248239"/>
                        </a:cubicBezTo>
                        <a:cubicBezTo>
                          <a:pt x="21735" y="1252513"/>
                          <a:pt x="25143" y="1255975"/>
                          <a:pt x="29526" y="1257057"/>
                        </a:cubicBezTo>
                        <a:cubicBezTo>
                          <a:pt x="34016" y="1258139"/>
                          <a:pt x="38290" y="1256679"/>
                          <a:pt x="40400" y="1253000"/>
                        </a:cubicBezTo>
                        <a:cubicBezTo>
                          <a:pt x="41698" y="1250673"/>
                          <a:pt x="42726" y="1248184"/>
                          <a:pt x="43646" y="1245696"/>
                        </a:cubicBezTo>
                        <a:cubicBezTo>
                          <a:pt x="44890" y="1242450"/>
                          <a:pt x="45756" y="1238987"/>
                          <a:pt x="47163" y="1235795"/>
                        </a:cubicBezTo>
                        <a:cubicBezTo>
                          <a:pt x="49543" y="1230277"/>
                          <a:pt x="51978" y="1224758"/>
                          <a:pt x="54791" y="1219456"/>
                        </a:cubicBezTo>
                        <a:cubicBezTo>
                          <a:pt x="59985" y="1209718"/>
                          <a:pt x="64746" y="1199817"/>
                          <a:pt x="68966" y="1189592"/>
                        </a:cubicBezTo>
                        <a:cubicBezTo>
                          <a:pt x="70156" y="1186671"/>
                          <a:pt x="71887" y="1184020"/>
                          <a:pt x="73348" y="1181369"/>
                        </a:cubicBezTo>
                        <a:cubicBezTo>
                          <a:pt x="75079" y="1180990"/>
                          <a:pt x="76378" y="1181206"/>
                          <a:pt x="77406" y="1182721"/>
                        </a:cubicBezTo>
                        <a:cubicBezTo>
                          <a:pt x="77298" y="1185102"/>
                          <a:pt x="75837" y="1186995"/>
                          <a:pt x="74755" y="1188997"/>
                        </a:cubicBezTo>
                        <a:cubicBezTo>
                          <a:pt x="70589" y="1197004"/>
                          <a:pt x="66910" y="1205174"/>
                          <a:pt x="64854" y="1214100"/>
                        </a:cubicBezTo>
                        <a:cubicBezTo>
                          <a:pt x="63393" y="1220322"/>
                          <a:pt x="60688" y="1226057"/>
                          <a:pt x="57767" y="1231683"/>
                        </a:cubicBezTo>
                        <a:cubicBezTo>
                          <a:pt x="54954" y="1237148"/>
                          <a:pt x="52735" y="1242937"/>
                          <a:pt x="50301" y="1248617"/>
                        </a:cubicBezTo>
                        <a:cubicBezTo>
                          <a:pt x="49922" y="1249537"/>
                          <a:pt x="49760" y="1250565"/>
                          <a:pt x="49706" y="1251539"/>
                        </a:cubicBezTo>
                        <a:cubicBezTo>
                          <a:pt x="49489" y="1254677"/>
                          <a:pt x="50842" y="1257219"/>
                          <a:pt x="53709" y="1259059"/>
                        </a:cubicBezTo>
                        <a:cubicBezTo>
                          <a:pt x="58741" y="1262359"/>
                          <a:pt x="64584" y="1261818"/>
                          <a:pt x="67830" y="1257274"/>
                        </a:cubicBezTo>
                        <a:cubicBezTo>
                          <a:pt x="70048" y="1254190"/>
                          <a:pt x="71887" y="1250727"/>
                          <a:pt x="73619" y="1247319"/>
                        </a:cubicBezTo>
                        <a:cubicBezTo>
                          <a:pt x="78055" y="1238717"/>
                          <a:pt x="82383" y="1230060"/>
                          <a:pt x="86603" y="1221350"/>
                        </a:cubicBezTo>
                        <a:cubicBezTo>
                          <a:pt x="89200" y="1215940"/>
                          <a:pt x="91580" y="1210421"/>
                          <a:pt x="93907" y="1204903"/>
                        </a:cubicBezTo>
                        <a:cubicBezTo>
                          <a:pt x="96017" y="1199817"/>
                          <a:pt x="97910" y="1194624"/>
                          <a:pt x="99912" y="1189484"/>
                        </a:cubicBezTo>
                        <a:cubicBezTo>
                          <a:pt x="100129" y="1188889"/>
                          <a:pt x="100453" y="1188186"/>
                          <a:pt x="100940" y="1187807"/>
                        </a:cubicBezTo>
                        <a:cubicBezTo>
                          <a:pt x="102022" y="1186887"/>
                          <a:pt x="103266" y="1186346"/>
                          <a:pt x="104944" y="1187915"/>
                        </a:cubicBezTo>
                        <a:cubicBezTo>
                          <a:pt x="103970" y="1190620"/>
                          <a:pt x="103050" y="1193487"/>
                          <a:pt x="101914" y="1196247"/>
                        </a:cubicBezTo>
                        <a:cubicBezTo>
                          <a:pt x="100507" y="1199655"/>
                          <a:pt x="99588" y="1203226"/>
                          <a:pt x="98992" y="1206851"/>
                        </a:cubicBezTo>
                        <a:cubicBezTo>
                          <a:pt x="98505" y="1209664"/>
                          <a:pt x="97802" y="1212423"/>
                          <a:pt x="96882" y="1215074"/>
                        </a:cubicBezTo>
                        <a:cubicBezTo>
                          <a:pt x="94881" y="1220538"/>
                          <a:pt x="92500" y="1225895"/>
                          <a:pt x="90498" y="1231413"/>
                        </a:cubicBezTo>
                        <a:cubicBezTo>
                          <a:pt x="89687" y="1233577"/>
                          <a:pt x="89200" y="1235958"/>
                          <a:pt x="89092" y="1238284"/>
                        </a:cubicBezTo>
                        <a:cubicBezTo>
                          <a:pt x="88984" y="1241368"/>
                          <a:pt x="90552" y="1244181"/>
                          <a:pt x="93420" y="1245696"/>
                        </a:cubicBezTo>
                        <a:cubicBezTo>
                          <a:pt x="96504" y="1247373"/>
                          <a:pt x="99804" y="1247211"/>
                          <a:pt x="102509" y="1245209"/>
                        </a:cubicBezTo>
                        <a:cubicBezTo>
                          <a:pt x="103970" y="1244127"/>
                          <a:pt x="105268" y="1242774"/>
                          <a:pt x="106296" y="1241259"/>
                        </a:cubicBezTo>
                        <a:cubicBezTo>
                          <a:pt x="109650" y="1236444"/>
                          <a:pt x="111977" y="1231034"/>
                          <a:pt x="114141" y="1225624"/>
                        </a:cubicBezTo>
                        <a:cubicBezTo>
                          <a:pt x="118956" y="1213505"/>
                          <a:pt x="123663" y="1201386"/>
                          <a:pt x="128424" y="1189268"/>
                        </a:cubicBezTo>
                        <a:cubicBezTo>
                          <a:pt x="128857" y="1188186"/>
                          <a:pt x="129344" y="1187104"/>
                          <a:pt x="130155" y="1186238"/>
                        </a:cubicBezTo>
                        <a:cubicBezTo>
                          <a:pt x="134754" y="1181098"/>
                          <a:pt x="138216" y="1175201"/>
                          <a:pt x="141571" y="1169250"/>
                        </a:cubicBezTo>
                        <a:cubicBezTo>
                          <a:pt x="142166" y="1168222"/>
                          <a:pt x="142869" y="1167302"/>
                          <a:pt x="143464" y="1166328"/>
                        </a:cubicBezTo>
                        <a:cubicBezTo>
                          <a:pt x="146007" y="1162217"/>
                          <a:pt x="148658" y="1158159"/>
                          <a:pt x="151039" y="1153939"/>
                        </a:cubicBezTo>
                        <a:cubicBezTo>
                          <a:pt x="155150" y="1146635"/>
                          <a:pt x="157693" y="1138628"/>
                          <a:pt x="160182" y="1130675"/>
                        </a:cubicBezTo>
                        <a:cubicBezTo>
                          <a:pt x="161210" y="1127321"/>
                          <a:pt x="162075" y="1123912"/>
                          <a:pt x="162833" y="1120450"/>
                        </a:cubicBezTo>
                        <a:cubicBezTo>
                          <a:pt x="164239" y="1113904"/>
                          <a:pt x="165592" y="1107303"/>
                          <a:pt x="166836" y="1100757"/>
                        </a:cubicBezTo>
                        <a:cubicBezTo>
                          <a:pt x="166836" y="1100757"/>
                          <a:pt x="173112" y="1079278"/>
                          <a:pt x="187828" y="1058990"/>
                        </a:cubicBezTo>
                        <a:cubicBezTo>
                          <a:pt x="202543" y="1038702"/>
                          <a:pt x="215744" y="1022958"/>
                          <a:pt x="239062" y="1003211"/>
                        </a:cubicBezTo>
                        <a:cubicBezTo>
                          <a:pt x="262380" y="983464"/>
                          <a:pt x="279152" y="962148"/>
                          <a:pt x="303227" y="923573"/>
                        </a:cubicBezTo>
                        <a:cubicBezTo>
                          <a:pt x="327302" y="884999"/>
                          <a:pt x="348077" y="830734"/>
                          <a:pt x="355219" y="815045"/>
                        </a:cubicBezTo>
                        <a:cubicBezTo>
                          <a:pt x="362360" y="799355"/>
                          <a:pt x="369394" y="761268"/>
                          <a:pt x="369394" y="761268"/>
                        </a:cubicBezTo>
                        <a:cubicBezTo>
                          <a:pt x="369394" y="761268"/>
                          <a:pt x="368366" y="791673"/>
                          <a:pt x="385624" y="843935"/>
                        </a:cubicBezTo>
                        <a:cubicBezTo>
                          <a:pt x="402883" y="896198"/>
                          <a:pt x="412513" y="933690"/>
                          <a:pt x="414028" y="949921"/>
                        </a:cubicBezTo>
                        <a:cubicBezTo>
                          <a:pt x="415543" y="966151"/>
                          <a:pt x="403370" y="992553"/>
                          <a:pt x="400827" y="1059964"/>
                        </a:cubicBezTo>
                        <a:cubicBezTo>
                          <a:pt x="398284" y="1127375"/>
                          <a:pt x="401855" y="1139061"/>
                          <a:pt x="395254" y="1198952"/>
                        </a:cubicBezTo>
                        <a:cubicBezTo>
                          <a:pt x="390656" y="1240827"/>
                          <a:pt x="381837" y="1281674"/>
                          <a:pt x="376752" y="1326740"/>
                        </a:cubicBezTo>
                        <a:lnTo>
                          <a:pt x="841162" y="1326740"/>
                        </a:lnTo>
                        <a:cubicBezTo>
                          <a:pt x="836077" y="1281674"/>
                          <a:pt x="827258" y="1240773"/>
                          <a:pt x="822659" y="1198952"/>
                        </a:cubicBezTo>
                        <a:cubicBezTo>
                          <a:pt x="816059" y="1139115"/>
                          <a:pt x="819630" y="1127429"/>
                          <a:pt x="817087" y="1059964"/>
                        </a:cubicBezTo>
                        <a:cubicBezTo>
                          <a:pt x="814544" y="992499"/>
                          <a:pt x="802371" y="966151"/>
                          <a:pt x="803886" y="949921"/>
                        </a:cubicBezTo>
                        <a:cubicBezTo>
                          <a:pt x="805401" y="933690"/>
                          <a:pt x="815031" y="896144"/>
                          <a:pt x="832289" y="843935"/>
                        </a:cubicBezTo>
                        <a:cubicBezTo>
                          <a:pt x="849548" y="791727"/>
                          <a:pt x="848520" y="761268"/>
                          <a:pt x="848520" y="761268"/>
                        </a:cubicBezTo>
                        <a:cubicBezTo>
                          <a:pt x="848520" y="761268"/>
                          <a:pt x="855607" y="799301"/>
                          <a:pt x="862695" y="815045"/>
                        </a:cubicBezTo>
                        <a:cubicBezTo>
                          <a:pt x="869782" y="830788"/>
                          <a:pt x="890611" y="885053"/>
                          <a:pt x="914687" y="923573"/>
                        </a:cubicBezTo>
                        <a:cubicBezTo>
                          <a:pt x="938762" y="962094"/>
                          <a:pt x="955533" y="983410"/>
                          <a:pt x="978851" y="1003211"/>
                        </a:cubicBezTo>
                        <a:cubicBezTo>
                          <a:pt x="1002169" y="1023012"/>
                          <a:pt x="1015370" y="1038702"/>
                          <a:pt x="1030086" y="1058990"/>
                        </a:cubicBezTo>
                        <a:cubicBezTo>
                          <a:pt x="1044802" y="1079278"/>
                          <a:pt x="1051077" y="1100757"/>
                          <a:pt x="1051077" y="1100757"/>
                        </a:cubicBezTo>
                        <a:cubicBezTo>
                          <a:pt x="1052322" y="1107357"/>
                          <a:pt x="1053674" y="1113904"/>
                          <a:pt x="1055081" y="1120450"/>
                        </a:cubicBezTo>
                        <a:cubicBezTo>
                          <a:pt x="1055838" y="1123912"/>
                          <a:pt x="1056704" y="1127321"/>
                          <a:pt x="1057732" y="1130675"/>
                        </a:cubicBezTo>
                        <a:cubicBezTo>
                          <a:pt x="1060221" y="1138682"/>
                          <a:pt x="1062763" y="1146635"/>
                          <a:pt x="1066875" y="1153939"/>
                        </a:cubicBezTo>
                        <a:cubicBezTo>
                          <a:pt x="1069256" y="1158159"/>
                          <a:pt x="1071907" y="1162217"/>
                          <a:pt x="1074449" y="1166328"/>
                        </a:cubicBezTo>
                        <a:cubicBezTo>
                          <a:pt x="1075045" y="1167302"/>
                          <a:pt x="1075748" y="1168276"/>
                          <a:pt x="1076343" y="1169250"/>
                        </a:cubicBezTo>
                        <a:cubicBezTo>
                          <a:pt x="1079697" y="1175201"/>
                          <a:pt x="1083160" y="1181098"/>
                          <a:pt x="1087758" y="1186238"/>
                        </a:cubicBezTo>
                        <a:cubicBezTo>
                          <a:pt x="1088516" y="1187104"/>
                          <a:pt x="1089057" y="1188186"/>
                          <a:pt x="1089490" y="1189268"/>
                        </a:cubicBezTo>
                        <a:cubicBezTo>
                          <a:pt x="1094251" y="1201386"/>
                          <a:pt x="1099012" y="1213505"/>
                          <a:pt x="1103773" y="1225624"/>
                        </a:cubicBezTo>
                        <a:cubicBezTo>
                          <a:pt x="1105937" y="1231088"/>
                          <a:pt x="1108209" y="1236444"/>
                          <a:pt x="1111617" y="1241259"/>
                        </a:cubicBezTo>
                        <a:cubicBezTo>
                          <a:pt x="1112645" y="1242720"/>
                          <a:pt x="1113944" y="1244127"/>
                          <a:pt x="1115405" y="1245209"/>
                        </a:cubicBezTo>
                        <a:cubicBezTo>
                          <a:pt x="1118110" y="1247211"/>
                          <a:pt x="1121410" y="1247319"/>
                          <a:pt x="1124494" y="1245696"/>
                        </a:cubicBezTo>
                        <a:cubicBezTo>
                          <a:pt x="1127361" y="1244127"/>
                          <a:pt x="1128930" y="1241314"/>
                          <a:pt x="1128822" y="1238284"/>
                        </a:cubicBezTo>
                        <a:cubicBezTo>
                          <a:pt x="1128768" y="1235958"/>
                          <a:pt x="1128227" y="1233577"/>
                          <a:pt x="1127415" y="1231413"/>
                        </a:cubicBezTo>
                        <a:cubicBezTo>
                          <a:pt x="1125413" y="1225895"/>
                          <a:pt x="1123087" y="1220593"/>
                          <a:pt x="1121031" y="1215074"/>
                        </a:cubicBezTo>
                        <a:cubicBezTo>
                          <a:pt x="1120057" y="1212423"/>
                          <a:pt x="1119354" y="1209664"/>
                          <a:pt x="1118921" y="1206851"/>
                        </a:cubicBezTo>
                        <a:cubicBezTo>
                          <a:pt x="1118326" y="1203172"/>
                          <a:pt x="1117406" y="1199655"/>
                          <a:pt x="1116000" y="1196247"/>
                        </a:cubicBezTo>
                        <a:cubicBezTo>
                          <a:pt x="1114864" y="1193487"/>
                          <a:pt x="1113944" y="1190620"/>
                          <a:pt x="1112970" y="1187915"/>
                        </a:cubicBezTo>
                        <a:cubicBezTo>
                          <a:pt x="1114647" y="1186346"/>
                          <a:pt x="1115892" y="1186887"/>
                          <a:pt x="1116973" y="1187807"/>
                        </a:cubicBezTo>
                        <a:cubicBezTo>
                          <a:pt x="1117460" y="1188240"/>
                          <a:pt x="1117731" y="1188889"/>
                          <a:pt x="1118001" y="1189484"/>
                        </a:cubicBezTo>
                        <a:cubicBezTo>
                          <a:pt x="1120003" y="1194624"/>
                          <a:pt x="1121897" y="1199817"/>
                          <a:pt x="1124007" y="1204903"/>
                        </a:cubicBezTo>
                        <a:cubicBezTo>
                          <a:pt x="1126333" y="1210421"/>
                          <a:pt x="1128659" y="1215994"/>
                          <a:pt x="1131311" y="1221350"/>
                        </a:cubicBezTo>
                        <a:cubicBezTo>
                          <a:pt x="1135531" y="1230060"/>
                          <a:pt x="1139859" y="1238717"/>
                          <a:pt x="1144295" y="1247319"/>
                        </a:cubicBezTo>
                        <a:cubicBezTo>
                          <a:pt x="1146026" y="1250727"/>
                          <a:pt x="1147866" y="1254136"/>
                          <a:pt x="1150084" y="1257274"/>
                        </a:cubicBezTo>
                        <a:cubicBezTo>
                          <a:pt x="1153330" y="1261818"/>
                          <a:pt x="1159173" y="1262359"/>
                          <a:pt x="1164204" y="1259059"/>
                        </a:cubicBezTo>
                        <a:cubicBezTo>
                          <a:pt x="1167072" y="1257165"/>
                          <a:pt x="1168424" y="1254677"/>
                          <a:pt x="1168208" y="1251539"/>
                        </a:cubicBezTo>
                        <a:cubicBezTo>
                          <a:pt x="1168154" y="1250511"/>
                          <a:pt x="1167992" y="1249483"/>
                          <a:pt x="1167613" y="1248617"/>
                        </a:cubicBezTo>
                        <a:cubicBezTo>
                          <a:pt x="1165178" y="1242937"/>
                          <a:pt x="1162960" y="1237148"/>
                          <a:pt x="1160147" y="1231683"/>
                        </a:cubicBezTo>
                        <a:cubicBezTo>
                          <a:pt x="1157225" y="1226003"/>
                          <a:pt x="1154520" y="1220322"/>
                          <a:pt x="1153060" y="1214100"/>
                        </a:cubicBezTo>
                        <a:cubicBezTo>
                          <a:pt x="1151004" y="1205174"/>
                          <a:pt x="1147325" y="1197004"/>
                          <a:pt x="1143159" y="1188997"/>
                        </a:cubicBezTo>
                        <a:cubicBezTo>
                          <a:pt x="1142077" y="1186941"/>
                          <a:pt x="1140616" y="1185102"/>
                          <a:pt x="1140508" y="1182721"/>
                        </a:cubicBezTo>
                        <a:cubicBezTo>
                          <a:pt x="1141536" y="1181152"/>
                          <a:pt x="1142834" y="1180936"/>
                          <a:pt x="1144565" y="1181369"/>
                        </a:cubicBezTo>
                        <a:cubicBezTo>
                          <a:pt x="1145972" y="1184020"/>
                          <a:pt x="1147757" y="1186671"/>
                          <a:pt x="1148948" y="1189592"/>
                        </a:cubicBezTo>
                        <a:cubicBezTo>
                          <a:pt x="1153168" y="1199763"/>
                          <a:pt x="1157929" y="1209718"/>
                          <a:pt x="1163122" y="1219456"/>
                        </a:cubicBezTo>
                        <a:cubicBezTo>
                          <a:pt x="1165936" y="1224758"/>
                          <a:pt x="1168370" y="1230277"/>
                          <a:pt x="1170751" y="1235795"/>
                        </a:cubicBezTo>
                        <a:cubicBezTo>
                          <a:pt x="1172157" y="1238987"/>
                          <a:pt x="1173023" y="1242450"/>
                          <a:pt x="1174267" y="1245696"/>
                        </a:cubicBezTo>
                        <a:cubicBezTo>
                          <a:pt x="1175241" y="1248184"/>
                          <a:pt x="1176215" y="1250673"/>
                          <a:pt x="1177513" y="1253000"/>
                        </a:cubicBezTo>
                        <a:cubicBezTo>
                          <a:pt x="1179569" y="1256679"/>
                          <a:pt x="1183843" y="1258139"/>
                          <a:pt x="1188388" y="1257057"/>
                        </a:cubicBezTo>
                        <a:cubicBezTo>
                          <a:pt x="1192770" y="1256029"/>
                          <a:pt x="1196179" y="1252513"/>
                          <a:pt x="1196720" y="1248239"/>
                        </a:cubicBezTo>
                        <a:cubicBezTo>
                          <a:pt x="1196936" y="1246562"/>
                          <a:pt x="1196936" y="1244776"/>
                          <a:pt x="1196557" y="1243207"/>
                        </a:cubicBezTo>
                        <a:cubicBezTo>
                          <a:pt x="1195584" y="1239149"/>
                          <a:pt x="1194718" y="1234930"/>
                          <a:pt x="1193041" y="1231197"/>
                        </a:cubicBezTo>
                        <a:cubicBezTo>
                          <a:pt x="1190173" y="1224921"/>
                          <a:pt x="1188172" y="1218428"/>
                          <a:pt x="1185953" y="1211936"/>
                        </a:cubicBezTo>
                        <a:cubicBezTo>
                          <a:pt x="1183194" y="1203713"/>
                          <a:pt x="1180327" y="1195489"/>
                          <a:pt x="1175836" y="1187969"/>
                        </a:cubicBezTo>
                        <a:cubicBezTo>
                          <a:pt x="1173348" y="1183803"/>
                          <a:pt x="1170805" y="1179692"/>
                          <a:pt x="1168370" y="1175526"/>
                        </a:cubicBezTo>
                        <a:cubicBezTo>
                          <a:pt x="1167180" y="1173524"/>
                          <a:pt x="1166152" y="1171468"/>
                          <a:pt x="1164908" y="1169142"/>
                        </a:cubicBezTo>
                        <a:cubicBezTo>
                          <a:pt x="1166098" y="1168492"/>
                          <a:pt x="1166964" y="1168060"/>
                          <a:pt x="1167775" y="1167573"/>
                        </a:cubicBezTo>
                        <a:cubicBezTo>
                          <a:pt x="1169452" y="1168222"/>
                          <a:pt x="1169831" y="1169791"/>
                          <a:pt x="1170643" y="1171035"/>
                        </a:cubicBezTo>
                        <a:cubicBezTo>
                          <a:pt x="1175241" y="1178393"/>
                          <a:pt x="1179894" y="1185697"/>
                          <a:pt x="1184493" y="1193055"/>
                        </a:cubicBezTo>
                        <a:cubicBezTo>
                          <a:pt x="1185899" y="1195327"/>
                          <a:pt x="1187360" y="1197599"/>
                          <a:pt x="1188388" y="1200034"/>
                        </a:cubicBezTo>
                        <a:cubicBezTo>
                          <a:pt x="1190823" y="1205877"/>
                          <a:pt x="1192933" y="1211882"/>
                          <a:pt x="1195259" y="1217779"/>
                        </a:cubicBezTo>
                        <a:cubicBezTo>
                          <a:pt x="1196449" y="1220701"/>
                          <a:pt x="1197802" y="1223568"/>
                          <a:pt x="1199317" y="1226381"/>
                        </a:cubicBezTo>
                        <a:cubicBezTo>
                          <a:pt x="1200940" y="1229465"/>
                          <a:pt x="1203807" y="1230980"/>
                          <a:pt x="1207540" y="1230493"/>
                        </a:cubicBezTo>
                        <a:cubicBezTo>
                          <a:pt x="1211544" y="1229952"/>
                          <a:pt x="1214844" y="1228059"/>
                          <a:pt x="1216467" y="1224271"/>
                        </a:cubicBezTo>
                        <a:cubicBezTo>
                          <a:pt x="1217224" y="1222540"/>
                          <a:pt x="1217549" y="1220593"/>
                          <a:pt x="1217657" y="1218753"/>
                        </a:cubicBezTo>
                        <a:cubicBezTo>
                          <a:pt x="1217819" y="1214317"/>
                          <a:pt x="1217116" y="1209989"/>
                          <a:pt x="1215601" y="1205877"/>
                        </a:cubicBezTo>
                        <a:cubicBezTo>
                          <a:pt x="1212193" y="1196788"/>
                          <a:pt x="1208839" y="1187753"/>
                          <a:pt x="1205268" y="1178718"/>
                        </a:cubicBezTo>
                        <a:close/>
                      </a:path>
                    </a:pathLst>
                  </a:custGeom>
                  <a:gradFill>
                    <a:gsLst>
                      <a:gs pos="0">
                        <a:srgbClr val="EC037C">
                          <a:alpha val="56000"/>
                        </a:srgbClr>
                      </a:gs>
                      <a:gs pos="100000">
                        <a:srgbClr val="EC037C">
                          <a:alpha val="14000"/>
                        </a:srgbClr>
                      </a:gs>
                    </a:gsLst>
                    <a:lin ang="5400000" scaled="0"/>
                  </a:gra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ea typeface="+mn-ea"/>
                    </a:endParaRPr>
                  </a:p>
                </p:txBody>
              </p:sp>
              <p:sp>
                <p:nvSpPr>
                  <p:cNvPr id="26" name="Freeform: Shape 25">
                    <a:extLst>
                      <a:ext uri="{FF2B5EF4-FFF2-40B4-BE49-F238E27FC236}">
                        <a16:creationId xmlns:a16="http://schemas.microsoft.com/office/drawing/2014/main" xmlns="" id="{F53B9E1E-33D2-1A59-5024-7C1B3119251A}"/>
                      </a:ext>
                    </a:extLst>
                  </p:cNvPr>
                  <p:cNvSpPr/>
                  <p:nvPr/>
                </p:nvSpPr>
                <p:spPr>
                  <a:xfrm>
                    <a:off x="7426724" y="4791991"/>
                    <a:ext cx="536491" cy="908030"/>
                  </a:xfrm>
                  <a:custGeom>
                    <a:avLst/>
                    <a:gdLst>
                      <a:gd name="connsiteX0" fmla="*/ 32306 w 536491"/>
                      <a:gd name="connsiteY0" fmla="*/ 60865 h 908028"/>
                      <a:gd name="connsiteX1" fmla="*/ 39394 w 536491"/>
                      <a:gd name="connsiteY1" fmla="*/ 218626 h 908028"/>
                      <a:gd name="connsiteX2" fmla="*/ 52053 w 536491"/>
                      <a:gd name="connsiteY2" fmla="*/ 345441 h 908028"/>
                      <a:gd name="connsiteX3" fmla="*/ 44425 w 536491"/>
                      <a:gd name="connsiteY3" fmla="*/ 435737 h 908028"/>
                      <a:gd name="connsiteX4" fmla="*/ 73857 w 536491"/>
                      <a:gd name="connsiteY4" fmla="*/ 594472 h 908028"/>
                      <a:gd name="connsiteX5" fmla="*/ 107832 w 536491"/>
                      <a:gd name="connsiteY5" fmla="*/ 743089 h 908028"/>
                      <a:gd name="connsiteX6" fmla="*/ 90087 w 536491"/>
                      <a:gd name="connsiteY6" fmla="*/ 800924 h 908028"/>
                      <a:gd name="connsiteX7" fmla="*/ 48483 w 536491"/>
                      <a:gd name="connsiteY7" fmla="*/ 853674 h 908028"/>
                      <a:gd name="connsiteX8" fmla="*/ 16022 w 536491"/>
                      <a:gd name="connsiteY8" fmla="*/ 875964 h 908028"/>
                      <a:gd name="connsiteX9" fmla="*/ 278 w 536491"/>
                      <a:gd name="connsiteY9" fmla="*/ 896252 h 908028"/>
                      <a:gd name="connsiteX10" fmla="*/ 13966 w 536491"/>
                      <a:gd name="connsiteY10" fmla="*/ 899281 h 908028"/>
                      <a:gd name="connsiteX11" fmla="*/ 23109 w 536491"/>
                      <a:gd name="connsiteY11" fmla="*/ 903826 h 908028"/>
                      <a:gd name="connsiteX12" fmla="*/ 40367 w 536491"/>
                      <a:gd name="connsiteY12" fmla="*/ 901283 h 908028"/>
                      <a:gd name="connsiteX13" fmla="*/ 55570 w 536491"/>
                      <a:gd name="connsiteY13" fmla="*/ 904151 h 908028"/>
                      <a:gd name="connsiteX14" fmla="*/ 68771 w 536491"/>
                      <a:gd name="connsiteY14" fmla="*/ 904151 h 908028"/>
                      <a:gd name="connsiteX15" fmla="*/ 97174 w 536491"/>
                      <a:gd name="connsiteY15" fmla="*/ 907884 h 908028"/>
                      <a:gd name="connsiteX16" fmla="*/ 142836 w 536491"/>
                      <a:gd name="connsiteY16" fmla="*/ 905828 h 908028"/>
                      <a:gd name="connsiteX17" fmla="*/ 177353 w 536491"/>
                      <a:gd name="connsiteY17" fmla="*/ 899768 h 908028"/>
                      <a:gd name="connsiteX18" fmla="*/ 181898 w 536491"/>
                      <a:gd name="connsiteY18" fmla="*/ 854647 h 908028"/>
                      <a:gd name="connsiteX19" fmla="*/ 191528 w 536491"/>
                      <a:gd name="connsiteY19" fmla="*/ 793296 h 908028"/>
                      <a:gd name="connsiteX20" fmla="*/ 179842 w 536491"/>
                      <a:gd name="connsiteY20" fmla="*/ 684768 h 908028"/>
                      <a:gd name="connsiteX21" fmla="*/ 201645 w 536491"/>
                      <a:gd name="connsiteY21" fmla="*/ 547836 h 908028"/>
                      <a:gd name="connsiteX22" fmla="*/ 210247 w 536491"/>
                      <a:gd name="connsiteY22" fmla="*/ 451967 h 908028"/>
                      <a:gd name="connsiteX23" fmla="*/ 195045 w 536491"/>
                      <a:gd name="connsiteY23" fmla="*/ 366270 h 908028"/>
                      <a:gd name="connsiteX24" fmla="*/ 214846 w 536491"/>
                      <a:gd name="connsiteY24" fmla="*/ 309950 h 908028"/>
                      <a:gd name="connsiteX25" fmla="*/ 235134 w 536491"/>
                      <a:gd name="connsiteY25" fmla="*/ 213053 h 908028"/>
                      <a:gd name="connsiteX26" fmla="*/ 265539 w 536491"/>
                      <a:gd name="connsiteY26" fmla="*/ 167391 h 908028"/>
                      <a:gd name="connsiteX27" fmla="*/ 270950 w 536491"/>
                      <a:gd name="connsiteY27" fmla="*/ 167391 h 908028"/>
                      <a:gd name="connsiteX28" fmla="*/ 301355 w 536491"/>
                      <a:gd name="connsiteY28" fmla="*/ 213053 h 908028"/>
                      <a:gd name="connsiteX29" fmla="*/ 321643 w 536491"/>
                      <a:gd name="connsiteY29" fmla="*/ 309950 h 908028"/>
                      <a:gd name="connsiteX30" fmla="*/ 341444 w 536491"/>
                      <a:gd name="connsiteY30" fmla="*/ 366270 h 908028"/>
                      <a:gd name="connsiteX31" fmla="*/ 326242 w 536491"/>
                      <a:gd name="connsiteY31" fmla="*/ 451967 h 908028"/>
                      <a:gd name="connsiteX32" fmla="*/ 334844 w 536491"/>
                      <a:gd name="connsiteY32" fmla="*/ 547836 h 908028"/>
                      <a:gd name="connsiteX33" fmla="*/ 356647 w 536491"/>
                      <a:gd name="connsiteY33" fmla="*/ 684768 h 908028"/>
                      <a:gd name="connsiteX34" fmla="*/ 344961 w 536491"/>
                      <a:gd name="connsiteY34" fmla="*/ 793296 h 908028"/>
                      <a:gd name="connsiteX35" fmla="*/ 354591 w 536491"/>
                      <a:gd name="connsiteY35" fmla="*/ 854647 h 908028"/>
                      <a:gd name="connsiteX36" fmla="*/ 359136 w 536491"/>
                      <a:gd name="connsiteY36" fmla="*/ 899768 h 908028"/>
                      <a:gd name="connsiteX37" fmla="*/ 393653 w 536491"/>
                      <a:gd name="connsiteY37" fmla="*/ 905828 h 908028"/>
                      <a:gd name="connsiteX38" fmla="*/ 439315 w 536491"/>
                      <a:gd name="connsiteY38" fmla="*/ 907884 h 908028"/>
                      <a:gd name="connsiteX39" fmla="*/ 467718 w 536491"/>
                      <a:gd name="connsiteY39" fmla="*/ 904151 h 908028"/>
                      <a:gd name="connsiteX40" fmla="*/ 480919 w 536491"/>
                      <a:gd name="connsiteY40" fmla="*/ 904151 h 908028"/>
                      <a:gd name="connsiteX41" fmla="*/ 496122 w 536491"/>
                      <a:gd name="connsiteY41" fmla="*/ 901283 h 908028"/>
                      <a:gd name="connsiteX42" fmla="*/ 513380 w 536491"/>
                      <a:gd name="connsiteY42" fmla="*/ 903826 h 908028"/>
                      <a:gd name="connsiteX43" fmla="*/ 522523 w 536491"/>
                      <a:gd name="connsiteY43" fmla="*/ 899281 h 908028"/>
                      <a:gd name="connsiteX44" fmla="*/ 536211 w 536491"/>
                      <a:gd name="connsiteY44" fmla="*/ 896252 h 908028"/>
                      <a:gd name="connsiteX45" fmla="*/ 520468 w 536491"/>
                      <a:gd name="connsiteY45" fmla="*/ 875964 h 908028"/>
                      <a:gd name="connsiteX46" fmla="*/ 488007 w 536491"/>
                      <a:gd name="connsiteY46" fmla="*/ 853674 h 908028"/>
                      <a:gd name="connsiteX47" fmla="*/ 446402 w 536491"/>
                      <a:gd name="connsiteY47" fmla="*/ 800924 h 908028"/>
                      <a:gd name="connsiteX48" fmla="*/ 428657 w 536491"/>
                      <a:gd name="connsiteY48" fmla="*/ 743089 h 908028"/>
                      <a:gd name="connsiteX49" fmla="*/ 462633 w 536491"/>
                      <a:gd name="connsiteY49" fmla="*/ 594472 h 908028"/>
                      <a:gd name="connsiteX50" fmla="*/ 492064 w 536491"/>
                      <a:gd name="connsiteY50" fmla="*/ 435737 h 908028"/>
                      <a:gd name="connsiteX51" fmla="*/ 484436 w 536491"/>
                      <a:gd name="connsiteY51" fmla="*/ 345441 h 908028"/>
                      <a:gd name="connsiteX52" fmla="*/ 497096 w 536491"/>
                      <a:gd name="connsiteY52" fmla="*/ 218626 h 908028"/>
                      <a:gd name="connsiteX53" fmla="*/ 504183 w 536491"/>
                      <a:gd name="connsiteY53" fmla="*/ 60865 h 908028"/>
                      <a:gd name="connsiteX54" fmla="*/ 500342 w 536491"/>
                      <a:gd name="connsiteY54" fmla="*/ 0 h 908028"/>
                      <a:gd name="connsiteX55" fmla="*/ 35931 w 536491"/>
                      <a:gd name="connsiteY55" fmla="*/ 0 h 908028"/>
                      <a:gd name="connsiteX56" fmla="*/ 32090 w 536491"/>
                      <a:gd name="connsiteY56" fmla="*/ 60865 h 9080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</a:cxnLst>
                    <a:rect l="l" t="t" r="r" b="b"/>
                    <a:pathLst>
                      <a:path w="536491" h="908028">
                        <a:moveTo>
                          <a:pt x="32306" y="60865"/>
                        </a:moveTo>
                        <a:cubicBezTo>
                          <a:pt x="31819" y="131846"/>
                          <a:pt x="34849" y="170421"/>
                          <a:pt x="39394" y="218626"/>
                        </a:cubicBezTo>
                        <a:cubicBezTo>
                          <a:pt x="43938" y="266831"/>
                          <a:pt x="52053" y="319580"/>
                          <a:pt x="52053" y="345441"/>
                        </a:cubicBezTo>
                        <a:cubicBezTo>
                          <a:pt x="52053" y="371301"/>
                          <a:pt x="42423" y="395160"/>
                          <a:pt x="44425" y="435737"/>
                        </a:cubicBezTo>
                        <a:cubicBezTo>
                          <a:pt x="46427" y="476313"/>
                          <a:pt x="53027" y="530577"/>
                          <a:pt x="73857" y="594472"/>
                        </a:cubicBezTo>
                        <a:cubicBezTo>
                          <a:pt x="94686" y="658366"/>
                          <a:pt x="106805" y="707599"/>
                          <a:pt x="107832" y="743089"/>
                        </a:cubicBezTo>
                        <a:cubicBezTo>
                          <a:pt x="108860" y="778580"/>
                          <a:pt x="106805" y="775551"/>
                          <a:pt x="90087" y="800924"/>
                        </a:cubicBezTo>
                        <a:cubicBezTo>
                          <a:pt x="73370" y="826298"/>
                          <a:pt x="48483" y="853674"/>
                          <a:pt x="48483" y="853674"/>
                        </a:cubicBezTo>
                        <a:cubicBezTo>
                          <a:pt x="48483" y="853674"/>
                          <a:pt x="28681" y="867848"/>
                          <a:pt x="16022" y="875964"/>
                        </a:cubicBezTo>
                        <a:cubicBezTo>
                          <a:pt x="3362" y="884079"/>
                          <a:pt x="-1237" y="892194"/>
                          <a:pt x="278" y="896252"/>
                        </a:cubicBezTo>
                        <a:cubicBezTo>
                          <a:pt x="1793" y="900309"/>
                          <a:pt x="13966" y="899281"/>
                          <a:pt x="13966" y="899281"/>
                        </a:cubicBezTo>
                        <a:cubicBezTo>
                          <a:pt x="13966" y="899281"/>
                          <a:pt x="16022" y="902311"/>
                          <a:pt x="23109" y="903826"/>
                        </a:cubicBezTo>
                        <a:cubicBezTo>
                          <a:pt x="30196" y="905341"/>
                          <a:pt x="40367" y="901283"/>
                          <a:pt x="40367" y="901283"/>
                        </a:cubicBezTo>
                        <a:cubicBezTo>
                          <a:pt x="40367" y="901283"/>
                          <a:pt x="45453" y="902960"/>
                          <a:pt x="55570" y="904151"/>
                        </a:cubicBezTo>
                        <a:cubicBezTo>
                          <a:pt x="65687" y="905341"/>
                          <a:pt x="68771" y="904151"/>
                          <a:pt x="68771" y="904151"/>
                        </a:cubicBezTo>
                        <a:cubicBezTo>
                          <a:pt x="68771" y="904151"/>
                          <a:pt x="81972" y="908857"/>
                          <a:pt x="97174" y="907884"/>
                        </a:cubicBezTo>
                        <a:cubicBezTo>
                          <a:pt x="112377" y="906910"/>
                          <a:pt x="137264" y="906856"/>
                          <a:pt x="142836" y="905828"/>
                        </a:cubicBezTo>
                        <a:cubicBezTo>
                          <a:pt x="148409" y="904800"/>
                          <a:pt x="169725" y="905828"/>
                          <a:pt x="177353" y="899768"/>
                        </a:cubicBezTo>
                        <a:cubicBezTo>
                          <a:pt x="184982" y="893709"/>
                          <a:pt x="181898" y="870878"/>
                          <a:pt x="181898" y="854647"/>
                        </a:cubicBezTo>
                        <a:cubicBezTo>
                          <a:pt x="181898" y="838417"/>
                          <a:pt x="191528" y="808012"/>
                          <a:pt x="191528" y="793296"/>
                        </a:cubicBezTo>
                        <a:cubicBezTo>
                          <a:pt x="191528" y="778580"/>
                          <a:pt x="177353" y="740547"/>
                          <a:pt x="179842" y="684768"/>
                        </a:cubicBezTo>
                        <a:cubicBezTo>
                          <a:pt x="182331" y="628989"/>
                          <a:pt x="190987" y="592957"/>
                          <a:pt x="201645" y="547836"/>
                        </a:cubicBezTo>
                        <a:cubicBezTo>
                          <a:pt x="212303" y="502715"/>
                          <a:pt x="216361" y="492057"/>
                          <a:pt x="210247" y="451967"/>
                        </a:cubicBezTo>
                        <a:cubicBezTo>
                          <a:pt x="204134" y="411878"/>
                          <a:pt x="195045" y="366270"/>
                          <a:pt x="195045" y="366270"/>
                        </a:cubicBezTo>
                        <a:cubicBezTo>
                          <a:pt x="195045" y="366270"/>
                          <a:pt x="207705" y="345982"/>
                          <a:pt x="214846" y="309950"/>
                        </a:cubicBezTo>
                        <a:cubicBezTo>
                          <a:pt x="221988" y="273918"/>
                          <a:pt x="225504" y="231340"/>
                          <a:pt x="235134" y="213053"/>
                        </a:cubicBezTo>
                        <a:cubicBezTo>
                          <a:pt x="244764" y="194767"/>
                          <a:pt x="265539" y="167391"/>
                          <a:pt x="265539" y="167391"/>
                        </a:cubicBezTo>
                        <a:lnTo>
                          <a:pt x="270950" y="167391"/>
                        </a:lnTo>
                        <a:cubicBezTo>
                          <a:pt x="270950" y="167391"/>
                          <a:pt x="291725" y="194767"/>
                          <a:pt x="301355" y="213053"/>
                        </a:cubicBezTo>
                        <a:cubicBezTo>
                          <a:pt x="310985" y="231340"/>
                          <a:pt x="314556" y="273918"/>
                          <a:pt x="321643" y="309950"/>
                        </a:cubicBezTo>
                        <a:cubicBezTo>
                          <a:pt x="328731" y="345982"/>
                          <a:pt x="341444" y="366270"/>
                          <a:pt x="341444" y="366270"/>
                        </a:cubicBezTo>
                        <a:cubicBezTo>
                          <a:pt x="341444" y="366270"/>
                          <a:pt x="332301" y="411932"/>
                          <a:pt x="326242" y="451967"/>
                        </a:cubicBezTo>
                        <a:cubicBezTo>
                          <a:pt x="320182" y="492003"/>
                          <a:pt x="324186" y="502715"/>
                          <a:pt x="334844" y="547836"/>
                        </a:cubicBezTo>
                        <a:cubicBezTo>
                          <a:pt x="345502" y="592957"/>
                          <a:pt x="354104" y="628989"/>
                          <a:pt x="356647" y="684768"/>
                        </a:cubicBezTo>
                        <a:cubicBezTo>
                          <a:pt x="359190" y="740547"/>
                          <a:pt x="344961" y="778580"/>
                          <a:pt x="344961" y="793296"/>
                        </a:cubicBezTo>
                        <a:cubicBezTo>
                          <a:pt x="344961" y="808012"/>
                          <a:pt x="354591" y="838417"/>
                          <a:pt x="354591" y="854647"/>
                        </a:cubicBezTo>
                        <a:cubicBezTo>
                          <a:pt x="354591" y="870878"/>
                          <a:pt x="351562" y="893709"/>
                          <a:pt x="359136" y="899768"/>
                        </a:cubicBezTo>
                        <a:cubicBezTo>
                          <a:pt x="366710" y="905828"/>
                          <a:pt x="388026" y="904854"/>
                          <a:pt x="393653" y="905828"/>
                        </a:cubicBezTo>
                        <a:cubicBezTo>
                          <a:pt x="399279" y="906802"/>
                          <a:pt x="424058" y="906856"/>
                          <a:pt x="439315" y="907884"/>
                        </a:cubicBezTo>
                        <a:cubicBezTo>
                          <a:pt x="454571" y="908912"/>
                          <a:pt x="467718" y="904151"/>
                          <a:pt x="467718" y="904151"/>
                        </a:cubicBezTo>
                        <a:cubicBezTo>
                          <a:pt x="467718" y="904151"/>
                          <a:pt x="470748" y="905341"/>
                          <a:pt x="480919" y="904151"/>
                        </a:cubicBezTo>
                        <a:cubicBezTo>
                          <a:pt x="491090" y="902960"/>
                          <a:pt x="496122" y="901283"/>
                          <a:pt x="496122" y="901283"/>
                        </a:cubicBezTo>
                        <a:cubicBezTo>
                          <a:pt x="496122" y="901283"/>
                          <a:pt x="506293" y="905341"/>
                          <a:pt x="513380" y="903826"/>
                        </a:cubicBezTo>
                        <a:cubicBezTo>
                          <a:pt x="520468" y="902311"/>
                          <a:pt x="522523" y="899281"/>
                          <a:pt x="522523" y="899281"/>
                        </a:cubicBezTo>
                        <a:cubicBezTo>
                          <a:pt x="522523" y="899281"/>
                          <a:pt x="534696" y="900309"/>
                          <a:pt x="536211" y="896252"/>
                        </a:cubicBezTo>
                        <a:cubicBezTo>
                          <a:pt x="537726" y="892194"/>
                          <a:pt x="533181" y="884079"/>
                          <a:pt x="520468" y="875964"/>
                        </a:cubicBezTo>
                        <a:cubicBezTo>
                          <a:pt x="507754" y="867848"/>
                          <a:pt x="488007" y="853674"/>
                          <a:pt x="488007" y="853674"/>
                        </a:cubicBezTo>
                        <a:cubicBezTo>
                          <a:pt x="488007" y="853674"/>
                          <a:pt x="463174" y="826298"/>
                          <a:pt x="446402" y="800924"/>
                        </a:cubicBezTo>
                        <a:cubicBezTo>
                          <a:pt x="429631" y="775551"/>
                          <a:pt x="427629" y="778634"/>
                          <a:pt x="428657" y="743089"/>
                        </a:cubicBezTo>
                        <a:cubicBezTo>
                          <a:pt x="429685" y="707544"/>
                          <a:pt x="441858" y="658366"/>
                          <a:pt x="462633" y="594472"/>
                        </a:cubicBezTo>
                        <a:cubicBezTo>
                          <a:pt x="483408" y="530577"/>
                          <a:pt x="490008" y="476313"/>
                          <a:pt x="492064" y="435737"/>
                        </a:cubicBezTo>
                        <a:cubicBezTo>
                          <a:pt x="494120" y="395160"/>
                          <a:pt x="484436" y="371301"/>
                          <a:pt x="484436" y="345441"/>
                        </a:cubicBezTo>
                        <a:cubicBezTo>
                          <a:pt x="484436" y="319580"/>
                          <a:pt x="492551" y="266831"/>
                          <a:pt x="497096" y="218626"/>
                        </a:cubicBezTo>
                        <a:cubicBezTo>
                          <a:pt x="501640" y="170421"/>
                          <a:pt x="504724" y="131900"/>
                          <a:pt x="504183" y="60865"/>
                        </a:cubicBezTo>
                        <a:cubicBezTo>
                          <a:pt x="504021" y="39494"/>
                          <a:pt x="502560" y="19368"/>
                          <a:pt x="500342" y="0"/>
                        </a:cubicBezTo>
                        <a:lnTo>
                          <a:pt x="35931" y="0"/>
                        </a:lnTo>
                        <a:cubicBezTo>
                          <a:pt x="33767" y="19368"/>
                          <a:pt x="32252" y="39494"/>
                          <a:pt x="32090" y="60865"/>
                        </a:cubicBezTo>
                        <a:close/>
                      </a:path>
                    </a:pathLst>
                  </a:custGeom>
                  <a:gradFill>
                    <a:gsLst>
                      <a:gs pos="100000">
                        <a:srgbClr val="505050">
                          <a:lumMod val="60000"/>
                          <a:lumOff val="40000"/>
                          <a:alpha val="52000"/>
                        </a:srgbClr>
                      </a:gs>
                      <a:gs pos="0">
                        <a:srgbClr val="505050">
                          <a:lumMod val="60000"/>
                          <a:lumOff val="40000"/>
                          <a:alpha val="14000"/>
                        </a:srgbClr>
                      </a:gs>
                    </a:gsLst>
                    <a:lin ang="5400000" scaled="0"/>
                  </a:gra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ea typeface="+mn-ea"/>
                    </a:endParaRPr>
                  </a:p>
                </p:txBody>
              </p:sp>
            </p:grpSp>
          </p:grpSp>
          <p:cxnSp>
            <p:nvCxnSpPr>
              <p:cNvPr id="21" name="Straight Arrow Connector 20">
                <a:extLst>
                  <a:ext uri="{FF2B5EF4-FFF2-40B4-BE49-F238E27FC236}">
                    <a16:creationId xmlns:a16="http://schemas.microsoft.com/office/drawing/2014/main" xmlns="" id="{6CF7D2DC-EEDB-95DE-7812-691E53A3F377}"/>
                  </a:ext>
                </a:extLst>
              </p:cNvPr>
              <p:cNvCxnSpPr/>
              <p:nvPr/>
            </p:nvCxnSpPr>
            <p:spPr>
              <a:xfrm>
                <a:off x="10360042" y="2895988"/>
                <a:ext cx="0" cy="936000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ED037C"/>
                </a:solidFill>
                <a:prstDash val="solid"/>
                <a:miter lim="800000"/>
                <a:headEnd type="triangle" w="med" len="med"/>
                <a:tailEnd type="triangle" w="med" len="med"/>
              </a:ln>
              <a:effectLst/>
            </p:spPr>
          </p:cxnSp>
          <p:cxnSp>
            <p:nvCxnSpPr>
              <p:cNvPr id="22" name="Straight Arrow Connector 21">
                <a:extLst>
                  <a:ext uri="{FF2B5EF4-FFF2-40B4-BE49-F238E27FC236}">
                    <a16:creationId xmlns:a16="http://schemas.microsoft.com/office/drawing/2014/main" xmlns="" id="{076D2643-9DA4-184B-039C-10D7D51E96BA}"/>
                  </a:ext>
                </a:extLst>
              </p:cNvPr>
              <p:cNvCxnSpPr/>
              <p:nvPr/>
            </p:nvCxnSpPr>
            <p:spPr>
              <a:xfrm>
                <a:off x="10360042" y="3839148"/>
                <a:ext cx="0" cy="684000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FFFFFF">
                    <a:lumMod val="50000"/>
                  </a:srgbClr>
                </a:solidFill>
                <a:prstDash val="solid"/>
                <a:miter lim="800000"/>
                <a:headEnd type="triangle" w="med" len="med"/>
                <a:tailEnd type="triangle" w="med" len="med"/>
              </a:ln>
              <a:effectLst/>
            </p:spPr>
          </p:cxnSp>
        </p:grp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xmlns="" id="{5FE88DAF-652F-5610-99E8-E54E696D7312}"/>
                </a:ext>
              </a:extLst>
            </p:cNvPr>
            <p:cNvCxnSpPr/>
            <p:nvPr/>
          </p:nvCxnSpPr>
          <p:spPr>
            <a:xfrm>
              <a:off x="633806" y="3196081"/>
              <a:ext cx="0" cy="1152826"/>
            </a:xfrm>
            <a:prstGeom prst="straightConnector1">
              <a:avLst/>
            </a:prstGeom>
            <a:noFill/>
            <a:ln w="6350" cap="flat" cmpd="sng" algn="ctr">
              <a:solidFill>
                <a:srgbClr val="28509C"/>
              </a:solidFill>
              <a:prstDash val="solid"/>
              <a:miter lim="800000"/>
              <a:tailEnd type="triangle"/>
            </a:ln>
            <a:effectLst/>
          </p:spPr>
        </p:cxnSp>
        <p:pic>
          <p:nvPicPr>
            <p:cNvPr id="15" name="Picture 14" descr="A graph of a number of patients&#10;&#10;Description automatically generated with medium confidence">
              <a:extLst>
                <a:ext uri="{FF2B5EF4-FFF2-40B4-BE49-F238E27FC236}">
                  <a16:creationId xmlns:a16="http://schemas.microsoft.com/office/drawing/2014/main" xmlns="" id="{0DE0ECB3-6DE9-D504-2B0D-AC93FDF275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2577" y="1845313"/>
              <a:ext cx="8006127" cy="398314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xmlns="" id="{1059F97F-F100-33B1-8C74-92EF838E5362}"/>
                </a:ext>
              </a:extLst>
            </p:cNvPr>
            <p:cNvSpPr txBox="1"/>
            <p:nvPr/>
          </p:nvSpPr>
          <p:spPr>
            <a:xfrm>
              <a:off x="-199088" y="2483915"/>
              <a:ext cx="166578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8509C"/>
                  </a:solidFill>
                  <a:effectLst/>
                  <a:uLnTx/>
                  <a:uFillTx/>
                  <a:ea typeface="+mn-ea"/>
                </a:rPr>
                <a:t>Pontuações mais baixas indicam melhoria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8509C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1BF58139-F405-44EB-F21B-A9ED461FD4C1}"/>
                </a:ext>
              </a:extLst>
            </p:cNvPr>
            <p:cNvSpPr txBox="1"/>
            <p:nvPr/>
          </p:nvSpPr>
          <p:spPr>
            <a:xfrm>
              <a:off x="5645994" y="4487943"/>
              <a:ext cx="1148071" cy="338554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ea typeface="+mn-ea"/>
                </a:rPr>
                <a:t>*</a:t>
              </a:r>
              <a:r>
                <a:rPr kumimoji="0" lang="en-US" sz="1600" b="1" i="1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ea typeface="+mn-ea"/>
                </a:rPr>
                <a:t>P=0.0087</a:t>
              </a:r>
              <a:endPara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ea typeface="+mn-ea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0088974B-7D33-46D0-3960-74AB36B7675B}"/>
              </a:ext>
            </a:extLst>
          </p:cNvPr>
          <p:cNvSpPr txBox="1"/>
          <p:nvPr/>
        </p:nvSpPr>
        <p:spPr>
          <a:xfrm>
            <a:off x="459127" y="5901994"/>
            <a:ext cx="10792274" cy="73866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ea typeface="+mn-ea"/>
              </a:rPr>
              <a:t>*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ea typeface="+mn-ea"/>
              </a:rPr>
              <a:t>Change in body proportionality was assessed in a subset of children under 11(F)/12(M) treated with vosoritide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ea typeface="+mn-ea"/>
              </a:rPr>
              <a:t>Assessments beyond these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ea typeface="+mn-ea"/>
              </a:rPr>
              <a:t>Idade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ea typeface="+mn-ea"/>
              </a:rPr>
              <a:t> are excluded from analysis given any treatment is unlikely to impact proportionality</a:t>
            </a: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ea typeface="+mn-ea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ea typeface="+mn-ea"/>
              </a:rPr>
              <a:t>*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ea typeface="+mn-lt"/>
              </a:rPr>
              <a:t>Data shown are from the BMN111-301/302 study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05050">
                  <a:lumMod val="60000"/>
                  <a:lumOff val="40000"/>
                </a:srgbClr>
              </a:solidFill>
              <a:effectLst/>
              <a:uLnTx/>
              <a:uFillTx/>
              <a:ea typeface="+mn-ea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ea typeface="+mn-ea"/>
              </a:rPr>
              <a:t>QoL, quality of life; SE, standard error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ea typeface="+mn-ea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ea typeface="+mn-ea"/>
              </a:rPr>
              <a:t>1.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ea typeface="+mn-lt"/>
              </a:rPr>
              <a:t> Savarirayan R </a:t>
            </a:r>
            <a:r>
              <a:rPr kumimoji="0" lang="da-DK" sz="800" b="0" i="1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ea typeface="+mn-lt"/>
              </a:rPr>
              <a:t>et al. Med. 2024 Dec 30:100566;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ea typeface="+mn-lt"/>
              </a:rPr>
              <a:t>2. Maghnie M </a:t>
            </a:r>
            <a:r>
              <a:rPr kumimoji="0" lang="da-DK" sz="800" b="0" i="1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ea typeface="+mn-lt"/>
              </a:rPr>
              <a:t>et al. Orphanet J Rare Dis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ea typeface="+mn-lt"/>
              </a:rPr>
              <a:t>2023;18:5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05050">
                  <a:lumMod val="60000"/>
                  <a:lumOff val="40000"/>
                </a:srgbClr>
              </a:solidFill>
              <a:effectLst/>
              <a:uLnTx/>
              <a:uFillTx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101997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57495FC4-842F-6682-6430-A2EBECD858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358DD9D-84AB-C2FA-33D7-2797493A41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574" y="290051"/>
            <a:ext cx="10515600" cy="97830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kumimoji="1" lang="pt-BR" b="1" dirty="0"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lhora na Qualidade de Vida Relatadas por Cuidadores em Crianças Tratadas com Vosoritida por até 3 anos</a:t>
            </a:r>
            <a:endParaRPr kumimoji="1" lang="en-US" b="1" dirty="0">
              <a:gradFill flip="none" rotWithShape="1">
                <a:gsLst>
                  <a:gs pos="100000">
                    <a:srgbClr val="343C98"/>
                  </a:gs>
                  <a:gs pos="0">
                    <a:srgbClr val="A9208E"/>
                  </a:gs>
                </a:gsLst>
                <a:lin ang="10800000" scaled="1"/>
                <a:tileRect/>
              </a:gra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749F03D4-B609-C284-7EFA-7CFAA3A2F93E}"/>
              </a:ext>
            </a:extLst>
          </p:cNvPr>
          <p:cNvGrpSpPr/>
          <p:nvPr/>
        </p:nvGrpSpPr>
        <p:grpSpPr>
          <a:xfrm>
            <a:off x="6581276" y="1559408"/>
            <a:ext cx="4211821" cy="3675003"/>
            <a:chOff x="6623540" y="1952043"/>
            <a:chExt cx="4211821" cy="3675003"/>
          </a:xfrm>
        </p:grpSpPr>
        <p:pic>
          <p:nvPicPr>
            <p:cNvPr id="4" name="Picture 3" descr="A white light in the corner of a black background&#10;&#10;Description automatically generated">
              <a:extLst>
                <a:ext uri="{FF2B5EF4-FFF2-40B4-BE49-F238E27FC236}">
                  <a16:creationId xmlns:a16="http://schemas.microsoft.com/office/drawing/2014/main" xmlns="" id="{2F5B6D09-345D-0E85-C4E2-9DA4525BF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623540" y="1952043"/>
              <a:ext cx="1048255" cy="3675003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xmlns="" id="{8495D899-0658-6A2E-16B5-2FF84BCF2D00}"/>
                </a:ext>
              </a:extLst>
            </p:cNvPr>
            <p:cNvSpPr txBox="1">
              <a:spLocks/>
            </p:cNvSpPr>
            <p:nvPr/>
          </p:nvSpPr>
          <p:spPr>
            <a:xfrm>
              <a:off x="7102122" y="3015512"/>
              <a:ext cx="3733239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1600" kern="0" dirty="0">
                  <a:solidFill>
                    <a:srgbClr val="505050"/>
                  </a:solidFill>
                  <a:latin typeface="Arial" panose="020B0604020202020204"/>
                </a:rPr>
                <a:t>A</a:t>
              </a:r>
              <a:r>
                <a:rPr kumimoji="0" lang="pt-BR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vosoritida tem um </a:t>
              </a:r>
              <a:r>
                <a:rPr lang="pt-BR" sz="1600" b="1" kern="0" dirty="0">
                  <a:solidFill>
                    <a:srgbClr val="28509C"/>
                  </a:solidFill>
                  <a:latin typeface="Arial" panose="020B0604020202020204"/>
                </a:rPr>
                <a:t>efeito positivo no domínio físico e social</a:t>
              </a:r>
              <a:r>
                <a:rPr kumimoji="0" lang="pt-BR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, particularmente em crianças com alterações mais pronunciadas no escore Z da altura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25" name="TextBox 124">
            <a:extLst>
              <a:ext uri="{FF2B5EF4-FFF2-40B4-BE49-F238E27FC236}">
                <a16:creationId xmlns:a16="http://schemas.microsoft.com/office/drawing/2014/main" xmlns="" id="{6C39F560-D94B-9304-DF47-0503CFC32397}"/>
              </a:ext>
            </a:extLst>
          </p:cNvPr>
          <p:cNvSpPr txBox="1"/>
          <p:nvPr/>
        </p:nvSpPr>
        <p:spPr>
          <a:xfrm>
            <a:off x="155598" y="6082411"/>
            <a:ext cx="10117736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Data shown are from the BMN111-301/302 study.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ata cut-off February 25, 2023. A positive change in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QoLISSY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score is indicative of an improvement in quality of life. Z-scores were derived using ACH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dade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-/sex-specific reference data (means and SDs) from CLARITY (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Hoover-Fong J 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et al. </a:t>
            </a:r>
            <a:r>
              <a:rPr kumimoji="0" lang="en-US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phanet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J Rare Dis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1;16:522)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505050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H, achondroplasia;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RQoL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health-related quality of life;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oLISSY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Quality of Life in Short Stature Youth; SD, standard deviation; SE, standard err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1. Bullinger M </a:t>
            </a:r>
            <a:r>
              <a:rPr kumimoji="0" lang="da-DK" sz="700" b="0" i="1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et al. </a:t>
            </a:r>
            <a:r>
              <a:rPr kumimoji="0" lang="en-GB" sz="700" b="0" i="1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Health Qual Life Outcomes 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2013:11:76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; 2. Savarirayan R </a:t>
            </a:r>
            <a:r>
              <a:rPr kumimoji="0" lang="da-DK" sz="700" b="0" i="1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et 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. Presented at ICCBH 2024, Salzburg, Austria June 22–25, 2024, oral communication OC4.3</a:t>
            </a: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505050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xmlns="" id="{754D63ED-779B-6172-1014-670ED2101B65}"/>
              </a:ext>
            </a:extLst>
          </p:cNvPr>
          <p:cNvGrpSpPr/>
          <p:nvPr/>
        </p:nvGrpSpPr>
        <p:grpSpPr>
          <a:xfrm>
            <a:off x="1469860" y="1589551"/>
            <a:ext cx="5633898" cy="3840662"/>
            <a:chOff x="1681569" y="1634595"/>
            <a:chExt cx="5633898" cy="3840662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xmlns="" id="{030C3ED3-D0F1-8281-6031-749174F5DCCD}"/>
                </a:ext>
              </a:extLst>
            </p:cNvPr>
            <p:cNvGrpSpPr/>
            <p:nvPr/>
          </p:nvGrpSpPr>
          <p:grpSpPr>
            <a:xfrm>
              <a:off x="1681569" y="1634595"/>
              <a:ext cx="5633898" cy="3840662"/>
              <a:chOff x="1478525" y="2086208"/>
              <a:chExt cx="5633898" cy="3840662"/>
            </a:xfrm>
          </p:grpSpPr>
          <p:graphicFrame>
            <p:nvGraphicFramePr>
              <p:cNvPr id="7" name="Chart 6">
                <a:extLst>
                  <a:ext uri="{FF2B5EF4-FFF2-40B4-BE49-F238E27FC236}">
                    <a16:creationId xmlns:a16="http://schemas.microsoft.com/office/drawing/2014/main" xmlns="" id="{FD239472-7B33-D50B-84EB-6039C3D93B23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279856781"/>
                  </p:ext>
                </p:extLst>
              </p:nvPr>
            </p:nvGraphicFramePr>
            <p:xfrm>
              <a:off x="2619487" y="4447062"/>
              <a:ext cx="4473886" cy="113622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xmlns="" id="{3AC22DC3-9885-AB6C-EC8D-7B5FA241999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803368361"/>
                  </p:ext>
                </p:extLst>
              </p:nvPr>
            </p:nvGraphicFramePr>
            <p:xfrm>
              <a:off x="2619487" y="2935762"/>
              <a:ext cx="4473886" cy="113622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graphicFrame>
            <p:nvGraphicFramePr>
              <p:cNvPr id="9" name="Chart 8">
                <a:extLst>
                  <a:ext uri="{FF2B5EF4-FFF2-40B4-BE49-F238E27FC236}">
                    <a16:creationId xmlns:a16="http://schemas.microsoft.com/office/drawing/2014/main" xmlns="" id="{9A9EC9F9-63AE-2ED0-29E9-0F426122382C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107109120"/>
                  </p:ext>
                </p:extLst>
              </p:nvPr>
            </p:nvGraphicFramePr>
            <p:xfrm>
              <a:off x="2638537" y="2122962"/>
              <a:ext cx="4473886" cy="113622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graphicFrame>
            <p:nvGraphicFramePr>
              <p:cNvPr id="10" name="Chart 9">
                <a:extLst>
                  <a:ext uri="{FF2B5EF4-FFF2-40B4-BE49-F238E27FC236}">
                    <a16:creationId xmlns:a16="http://schemas.microsoft.com/office/drawing/2014/main" xmlns="" id="{F8155511-7E96-B88A-842A-4B39C2170BA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573191875"/>
                  </p:ext>
                </p:extLst>
              </p:nvPr>
            </p:nvGraphicFramePr>
            <p:xfrm>
              <a:off x="2613137" y="3710460"/>
              <a:ext cx="4473886" cy="156777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xmlns="" id="{09A15B8E-45CE-964D-046D-185FE38807F5}"/>
                  </a:ext>
                </a:extLst>
              </p:cNvPr>
              <p:cNvSpPr txBox="1"/>
              <p:nvPr/>
            </p:nvSpPr>
            <p:spPr>
              <a:xfrm>
                <a:off x="4515095" y="2792890"/>
                <a:ext cx="759881" cy="21544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2.65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xmlns="" id="{9099F8C9-6529-C7C3-C78B-94322051888C}"/>
                  </a:ext>
                </a:extLst>
              </p:cNvPr>
              <p:cNvSpPr txBox="1"/>
              <p:nvPr/>
            </p:nvSpPr>
            <p:spPr>
              <a:xfrm>
                <a:off x="3559024" y="2639553"/>
                <a:ext cx="759881" cy="21544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2653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5.99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xmlns="" id="{43748E65-93A6-69A8-92D6-7AC5296DDA04}"/>
                  </a:ext>
                </a:extLst>
              </p:cNvPr>
              <p:cNvSpPr txBox="1"/>
              <p:nvPr/>
            </p:nvSpPr>
            <p:spPr>
              <a:xfrm>
                <a:off x="5401780" y="2409247"/>
                <a:ext cx="759881" cy="21544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11.36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xmlns="" id="{666490B5-CAFE-EF6C-6697-77228B53E9B3}"/>
                  </a:ext>
                </a:extLst>
              </p:cNvPr>
              <p:cNvSpPr txBox="1"/>
              <p:nvPr/>
            </p:nvSpPr>
            <p:spPr>
              <a:xfrm>
                <a:off x="4486220" y="3669233"/>
                <a:ext cx="759881" cy="21544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0.98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xmlns="" id="{B2F69805-BDDF-141B-5E57-749F27F56E32}"/>
                  </a:ext>
                </a:extLst>
              </p:cNvPr>
              <p:cNvSpPr txBox="1"/>
              <p:nvPr/>
            </p:nvSpPr>
            <p:spPr>
              <a:xfrm>
                <a:off x="3559024" y="3596182"/>
                <a:ext cx="759881" cy="21544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2653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2.85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xmlns="" id="{E9FF8D79-C329-A808-0BB5-5AFF38742C61}"/>
                  </a:ext>
                </a:extLst>
              </p:cNvPr>
              <p:cNvSpPr txBox="1"/>
              <p:nvPr/>
            </p:nvSpPr>
            <p:spPr>
              <a:xfrm>
                <a:off x="5379749" y="3473396"/>
                <a:ext cx="759881" cy="21544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5.84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xmlns="" id="{37F09688-EE99-3183-F0BC-78565C0A7998}"/>
                  </a:ext>
                </a:extLst>
              </p:cNvPr>
              <p:cNvSpPr txBox="1"/>
              <p:nvPr/>
            </p:nvSpPr>
            <p:spPr>
              <a:xfrm>
                <a:off x="4476489" y="4765878"/>
                <a:ext cx="759881" cy="21544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-1.09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xmlns="" id="{7A6C268A-4528-6572-8C33-E95BC5A3584A}"/>
                  </a:ext>
                </a:extLst>
              </p:cNvPr>
              <p:cNvSpPr txBox="1"/>
              <p:nvPr/>
            </p:nvSpPr>
            <p:spPr>
              <a:xfrm>
                <a:off x="3590993" y="4475137"/>
                <a:ext cx="759881" cy="21544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2653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0.70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xmlns="" id="{E1D686E3-7AB3-DD44-6FC2-B0DD652DBBF2}"/>
                  </a:ext>
                </a:extLst>
              </p:cNvPr>
              <p:cNvSpPr txBox="1"/>
              <p:nvPr/>
            </p:nvSpPr>
            <p:spPr>
              <a:xfrm>
                <a:off x="5398740" y="4342312"/>
                <a:ext cx="759881" cy="21544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3.62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xmlns="" id="{5A68C793-2F0C-29AE-DDB8-92DCD9E5FABD}"/>
                  </a:ext>
                </a:extLst>
              </p:cNvPr>
              <p:cNvSpPr txBox="1"/>
              <p:nvPr/>
            </p:nvSpPr>
            <p:spPr>
              <a:xfrm>
                <a:off x="5398740" y="4940389"/>
                <a:ext cx="762027" cy="21544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6.94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xmlns="" id="{E955E56F-6C99-7816-C333-B95932460ADD}"/>
                  </a:ext>
                </a:extLst>
              </p:cNvPr>
              <p:cNvSpPr txBox="1"/>
              <p:nvPr/>
            </p:nvSpPr>
            <p:spPr>
              <a:xfrm>
                <a:off x="4490245" y="5185384"/>
                <a:ext cx="762027" cy="21544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0.96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xmlns="" id="{DA148930-C79D-F61A-E7A2-3591D2CF5648}"/>
                  </a:ext>
                </a:extLst>
              </p:cNvPr>
              <p:cNvSpPr txBox="1"/>
              <p:nvPr/>
            </p:nvSpPr>
            <p:spPr>
              <a:xfrm>
                <a:off x="3557950" y="5099976"/>
                <a:ext cx="762027" cy="21544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2653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3.25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xmlns="" id="{E6252F96-CBF7-FA00-42ED-4A372AAC3473}"/>
                  </a:ext>
                </a:extLst>
              </p:cNvPr>
              <p:cNvSpPr txBox="1"/>
              <p:nvPr/>
            </p:nvSpPr>
            <p:spPr>
              <a:xfrm>
                <a:off x="3475660" y="2096965"/>
                <a:ext cx="241180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Mean change from Altura Basal</a:t>
                </a:r>
              </a:p>
            </p:txBody>
          </p: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xmlns="" id="{98C2A2F7-8F88-37D2-C6F8-1E3703E9A13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99446" y="3930312"/>
                <a:ext cx="4680000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xmlns="" id="{08108D94-DA01-E2CF-E7E5-00CF01E7491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87459" y="4705012"/>
                <a:ext cx="4680000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xmlns="" id="{A202583F-C387-991D-7F3F-B131AC505C4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99446" y="5441612"/>
                <a:ext cx="4680000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xmlns="" id="{91199EAB-875C-3F10-C903-B4DD6F3DF59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604441" y="3117512"/>
                <a:ext cx="4680000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xmlns="" id="{5ABAD7DA-1D1C-2319-7521-0D6CA627B0E8}"/>
                  </a:ext>
                </a:extLst>
              </p:cNvPr>
              <p:cNvSpPr txBox="1"/>
              <p:nvPr/>
            </p:nvSpPr>
            <p:spPr>
              <a:xfrm>
                <a:off x="3142129" y="5586344"/>
                <a:ext cx="1532334" cy="21544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000" dirty="0">
                    <a:solidFill>
                      <a:srgbClr val="505050"/>
                    </a:solidFill>
                    <a:latin typeface="Arial" panose="020B0604020202020204"/>
                  </a:rPr>
                  <a:t>Total</a:t>
                </a: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xmlns="" id="{F0BCEF58-12A6-0A5E-167F-64783545327E}"/>
                  </a:ext>
                </a:extLst>
              </p:cNvPr>
              <p:cNvSpPr txBox="1"/>
              <p:nvPr/>
            </p:nvSpPr>
            <p:spPr>
              <a:xfrm>
                <a:off x="3797249" y="5588316"/>
                <a:ext cx="2157286" cy="33855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l-G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Δ</a:t>
                </a: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ACH Altura </a:t>
                </a:r>
                <a:b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</a:b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z score &lt;1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xmlns="" id="{91FF0AE0-7E2B-6D71-F85E-0EDE4B2E42B6}"/>
                  </a:ext>
                </a:extLst>
              </p:cNvPr>
              <p:cNvSpPr txBox="1"/>
              <p:nvPr/>
            </p:nvSpPr>
            <p:spPr>
              <a:xfrm>
                <a:off x="5209431" y="5586138"/>
                <a:ext cx="1161303" cy="33855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l-G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Δ</a:t>
                </a: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ACH Altura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z score ≥1</a:t>
                </a:r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xmlns="" id="{BBFF4E78-C21F-7CE3-04D5-25DD93C92F2B}"/>
                  </a:ext>
                </a:extLst>
              </p:cNvPr>
              <p:cNvGrpSpPr/>
              <p:nvPr/>
            </p:nvGrpSpPr>
            <p:grpSpPr>
              <a:xfrm>
                <a:off x="2613137" y="2086208"/>
                <a:ext cx="4499286" cy="3497082"/>
                <a:chOff x="5201675" y="1526084"/>
                <a:chExt cx="4499286" cy="3497082"/>
              </a:xfrm>
            </p:grpSpPr>
            <p:graphicFrame>
              <p:nvGraphicFramePr>
                <p:cNvPr id="110" name="Chart 109">
                  <a:extLst>
                    <a:ext uri="{FF2B5EF4-FFF2-40B4-BE49-F238E27FC236}">
                      <a16:creationId xmlns:a16="http://schemas.microsoft.com/office/drawing/2014/main" xmlns="" id="{F58E5B48-871B-E770-AEC3-81A2B3B937CC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4217708527"/>
                    </p:ext>
                  </p:extLst>
                </p:nvPr>
              </p:nvGraphicFramePr>
              <p:xfrm>
                <a:off x="5227075" y="1562838"/>
                <a:ext cx="4473886" cy="1136228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7"/>
                </a:graphicData>
              </a:graphic>
            </p:graphicFrame>
            <p:graphicFrame>
              <p:nvGraphicFramePr>
                <p:cNvPr id="108" name="Chart 107">
                  <a:extLst>
                    <a:ext uri="{FF2B5EF4-FFF2-40B4-BE49-F238E27FC236}">
                      <a16:creationId xmlns:a16="http://schemas.microsoft.com/office/drawing/2014/main" xmlns="" id="{526522AC-B20D-E3CF-339A-1E7F93C9A472}"/>
                    </a:ext>
                  </a:extLst>
                </p:cNvPr>
                <p:cNvGraphicFramePr/>
                <p:nvPr/>
              </p:nvGraphicFramePr>
              <p:xfrm>
                <a:off x="5208025" y="3886938"/>
                <a:ext cx="4473886" cy="1136228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8"/>
                </a:graphicData>
              </a:graphic>
            </p:graphicFrame>
            <p:graphicFrame>
              <p:nvGraphicFramePr>
                <p:cNvPr id="109" name="Chart 108">
                  <a:extLst>
                    <a:ext uri="{FF2B5EF4-FFF2-40B4-BE49-F238E27FC236}">
                      <a16:creationId xmlns:a16="http://schemas.microsoft.com/office/drawing/2014/main" xmlns="" id="{89072FA2-3CE1-4D67-277B-419466C571DC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876831790"/>
                    </p:ext>
                  </p:extLst>
                </p:nvPr>
              </p:nvGraphicFramePr>
              <p:xfrm>
                <a:off x="5208025" y="2375638"/>
                <a:ext cx="4473886" cy="1136228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9"/>
                </a:graphicData>
              </a:graphic>
            </p:graphicFrame>
            <p:graphicFrame>
              <p:nvGraphicFramePr>
                <p:cNvPr id="111" name="Chart 110">
                  <a:extLst>
                    <a:ext uri="{FF2B5EF4-FFF2-40B4-BE49-F238E27FC236}">
                      <a16:creationId xmlns:a16="http://schemas.microsoft.com/office/drawing/2014/main" xmlns="" id="{24F646D5-D7AF-E4EC-413B-7A5B5BEE8E18}"/>
                    </a:ext>
                  </a:extLst>
                </p:cNvPr>
                <p:cNvGraphicFramePr/>
                <p:nvPr/>
              </p:nvGraphicFramePr>
              <p:xfrm>
                <a:off x="5201675" y="3150336"/>
                <a:ext cx="4473886" cy="1567775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0"/>
                </a:graphicData>
              </a:graphic>
            </p:graphicFrame>
            <p:sp>
              <p:nvSpPr>
                <p:cNvPr id="112" name="TextBox 111">
                  <a:extLst>
                    <a:ext uri="{FF2B5EF4-FFF2-40B4-BE49-F238E27FC236}">
                      <a16:creationId xmlns:a16="http://schemas.microsoft.com/office/drawing/2014/main" xmlns="" id="{9D62D5C1-7C0A-83E4-EEAC-2C98895303E5}"/>
                    </a:ext>
                  </a:extLst>
                </p:cNvPr>
                <p:cNvSpPr txBox="1"/>
                <p:nvPr/>
              </p:nvSpPr>
              <p:spPr>
                <a:xfrm>
                  <a:off x="7103633" y="2232766"/>
                  <a:ext cx="759881" cy="215444"/>
                </a:xfrm>
                <a:prstGeom prst="roundRect">
                  <a:avLst>
                    <a:gd name="adj" fmla="val 0"/>
                  </a:avLst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343C98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2.65</a:t>
                  </a:r>
                </a:p>
              </p:txBody>
            </p:sp>
            <p:sp>
              <p:nvSpPr>
                <p:cNvPr id="113" name="TextBox 112">
                  <a:extLst>
                    <a:ext uri="{FF2B5EF4-FFF2-40B4-BE49-F238E27FC236}">
                      <a16:creationId xmlns:a16="http://schemas.microsoft.com/office/drawing/2014/main" xmlns="" id="{5A659B5D-FB5A-9DAE-BC6E-4CE44A528DFF}"/>
                    </a:ext>
                  </a:extLst>
                </p:cNvPr>
                <p:cNvSpPr txBox="1"/>
                <p:nvPr/>
              </p:nvSpPr>
              <p:spPr>
                <a:xfrm>
                  <a:off x="6147562" y="2079429"/>
                  <a:ext cx="759881" cy="215444"/>
                </a:xfrm>
                <a:prstGeom prst="roundRect">
                  <a:avLst>
                    <a:gd name="adj" fmla="val 0"/>
                  </a:avLst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2653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5.99</a:t>
                  </a:r>
                </a:p>
              </p:txBody>
            </p:sp>
            <p:sp>
              <p:nvSpPr>
                <p:cNvPr id="114" name="TextBox 113">
                  <a:extLst>
                    <a:ext uri="{FF2B5EF4-FFF2-40B4-BE49-F238E27FC236}">
                      <a16:creationId xmlns:a16="http://schemas.microsoft.com/office/drawing/2014/main" xmlns="" id="{5711C323-9824-3329-BE60-5A61F061D71B}"/>
                    </a:ext>
                  </a:extLst>
                </p:cNvPr>
                <p:cNvSpPr txBox="1"/>
                <p:nvPr/>
              </p:nvSpPr>
              <p:spPr>
                <a:xfrm>
                  <a:off x="7990318" y="1849123"/>
                  <a:ext cx="759881" cy="215444"/>
                </a:xfrm>
                <a:prstGeom prst="roundRect">
                  <a:avLst>
                    <a:gd name="adj" fmla="val 0"/>
                  </a:avLst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ED037C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11.36</a:t>
                  </a:r>
                </a:p>
              </p:txBody>
            </p:sp>
            <p:sp>
              <p:nvSpPr>
                <p:cNvPr id="115" name="TextBox 114">
                  <a:extLst>
                    <a:ext uri="{FF2B5EF4-FFF2-40B4-BE49-F238E27FC236}">
                      <a16:creationId xmlns:a16="http://schemas.microsoft.com/office/drawing/2014/main" xmlns="" id="{0774D202-38F8-9E5F-EB25-62B0F45AE48F}"/>
                    </a:ext>
                  </a:extLst>
                </p:cNvPr>
                <p:cNvSpPr txBox="1"/>
                <p:nvPr/>
              </p:nvSpPr>
              <p:spPr>
                <a:xfrm>
                  <a:off x="7074758" y="3109109"/>
                  <a:ext cx="759881" cy="215444"/>
                </a:xfrm>
                <a:prstGeom prst="roundRect">
                  <a:avLst>
                    <a:gd name="adj" fmla="val 0"/>
                  </a:avLst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343C98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0.98</a:t>
                  </a:r>
                </a:p>
              </p:txBody>
            </p:sp>
            <p:sp>
              <p:nvSpPr>
                <p:cNvPr id="116" name="TextBox 115">
                  <a:extLst>
                    <a:ext uri="{FF2B5EF4-FFF2-40B4-BE49-F238E27FC236}">
                      <a16:creationId xmlns:a16="http://schemas.microsoft.com/office/drawing/2014/main" xmlns="" id="{F37ABAA7-32B9-3FDE-9590-FE55184B6AB1}"/>
                    </a:ext>
                  </a:extLst>
                </p:cNvPr>
                <p:cNvSpPr txBox="1"/>
                <p:nvPr/>
              </p:nvSpPr>
              <p:spPr>
                <a:xfrm>
                  <a:off x="6147562" y="3036058"/>
                  <a:ext cx="759881" cy="215444"/>
                </a:xfrm>
                <a:prstGeom prst="roundRect">
                  <a:avLst>
                    <a:gd name="adj" fmla="val 0"/>
                  </a:avLst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2653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2.85</a:t>
                  </a:r>
                </a:p>
              </p:txBody>
            </p:sp>
            <p:sp>
              <p:nvSpPr>
                <p:cNvPr id="117" name="TextBox 116">
                  <a:extLst>
                    <a:ext uri="{FF2B5EF4-FFF2-40B4-BE49-F238E27FC236}">
                      <a16:creationId xmlns:a16="http://schemas.microsoft.com/office/drawing/2014/main" xmlns="" id="{4B784177-3148-81E3-6E30-E64478F2D36B}"/>
                    </a:ext>
                  </a:extLst>
                </p:cNvPr>
                <p:cNvSpPr txBox="1"/>
                <p:nvPr/>
              </p:nvSpPr>
              <p:spPr>
                <a:xfrm>
                  <a:off x="7968287" y="2913272"/>
                  <a:ext cx="759881" cy="215444"/>
                </a:xfrm>
                <a:prstGeom prst="roundRect">
                  <a:avLst>
                    <a:gd name="adj" fmla="val 0"/>
                  </a:avLst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ED037C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5.84</a:t>
                  </a:r>
                </a:p>
              </p:txBody>
            </p:sp>
            <p:sp>
              <p:nvSpPr>
                <p:cNvPr id="118" name="TextBox 117">
                  <a:extLst>
                    <a:ext uri="{FF2B5EF4-FFF2-40B4-BE49-F238E27FC236}">
                      <a16:creationId xmlns:a16="http://schemas.microsoft.com/office/drawing/2014/main" xmlns="" id="{57335054-51E9-077A-8E91-2ECDF769A5D0}"/>
                    </a:ext>
                  </a:extLst>
                </p:cNvPr>
                <p:cNvSpPr txBox="1"/>
                <p:nvPr/>
              </p:nvSpPr>
              <p:spPr>
                <a:xfrm>
                  <a:off x="7065027" y="4205754"/>
                  <a:ext cx="759881" cy="215444"/>
                </a:xfrm>
                <a:prstGeom prst="roundRect">
                  <a:avLst>
                    <a:gd name="adj" fmla="val 0"/>
                  </a:avLst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343C98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-1.09</a:t>
                  </a:r>
                </a:p>
              </p:txBody>
            </p:sp>
            <p:sp>
              <p:nvSpPr>
                <p:cNvPr id="119" name="TextBox 118">
                  <a:extLst>
                    <a:ext uri="{FF2B5EF4-FFF2-40B4-BE49-F238E27FC236}">
                      <a16:creationId xmlns:a16="http://schemas.microsoft.com/office/drawing/2014/main" xmlns="" id="{B841F127-D9DB-0560-A491-7C9B18EA098C}"/>
                    </a:ext>
                  </a:extLst>
                </p:cNvPr>
                <p:cNvSpPr txBox="1"/>
                <p:nvPr/>
              </p:nvSpPr>
              <p:spPr>
                <a:xfrm>
                  <a:off x="6179531" y="3915013"/>
                  <a:ext cx="759881" cy="215444"/>
                </a:xfrm>
                <a:prstGeom prst="roundRect">
                  <a:avLst>
                    <a:gd name="adj" fmla="val 0"/>
                  </a:avLst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2653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0.70</a:t>
                  </a:r>
                </a:p>
              </p:txBody>
            </p:sp>
            <p:sp>
              <p:nvSpPr>
                <p:cNvPr id="120" name="TextBox 119">
                  <a:extLst>
                    <a:ext uri="{FF2B5EF4-FFF2-40B4-BE49-F238E27FC236}">
                      <a16:creationId xmlns:a16="http://schemas.microsoft.com/office/drawing/2014/main" xmlns="" id="{A2A4E999-4F16-7000-FCD4-5FDD91C818B3}"/>
                    </a:ext>
                  </a:extLst>
                </p:cNvPr>
                <p:cNvSpPr txBox="1"/>
                <p:nvPr/>
              </p:nvSpPr>
              <p:spPr>
                <a:xfrm>
                  <a:off x="7987278" y="3782188"/>
                  <a:ext cx="759881" cy="215444"/>
                </a:xfrm>
                <a:prstGeom prst="roundRect">
                  <a:avLst>
                    <a:gd name="adj" fmla="val 0"/>
                  </a:avLst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ED037C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3.62</a:t>
                  </a:r>
                </a:p>
              </p:txBody>
            </p:sp>
            <p:sp>
              <p:nvSpPr>
                <p:cNvPr id="121" name="TextBox 120">
                  <a:extLst>
                    <a:ext uri="{FF2B5EF4-FFF2-40B4-BE49-F238E27FC236}">
                      <a16:creationId xmlns:a16="http://schemas.microsoft.com/office/drawing/2014/main" xmlns="" id="{D5EE3EDB-10CA-EA7D-7F3B-5C41D391734A}"/>
                    </a:ext>
                  </a:extLst>
                </p:cNvPr>
                <p:cNvSpPr txBox="1"/>
                <p:nvPr/>
              </p:nvSpPr>
              <p:spPr>
                <a:xfrm>
                  <a:off x="7987278" y="4380265"/>
                  <a:ext cx="762027" cy="215444"/>
                </a:xfrm>
                <a:prstGeom prst="roundRect">
                  <a:avLst>
                    <a:gd name="adj" fmla="val 0"/>
                  </a:avLst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ED037C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6.94</a:t>
                  </a:r>
                </a:p>
              </p:txBody>
            </p:sp>
            <p:sp>
              <p:nvSpPr>
                <p:cNvPr id="122" name="TextBox 121">
                  <a:extLst>
                    <a:ext uri="{FF2B5EF4-FFF2-40B4-BE49-F238E27FC236}">
                      <a16:creationId xmlns:a16="http://schemas.microsoft.com/office/drawing/2014/main" xmlns="" id="{584C97CD-5D4C-E5B1-7BF5-809C2AA1A763}"/>
                    </a:ext>
                  </a:extLst>
                </p:cNvPr>
                <p:cNvSpPr txBox="1"/>
                <p:nvPr/>
              </p:nvSpPr>
              <p:spPr>
                <a:xfrm>
                  <a:off x="7078783" y="4625260"/>
                  <a:ext cx="762027" cy="215444"/>
                </a:xfrm>
                <a:prstGeom prst="roundRect">
                  <a:avLst>
                    <a:gd name="adj" fmla="val 0"/>
                  </a:avLst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343C98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0.96</a:t>
                  </a:r>
                </a:p>
              </p:txBody>
            </p:sp>
            <p:sp>
              <p:nvSpPr>
                <p:cNvPr id="123" name="TextBox 122">
                  <a:extLst>
                    <a:ext uri="{FF2B5EF4-FFF2-40B4-BE49-F238E27FC236}">
                      <a16:creationId xmlns:a16="http://schemas.microsoft.com/office/drawing/2014/main" xmlns="" id="{9217DAD4-F511-4736-E3C7-608DABD0A192}"/>
                    </a:ext>
                  </a:extLst>
                </p:cNvPr>
                <p:cNvSpPr txBox="1"/>
                <p:nvPr/>
              </p:nvSpPr>
              <p:spPr>
                <a:xfrm>
                  <a:off x="6146488" y="4539852"/>
                  <a:ext cx="762027" cy="215444"/>
                </a:xfrm>
                <a:prstGeom prst="roundRect">
                  <a:avLst>
                    <a:gd name="adj" fmla="val 0"/>
                  </a:avLst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2653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3.25</a:t>
                  </a:r>
                </a:p>
              </p:txBody>
            </p:sp>
            <p:sp>
              <p:nvSpPr>
                <p:cNvPr id="124" name="TextBox 123">
                  <a:extLst>
                    <a:ext uri="{FF2B5EF4-FFF2-40B4-BE49-F238E27FC236}">
                      <a16:creationId xmlns:a16="http://schemas.microsoft.com/office/drawing/2014/main" xmlns="" id="{50C48F55-438D-8895-B688-E51A562869E2}"/>
                    </a:ext>
                  </a:extLst>
                </p:cNvPr>
                <p:cNvSpPr txBox="1"/>
                <p:nvPr/>
              </p:nvSpPr>
              <p:spPr>
                <a:xfrm>
                  <a:off x="5698439" y="1526084"/>
                  <a:ext cx="3914844" cy="30777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Mudança média em relação à linha de base</a:t>
                  </a:r>
                  <a:r>
                    <a:rPr kumimoji="0" lang="en-GB" sz="1400" b="0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2</a:t>
                  </a:r>
                </a:p>
              </p:txBody>
            </p:sp>
          </p:grpSp>
          <p:sp>
            <p:nvSpPr>
              <p:cNvPr id="64" name="Rectangle: Rounded Corners 63">
                <a:extLst>
                  <a:ext uri="{FF2B5EF4-FFF2-40B4-BE49-F238E27FC236}">
                    <a16:creationId xmlns:a16="http://schemas.microsoft.com/office/drawing/2014/main" xmlns="" id="{4B5921D5-6E3F-3C81-7806-1987E7BE5C8B}"/>
                  </a:ext>
                </a:extLst>
              </p:cNvPr>
              <p:cNvSpPr/>
              <p:nvPr/>
            </p:nvSpPr>
            <p:spPr>
              <a:xfrm>
                <a:off x="1483361" y="2882434"/>
                <a:ext cx="1736926" cy="461662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5" name="Rectangle: Rounded Corners 64">
                <a:extLst>
                  <a:ext uri="{FF2B5EF4-FFF2-40B4-BE49-F238E27FC236}">
                    <a16:creationId xmlns:a16="http://schemas.microsoft.com/office/drawing/2014/main" xmlns="" id="{B28A3D55-BC90-5742-6E08-0493A02AA0BD}"/>
                  </a:ext>
                </a:extLst>
              </p:cNvPr>
              <p:cNvSpPr/>
              <p:nvPr/>
            </p:nvSpPr>
            <p:spPr>
              <a:xfrm>
                <a:off x="1478525" y="3695778"/>
                <a:ext cx="1741761" cy="461662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6" name="Rectangle: Rounded Corners 65">
                <a:extLst>
                  <a:ext uri="{FF2B5EF4-FFF2-40B4-BE49-F238E27FC236}">
                    <a16:creationId xmlns:a16="http://schemas.microsoft.com/office/drawing/2014/main" xmlns="" id="{29C0AB16-43DA-53EA-7F8C-07C2D6EEA00D}"/>
                  </a:ext>
                </a:extLst>
              </p:cNvPr>
              <p:cNvSpPr/>
              <p:nvPr/>
            </p:nvSpPr>
            <p:spPr>
              <a:xfrm>
                <a:off x="1478525" y="4478523"/>
                <a:ext cx="1741761" cy="461662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7" name="Rectangle: Rounded Corners 66">
                <a:extLst>
                  <a:ext uri="{FF2B5EF4-FFF2-40B4-BE49-F238E27FC236}">
                    <a16:creationId xmlns:a16="http://schemas.microsoft.com/office/drawing/2014/main" xmlns="" id="{3401CA54-B054-DB79-124B-97A68C321102}"/>
                  </a:ext>
                </a:extLst>
              </p:cNvPr>
              <p:cNvSpPr/>
              <p:nvPr/>
            </p:nvSpPr>
            <p:spPr>
              <a:xfrm>
                <a:off x="1478525" y="5202303"/>
                <a:ext cx="1741761" cy="461662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xmlns="" id="{D21613DD-270A-1F0B-87D2-B78EB63C687B}"/>
                  </a:ext>
                </a:extLst>
              </p:cNvPr>
              <p:cNvSpPr txBox="1"/>
              <p:nvPr/>
            </p:nvSpPr>
            <p:spPr>
              <a:xfrm>
                <a:off x="1768526" y="2982236"/>
                <a:ext cx="1386522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200" dirty="0" err="1">
                    <a:solidFill>
                      <a:srgbClr val="505050"/>
                    </a:solidFill>
                    <a:latin typeface="Arial" panose="020B0604020202020204"/>
                  </a:rPr>
                  <a:t>Físico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xmlns="" id="{F15B2411-6BEF-610A-F472-3AA832467CD8}"/>
                  </a:ext>
                </a:extLst>
              </p:cNvPr>
              <p:cNvSpPr txBox="1"/>
              <p:nvPr/>
            </p:nvSpPr>
            <p:spPr>
              <a:xfrm>
                <a:off x="1768526" y="3804915"/>
                <a:ext cx="1386522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ocial</a:t>
                </a: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xmlns="" id="{4E58C7B9-A42A-43B0-AB83-AC27F8475EDC}"/>
                  </a:ext>
                </a:extLst>
              </p:cNvPr>
              <p:cNvSpPr txBox="1"/>
              <p:nvPr/>
            </p:nvSpPr>
            <p:spPr>
              <a:xfrm>
                <a:off x="1768526" y="4576272"/>
                <a:ext cx="1386522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mocional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xmlns="" id="{E8B98425-AD2F-191C-1845-DAF2AD25CD48}"/>
                  </a:ext>
                </a:extLst>
              </p:cNvPr>
              <p:cNvSpPr txBox="1"/>
              <p:nvPr/>
            </p:nvSpPr>
            <p:spPr>
              <a:xfrm>
                <a:off x="1768526" y="5311016"/>
                <a:ext cx="1386522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Total</a:t>
                </a: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xmlns="" id="{5BC957A3-A224-737A-7AA4-46DA200F2FB7}"/>
                  </a:ext>
                </a:extLst>
              </p:cNvPr>
              <p:cNvSpPr txBox="1"/>
              <p:nvPr/>
            </p:nvSpPr>
            <p:spPr>
              <a:xfrm>
                <a:off x="1496400" y="2517374"/>
                <a:ext cx="179456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Domínios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xmlns="" id="{996D54AC-9EBB-FB50-7C9C-B9E5C352EEE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631743" y="4534742"/>
                <a:ext cx="316395" cy="324745"/>
                <a:chOff x="-2303266" y="6142831"/>
                <a:chExt cx="541338" cy="555625"/>
              </a:xfrm>
              <a:solidFill>
                <a:schemeClr val="bg1"/>
              </a:solidFill>
            </p:grpSpPr>
            <p:sp>
              <p:nvSpPr>
                <p:cNvPr id="78" name="Freeform 79">
                  <a:extLst>
                    <a:ext uri="{FF2B5EF4-FFF2-40B4-BE49-F238E27FC236}">
                      <a16:creationId xmlns:a16="http://schemas.microsoft.com/office/drawing/2014/main" xmlns="" id="{527DABDC-FFF0-D5E2-3D80-24F945A16D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2239766" y="6196806"/>
                  <a:ext cx="422275" cy="412750"/>
                </a:xfrm>
                <a:custGeom>
                  <a:avLst/>
                  <a:gdLst>
                    <a:gd name="T0" fmla="*/ 199 w 213"/>
                    <a:gd name="T1" fmla="*/ 61 h 209"/>
                    <a:gd name="T2" fmla="*/ 178 w 213"/>
                    <a:gd name="T3" fmla="*/ 36 h 209"/>
                    <a:gd name="T4" fmla="*/ 151 w 213"/>
                    <a:gd name="T5" fmla="*/ 15 h 209"/>
                    <a:gd name="T6" fmla="*/ 118 w 213"/>
                    <a:gd name="T7" fmla="*/ 3 h 209"/>
                    <a:gd name="T8" fmla="*/ 75 w 213"/>
                    <a:gd name="T9" fmla="*/ 6 h 209"/>
                    <a:gd name="T10" fmla="*/ 47 w 213"/>
                    <a:gd name="T11" fmla="*/ 17 h 209"/>
                    <a:gd name="T12" fmla="*/ 30 w 213"/>
                    <a:gd name="T13" fmla="*/ 47 h 209"/>
                    <a:gd name="T14" fmla="*/ 17 w 213"/>
                    <a:gd name="T15" fmla="*/ 84 h 209"/>
                    <a:gd name="T16" fmla="*/ 20 w 213"/>
                    <a:gd name="T17" fmla="*/ 146 h 209"/>
                    <a:gd name="T18" fmla="*/ 102 w 213"/>
                    <a:gd name="T19" fmla="*/ 194 h 209"/>
                    <a:gd name="T20" fmla="*/ 111 w 213"/>
                    <a:gd name="T21" fmla="*/ 205 h 209"/>
                    <a:gd name="T22" fmla="*/ 165 w 213"/>
                    <a:gd name="T23" fmla="*/ 180 h 209"/>
                    <a:gd name="T24" fmla="*/ 209 w 213"/>
                    <a:gd name="T25" fmla="*/ 101 h 209"/>
                    <a:gd name="T26" fmla="*/ 89 w 213"/>
                    <a:gd name="T27" fmla="*/ 176 h 209"/>
                    <a:gd name="T28" fmla="*/ 67 w 213"/>
                    <a:gd name="T29" fmla="*/ 154 h 209"/>
                    <a:gd name="T30" fmla="*/ 46 w 213"/>
                    <a:gd name="T31" fmla="*/ 172 h 209"/>
                    <a:gd name="T32" fmla="*/ 13 w 213"/>
                    <a:gd name="T33" fmla="*/ 102 h 209"/>
                    <a:gd name="T34" fmla="*/ 45 w 213"/>
                    <a:gd name="T35" fmla="*/ 119 h 209"/>
                    <a:gd name="T36" fmla="*/ 67 w 213"/>
                    <a:gd name="T37" fmla="*/ 110 h 209"/>
                    <a:gd name="T38" fmla="*/ 48 w 213"/>
                    <a:gd name="T39" fmla="*/ 91 h 209"/>
                    <a:gd name="T40" fmla="*/ 57 w 213"/>
                    <a:gd name="T41" fmla="*/ 67 h 209"/>
                    <a:gd name="T42" fmla="*/ 91 w 213"/>
                    <a:gd name="T43" fmla="*/ 72 h 209"/>
                    <a:gd name="T44" fmla="*/ 82 w 213"/>
                    <a:gd name="T45" fmla="*/ 52 h 209"/>
                    <a:gd name="T46" fmla="*/ 77 w 213"/>
                    <a:gd name="T47" fmla="*/ 49 h 209"/>
                    <a:gd name="T48" fmla="*/ 44 w 213"/>
                    <a:gd name="T49" fmla="*/ 39 h 209"/>
                    <a:gd name="T50" fmla="*/ 77 w 213"/>
                    <a:gd name="T51" fmla="*/ 18 h 209"/>
                    <a:gd name="T52" fmla="*/ 103 w 213"/>
                    <a:gd name="T53" fmla="*/ 22 h 209"/>
                    <a:gd name="T54" fmla="*/ 91 w 213"/>
                    <a:gd name="T55" fmla="*/ 32 h 209"/>
                    <a:gd name="T56" fmla="*/ 103 w 213"/>
                    <a:gd name="T57" fmla="*/ 72 h 209"/>
                    <a:gd name="T58" fmla="*/ 103 w 213"/>
                    <a:gd name="T59" fmla="*/ 79 h 209"/>
                    <a:gd name="T60" fmla="*/ 103 w 213"/>
                    <a:gd name="T61" fmla="*/ 113 h 209"/>
                    <a:gd name="T62" fmla="*/ 95 w 213"/>
                    <a:gd name="T63" fmla="*/ 113 h 209"/>
                    <a:gd name="T64" fmla="*/ 87 w 213"/>
                    <a:gd name="T65" fmla="*/ 104 h 209"/>
                    <a:gd name="T66" fmla="*/ 76 w 213"/>
                    <a:gd name="T67" fmla="*/ 123 h 209"/>
                    <a:gd name="T68" fmla="*/ 103 w 213"/>
                    <a:gd name="T69" fmla="*/ 127 h 209"/>
                    <a:gd name="T70" fmla="*/ 103 w 213"/>
                    <a:gd name="T71" fmla="*/ 174 h 209"/>
                    <a:gd name="T72" fmla="*/ 185 w 213"/>
                    <a:gd name="T73" fmla="*/ 142 h 209"/>
                    <a:gd name="T74" fmla="*/ 155 w 213"/>
                    <a:gd name="T75" fmla="*/ 164 h 209"/>
                    <a:gd name="T76" fmla="*/ 129 w 213"/>
                    <a:gd name="T77" fmla="*/ 186 h 209"/>
                    <a:gd name="T78" fmla="*/ 128 w 213"/>
                    <a:gd name="T79" fmla="*/ 192 h 209"/>
                    <a:gd name="T80" fmla="*/ 111 w 213"/>
                    <a:gd name="T81" fmla="*/ 165 h 209"/>
                    <a:gd name="T82" fmla="*/ 135 w 213"/>
                    <a:gd name="T83" fmla="*/ 126 h 209"/>
                    <a:gd name="T84" fmla="*/ 124 w 213"/>
                    <a:gd name="T85" fmla="*/ 121 h 209"/>
                    <a:gd name="T86" fmla="*/ 120 w 213"/>
                    <a:gd name="T87" fmla="*/ 109 h 209"/>
                    <a:gd name="T88" fmla="*/ 111 w 213"/>
                    <a:gd name="T89" fmla="*/ 119 h 209"/>
                    <a:gd name="T90" fmla="*/ 111 w 213"/>
                    <a:gd name="T91" fmla="*/ 113 h 209"/>
                    <a:gd name="T92" fmla="*/ 112 w 213"/>
                    <a:gd name="T93" fmla="*/ 75 h 209"/>
                    <a:gd name="T94" fmla="*/ 115 w 213"/>
                    <a:gd name="T95" fmla="*/ 38 h 209"/>
                    <a:gd name="T96" fmla="*/ 111 w 213"/>
                    <a:gd name="T97" fmla="*/ 30 h 209"/>
                    <a:gd name="T98" fmla="*/ 131 w 213"/>
                    <a:gd name="T99" fmla="*/ 11 h 209"/>
                    <a:gd name="T100" fmla="*/ 164 w 213"/>
                    <a:gd name="T101" fmla="*/ 25 h 209"/>
                    <a:gd name="T102" fmla="*/ 139 w 213"/>
                    <a:gd name="T103" fmla="*/ 57 h 209"/>
                    <a:gd name="T104" fmla="*/ 131 w 213"/>
                    <a:gd name="T105" fmla="*/ 47 h 209"/>
                    <a:gd name="T106" fmla="*/ 123 w 213"/>
                    <a:gd name="T107" fmla="*/ 72 h 209"/>
                    <a:gd name="T108" fmla="*/ 149 w 213"/>
                    <a:gd name="T109" fmla="*/ 70 h 209"/>
                    <a:gd name="T110" fmla="*/ 190 w 213"/>
                    <a:gd name="T111" fmla="*/ 63 h 209"/>
                    <a:gd name="T112" fmla="*/ 149 w 213"/>
                    <a:gd name="T113" fmla="*/ 108 h 209"/>
                    <a:gd name="T114" fmla="*/ 166 w 213"/>
                    <a:gd name="T115" fmla="*/ 127 h 209"/>
                    <a:gd name="T116" fmla="*/ 198 w 213"/>
                    <a:gd name="T117" fmla="*/ 98 h 2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13" h="209">
                      <a:moveTo>
                        <a:pt x="209" y="101"/>
                      </a:moveTo>
                      <a:cubicBezTo>
                        <a:pt x="207" y="94"/>
                        <a:pt x="197" y="90"/>
                        <a:pt x="197" y="84"/>
                      </a:cubicBezTo>
                      <a:cubicBezTo>
                        <a:pt x="197" y="77"/>
                        <a:pt x="201" y="69"/>
                        <a:pt x="199" y="61"/>
                      </a:cubicBezTo>
                      <a:cubicBezTo>
                        <a:pt x="198" y="59"/>
                        <a:pt x="197" y="57"/>
                        <a:pt x="196" y="55"/>
                      </a:cubicBezTo>
                      <a:cubicBezTo>
                        <a:pt x="192" y="52"/>
                        <a:pt x="188" y="50"/>
                        <a:pt x="184" y="47"/>
                      </a:cubicBezTo>
                      <a:cubicBezTo>
                        <a:pt x="174" y="47"/>
                        <a:pt x="179" y="41"/>
                        <a:pt x="178" y="36"/>
                      </a:cubicBezTo>
                      <a:cubicBezTo>
                        <a:pt x="178" y="30"/>
                        <a:pt x="175" y="25"/>
                        <a:pt x="171" y="20"/>
                      </a:cubicBezTo>
                      <a:cubicBezTo>
                        <a:pt x="170" y="19"/>
                        <a:pt x="169" y="18"/>
                        <a:pt x="167" y="17"/>
                      </a:cubicBezTo>
                      <a:cubicBezTo>
                        <a:pt x="162" y="15"/>
                        <a:pt x="157" y="13"/>
                        <a:pt x="151" y="15"/>
                      </a:cubicBezTo>
                      <a:cubicBezTo>
                        <a:pt x="146" y="17"/>
                        <a:pt x="144" y="14"/>
                        <a:pt x="142" y="10"/>
                      </a:cubicBezTo>
                      <a:cubicBezTo>
                        <a:pt x="141" y="9"/>
                        <a:pt x="140" y="7"/>
                        <a:pt x="139" y="6"/>
                      </a:cubicBezTo>
                      <a:cubicBezTo>
                        <a:pt x="132" y="3"/>
                        <a:pt x="126" y="0"/>
                        <a:pt x="118" y="3"/>
                      </a:cubicBezTo>
                      <a:cubicBezTo>
                        <a:pt x="114" y="5"/>
                        <a:pt x="110" y="8"/>
                        <a:pt x="107" y="12"/>
                      </a:cubicBezTo>
                      <a:cubicBezTo>
                        <a:pt x="104" y="8"/>
                        <a:pt x="100" y="5"/>
                        <a:pt x="95" y="3"/>
                      </a:cubicBezTo>
                      <a:cubicBezTo>
                        <a:pt x="88" y="0"/>
                        <a:pt x="81" y="3"/>
                        <a:pt x="75" y="6"/>
                      </a:cubicBezTo>
                      <a:cubicBezTo>
                        <a:pt x="74" y="7"/>
                        <a:pt x="73" y="9"/>
                        <a:pt x="71" y="10"/>
                      </a:cubicBezTo>
                      <a:cubicBezTo>
                        <a:pt x="70" y="14"/>
                        <a:pt x="68" y="17"/>
                        <a:pt x="63" y="15"/>
                      </a:cubicBezTo>
                      <a:cubicBezTo>
                        <a:pt x="57" y="13"/>
                        <a:pt x="52" y="15"/>
                        <a:pt x="47" y="17"/>
                      </a:cubicBezTo>
                      <a:cubicBezTo>
                        <a:pt x="45" y="18"/>
                        <a:pt x="44" y="19"/>
                        <a:pt x="42" y="20"/>
                      </a:cubicBezTo>
                      <a:cubicBezTo>
                        <a:pt x="39" y="25"/>
                        <a:pt x="36" y="30"/>
                        <a:pt x="36" y="36"/>
                      </a:cubicBezTo>
                      <a:cubicBezTo>
                        <a:pt x="35" y="41"/>
                        <a:pt x="40" y="47"/>
                        <a:pt x="30" y="47"/>
                      </a:cubicBezTo>
                      <a:cubicBezTo>
                        <a:pt x="26" y="50"/>
                        <a:pt x="22" y="52"/>
                        <a:pt x="18" y="55"/>
                      </a:cubicBezTo>
                      <a:cubicBezTo>
                        <a:pt x="17" y="57"/>
                        <a:pt x="16" y="59"/>
                        <a:pt x="14" y="61"/>
                      </a:cubicBezTo>
                      <a:cubicBezTo>
                        <a:pt x="12" y="69"/>
                        <a:pt x="17" y="77"/>
                        <a:pt x="17" y="84"/>
                      </a:cubicBezTo>
                      <a:cubicBezTo>
                        <a:pt x="17" y="90"/>
                        <a:pt x="7" y="94"/>
                        <a:pt x="4" y="101"/>
                      </a:cubicBezTo>
                      <a:cubicBezTo>
                        <a:pt x="0" y="114"/>
                        <a:pt x="4" y="126"/>
                        <a:pt x="15" y="135"/>
                      </a:cubicBezTo>
                      <a:cubicBezTo>
                        <a:pt x="19" y="138"/>
                        <a:pt x="20" y="141"/>
                        <a:pt x="20" y="146"/>
                      </a:cubicBezTo>
                      <a:cubicBezTo>
                        <a:pt x="16" y="166"/>
                        <a:pt x="28" y="180"/>
                        <a:pt x="48" y="180"/>
                      </a:cubicBezTo>
                      <a:cubicBezTo>
                        <a:pt x="52" y="180"/>
                        <a:pt x="54" y="179"/>
                        <a:pt x="57" y="184"/>
                      </a:cubicBezTo>
                      <a:cubicBezTo>
                        <a:pt x="69" y="205"/>
                        <a:pt x="84" y="208"/>
                        <a:pt x="102" y="194"/>
                      </a:cubicBezTo>
                      <a:cubicBezTo>
                        <a:pt x="102" y="205"/>
                        <a:pt x="102" y="205"/>
                        <a:pt x="102" y="205"/>
                      </a:cubicBezTo>
                      <a:cubicBezTo>
                        <a:pt x="102" y="207"/>
                        <a:pt x="104" y="209"/>
                        <a:pt x="107" y="209"/>
                      </a:cubicBezTo>
                      <a:cubicBezTo>
                        <a:pt x="109" y="209"/>
                        <a:pt x="111" y="207"/>
                        <a:pt x="111" y="205"/>
                      </a:cubicBezTo>
                      <a:cubicBezTo>
                        <a:pt x="111" y="194"/>
                        <a:pt x="111" y="194"/>
                        <a:pt x="111" y="194"/>
                      </a:cubicBezTo>
                      <a:cubicBezTo>
                        <a:pt x="130" y="208"/>
                        <a:pt x="145" y="205"/>
                        <a:pt x="157" y="184"/>
                      </a:cubicBezTo>
                      <a:cubicBezTo>
                        <a:pt x="160" y="179"/>
                        <a:pt x="162" y="180"/>
                        <a:pt x="165" y="180"/>
                      </a:cubicBezTo>
                      <a:cubicBezTo>
                        <a:pt x="185" y="180"/>
                        <a:pt x="197" y="166"/>
                        <a:pt x="194" y="146"/>
                      </a:cubicBezTo>
                      <a:cubicBezTo>
                        <a:pt x="193" y="141"/>
                        <a:pt x="194" y="138"/>
                        <a:pt x="199" y="135"/>
                      </a:cubicBezTo>
                      <a:cubicBezTo>
                        <a:pt x="210" y="126"/>
                        <a:pt x="213" y="114"/>
                        <a:pt x="209" y="101"/>
                      </a:cubicBezTo>
                      <a:close/>
                      <a:moveTo>
                        <a:pt x="86" y="192"/>
                      </a:moveTo>
                      <a:cubicBezTo>
                        <a:pt x="91" y="185"/>
                        <a:pt x="95" y="177"/>
                        <a:pt x="92" y="167"/>
                      </a:cubicBezTo>
                      <a:cubicBezTo>
                        <a:pt x="87" y="169"/>
                        <a:pt x="89" y="173"/>
                        <a:pt x="89" y="176"/>
                      </a:cubicBezTo>
                      <a:cubicBezTo>
                        <a:pt x="88" y="180"/>
                        <a:pt x="87" y="183"/>
                        <a:pt x="85" y="186"/>
                      </a:cubicBezTo>
                      <a:cubicBezTo>
                        <a:pt x="79" y="195"/>
                        <a:pt x="75" y="195"/>
                        <a:pt x="68" y="187"/>
                      </a:cubicBezTo>
                      <a:cubicBezTo>
                        <a:pt x="60" y="179"/>
                        <a:pt x="60" y="167"/>
                        <a:pt x="67" y="154"/>
                      </a:cubicBezTo>
                      <a:cubicBezTo>
                        <a:pt x="59" y="153"/>
                        <a:pt x="59" y="159"/>
                        <a:pt x="59" y="164"/>
                      </a:cubicBezTo>
                      <a:cubicBezTo>
                        <a:pt x="58" y="169"/>
                        <a:pt x="56" y="172"/>
                        <a:pt x="51" y="172"/>
                      </a:cubicBezTo>
                      <a:cubicBezTo>
                        <a:pt x="49" y="172"/>
                        <a:pt x="48" y="172"/>
                        <a:pt x="46" y="172"/>
                      </a:cubicBezTo>
                      <a:cubicBezTo>
                        <a:pt x="29" y="170"/>
                        <a:pt x="21" y="157"/>
                        <a:pt x="29" y="142"/>
                      </a:cubicBezTo>
                      <a:cubicBezTo>
                        <a:pt x="32" y="135"/>
                        <a:pt x="31" y="133"/>
                        <a:pt x="24" y="131"/>
                      </a:cubicBezTo>
                      <a:cubicBezTo>
                        <a:pt x="12" y="126"/>
                        <a:pt x="8" y="115"/>
                        <a:pt x="13" y="102"/>
                      </a:cubicBezTo>
                      <a:cubicBezTo>
                        <a:pt x="14" y="101"/>
                        <a:pt x="15" y="99"/>
                        <a:pt x="16" y="98"/>
                      </a:cubicBezTo>
                      <a:cubicBezTo>
                        <a:pt x="24" y="90"/>
                        <a:pt x="38" y="88"/>
                        <a:pt x="45" y="97"/>
                      </a:cubicBezTo>
                      <a:cubicBezTo>
                        <a:pt x="50" y="102"/>
                        <a:pt x="52" y="111"/>
                        <a:pt x="45" y="119"/>
                      </a:cubicBezTo>
                      <a:cubicBezTo>
                        <a:pt x="45" y="122"/>
                        <a:pt x="42" y="126"/>
                        <a:pt x="48" y="127"/>
                      </a:cubicBezTo>
                      <a:cubicBezTo>
                        <a:pt x="50" y="117"/>
                        <a:pt x="54" y="109"/>
                        <a:pt x="67" y="113"/>
                      </a:cubicBezTo>
                      <a:cubicBezTo>
                        <a:pt x="67" y="112"/>
                        <a:pt x="67" y="111"/>
                        <a:pt x="67" y="110"/>
                      </a:cubicBezTo>
                      <a:cubicBezTo>
                        <a:pt x="66" y="110"/>
                        <a:pt x="66" y="109"/>
                        <a:pt x="65" y="108"/>
                      </a:cubicBezTo>
                      <a:cubicBezTo>
                        <a:pt x="50" y="108"/>
                        <a:pt x="48" y="106"/>
                        <a:pt x="54" y="94"/>
                      </a:cubicBezTo>
                      <a:cubicBezTo>
                        <a:pt x="53" y="91"/>
                        <a:pt x="50" y="92"/>
                        <a:pt x="48" y="91"/>
                      </a:cubicBezTo>
                      <a:cubicBezTo>
                        <a:pt x="31" y="92"/>
                        <a:pt x="18" y="78"/>
                        <a:pt x="24" y="63"/>
                      </a:cubicBezTo>
                      <a:cubicBezTo>
                        <a:pt x="26" y="57"/>
                        <a:pt x="31" y="55"/>
                        <a:pt x="36" y="55"/>
                      </a:cubicBezTo>
                      <a:cubicBezTo>
                        <a:pt x="47" y="53"/>
                        <a:pt x="50" y="62"/>
                        <a:pt x="57" y="67"/>
                      </a:cubicBezTo>
                      <a:cubicBezTo>
                        <a:pt x="59" y="68"/>
                        <a:pt x="62" y="69"/>
                        <a:pt x="65" y="70"/>
                      </a:cubicBezTo>
                      <a:cubicBezTo>
                        <a:pt x="71" y="69"/>
                        <a:pt x="76" y="69"/>
                        <a:pt x="82" y="73"/>
                      </a:cubicBezTo>
                      <a:cubicBezTo>
                        <a:pt x="84" y="75"/>
                        <a:pt x="88" y="78"/>
                        <a:pt x="91" y="72"/>
                      </a:cubicBezTo>
                      <a:cubicBezTo>
                        <a:pt x="91" y="72"/>
                        <a:pt x="91" y="72"/>
                        <a:pt x="91" y="72"/>
                      </a:cubicBezTo>
                      <a:cubicBezTo>
                        <a:pt x="77" y="68"/>
                        <a:pt x="75" y="62"/>
                        <a:pt x="82" y="52"/>
                      </a:cubicBezTo>
                      <a:cubicBezTo>
                        <a:pt x="82" y="52"/>
                        <a:pt x="82" y="52"/>
                        <a:pt x="82" y="52"/>
                      </a:cubicBezTo>
                      <a:cubicBezTo>
                        <a:pt x="81" y="50"/>
                        <a:pt x="83" y="48"/>
                        <a:pt x="83" y="47"/>
                      </a:cubicBezTo>
                      <a:cubicBezTo>
                        <a:pt x="82" y="41"/>
                        <a:pt x="79" y="45"/>
                        <a:pt x="78" y="46"/>
                      </a:cubicBezTo>
                      <a:cubicBezTo>
                        <a:pt x="77" y="47"/>
                        <a:pt x="77" y="48"/>
                        <a:pt x="77" y="49"/>
                      </a:cubicBezTo>
                      <a:cubicBezTo>
                        <a:pt x="76" y="51"/>
                        <a:pt x="75" y="54"/>
                        <a:pt x="75" y="57"/>
                      </a:cubicBezTo>
                      <a:cubicBezTo>
                        <a:pt x="73" y="66"/>
                        <a:pt x="69" y="68"/>
                        <a:pt x="61" y="63"/>
                      </a:cubicBezTo>
                      <a:cubicBezTo>
                        <a:pt x="51" y="58"/>
                        <a:pt x="46" y="49"/>
                        <a:pt x="44" y="39"/>
                      </a:cubicBezTo>
                      <a:cubicBezTo>
                        <a:pt x="43" y="33"/>
                        <a:pt x="44" y="28"/>
                        <a:pt x="50" y="25"/>
                      </a:cubicBezTo>
                      <a:cubicBezTo>
                        <a:pt x="53" y="23"/>
                        <a:pt x="55" y="22"/>
                        <a:pt x="59" y="23"/>
                      </a:cubicBezTo>
                      <a:cubicBezTo>
                        <a:pt x="65" y="24"/>
                        <a:pt x="74" y="32"/>
                        <a:pt x="77" y="18"/>
                      </a:cubicBezTo>
                      <a:cubicBezTo>
                        <a:pt x="78" y="15"/>
                        <a:pt x="80" y="13"/>
                        <a:pt x="83" y="11"/>
                      </a:cubicBezTo>
                      <a:cubicBezTo>
                        <a:pt x="89" y="8"/>
                        <a:pt x="94" y="10"/>
                        <a:pt x="99" y="14"/>
                      </a:cubicBezTo>
                      <a:cubicBezTo>
                        <a:pt x="101" y="16"/>
                        <a:pt x="102" y="19"/>
                        <a:pt x="103" y="22"/>
                      </a:cubicBezTo>
                      <a:cubicBezTo>
                        <a:pt x="103" y="24"/>
                        <a:pt x="103" y="27"/>
                        <a:pt x="103" y="30"/>
                      </a:cubicBezTo>
                      <a:cubicBezTo>
                        <a:pt x="103" y="31"/>
                        <a:pt x="103" y="31"/>
                        <a:pt x="103" y="32"/>
                      </a:cubicBezTo>
                      <a:cubicBezTo>
                        <a:pt x="100" y="39"/>
                        <a:pt x="95" y="29"/>
                        <a:pt x="91" y="32"/>
                      </a:cubicBezTo>
                      <a:cubicBezTo>
                        <a:pt x="92" y="36"/>
                        <a:pt x="96" y="38"/>
                        <a:pt x="99" y="38"/>
                      </a:cubicBezTo>
                      <a:cubicBezTo>
                        <a:pt x="101" y="39"/>
                        <a:pt x="102" y="39"/>
                        <a:pt x="103" y="40"/>
                      </a:cubicBezTo>
                      <a:cubicBezTo>
                        <a:pt x="103" y="51"/>
                        <a:pt x="103" y="62"/>
                        <a:pt x="103" y="72"/>
                      </a:cubicBezTo>
                      <a:cubicBezTo>
                        <a:pt x="102" y="73"/>
                        <a:pt x="102" y="74"/>
                        <a:pt x="102" y="75"/>
                      </a:cubicBezTo>
                      <a:cubicBezTo>
                        <a:pt x="102" y="76"/>
                        <a:pt x="102" y="76"/>
                        <a:pt x="102" y="76"/>
                      </a:cubicBezTo>
                      <a:cubicBezTo>
                        <a:pt x="102" y="77"/>
                        <a:pt x="102" y="78"/>
                        <a:pt x="103" y="79"/>
                      </a:cubicBezTo>
                      <a:cubicBezTo>
                        <a:pt x="103" y="90"/>
                        <a:pt x="103" y="101"/>
                        <a:pt x="103" y="113"/>
                      </a:cubicBezTo>
                      <a:cubicBezTo>
                        <a:pt x="103" y="113"/>
                        <a:pt x="103" y="113"/>
                        <a:pt x="103" y="113"/>
                      </a:cubicBezTo>
                      <a:cubicBezTo>
                        <a:pt x="103" y="113"/>
                        <a:pt x="103" y="113"/>
                        <a:pt x="103" y="113"/>
                      </a:cubicBezTo>
                      <a:cubicBezTo>
                        <a:pt x="103" y="115"/>
                        <a:pt x="103" y="117"/>
                        <a:pt x="103" y="119"/>
                      </a:cubicBezTo>
                      <a:cubicBezTo>
                        <a:pt x="102" y="121"/>
                        <a:pt x="100" y="122"/>
                        <a:pt x="98" y="122"/>
                      </a:cubicBezTo>
                      <a:cubicBezTo>
                        <a:pt x="92" y="122"/>
                        <a:pt x="96" y="117"/>
                        <a:pt x="95" y="113"/>
                      </a:cubicBezTo>
                      <a:cubicBezTo>
                        <a:pt x="94" y="112"/>
                        <a:pt x="94" y="110"/>
                        <a:pt x="94" y="109"/>
                      </a:cubicBezTo>
                      <a:cubicBezTo>
                        <a:pt x="90" y="101"/>
                        <a:pt x="86" y="94"/>
                        <a:pt x="76" y="94"/>
                      </a:cubicBezTo>
                      <a:cubicBezTo>
                        <a:pt x="77" y="99"/>
                        <a:pt x="84" y="100"/>
                        <a:pt x="87" y="104"/>
                      </a:cubicBezTo>
                      <a:cubicBezTo>
                        <a:pt x="90" y="109"/>
                        <a:pt x="93" y="115"/>
                        <a:pt x="90" y="121"/>
                      </a:cubicBezTo>
                      <a:cubicBezTo>
                        <a:pt x="86" y="127"/>
                        <a:pt x="81" y="120"/>
                        <a:pt x="77" y="120"/>
                      </a:cubicBezTo>
                      <a:cubicBezTo>
                        <a:pt x="76" y="121"/>
                        <a:pt x="76" y="122"/>
                        <a:pt x="76" y="123"/>
                      </a:cubicBezTo>
                      <a:cubicBezTo>
                        <a:pt x="77" y="124"/>
                        <a:pt x="78" y="125"/>
                        <a:pt x="79" y="126"/>
                      </a:cubicBezTo>
                      <a:cubicBezTo>
                        <a:pt x="82" y="127"/>
                        <a:pt x="86" y="128"/>
                        <a:pt x="89" y="129"/>
                      </a:cubicBezTo>
                      <a:cubicBezTo>
                        <a:pt x="93" y="128"/>
                        <a:pt x="98" y="127"/>
                        <a:pt x="103" y="127"/>
                      </a:cubicBezTo>
                      <a:cubicBezTo>
                        <a:pt x="103" y="139"/>
                        <a:pt x="103" y="152"/>
                        <a:pt x="103" y="165"/>
                      </a:cubicBezTo>
                      <a:cubicBezTo>
                        <a:pt x="103" y="168"/>
                        <a:pt x="103" y="171"/>
                        <a:pt x="103" y="174"/>
                      </a:cubicBezTo>
                      <a:cubicBezTo>
                        <a:pt x="103" y="174"/>
                        <a:pt x="103" y="174"/>
                        <a:pt x="103" y="174"/>
                      </a:cubicBezTo>
                      <a:cubicBezTo>
                        <a:pt x="103" y="185"/>
                        <a:pt x="96" y="192"/>
                        <a:pt x="86" y="192"/>
                      </a:cubicBezTo>
                      <a:close/>
                      <a:moveTo>
                        <a:pt x="189" y="131"/>
                      </a:moveTo>
                      <a:cubicBezTo>
                        <a:pt x="183" y="133"/>
                        <a:pt x="182" y="135"/>
                        <a:pt x="185" y="142"/>
                      </a:cubicBezTo>
                      <a:cubicBezTo>
                        <a:pt x="192" y="157"/>
                        <a:pt x="184" y="170"/>
                        <a:pt x="168" y="172"/>
                      </a:cubicBezTo>
                      <a:cubicBezTo>
                        <a:pt x="166" y="172"/>
                        <a:pt x="165" y="172"/>
                        <a:pt x="163" y="172"/>
                      </a:cubicBezTo>
                      <a:cubicBezTo>
                        <a:pt x="158" y="172"/>
                        <a:pt x="156" y="169"/>
                        <a:pt x="155" y="164"/>
                      </a:cubicBezTo>
                      <a:cubicBezTo>
                        <a:pt x="155" y="159"/>
                        <a:pt x="154" y="153"/>
                        <a:pt x="147" y="154"/>
                      </a:cubicBezTo>
                      <a:cubicBezTo>
                        <a:pt x="154" y="167"/>
                        <a:pt x="153" y="179"/>
                        <a:pt x="146" y="187"/>
                      </a:cubicBezTo>
                      <a:cubicBezTo>
                        <a:pt x="139" y="195"/>
                        <a:pt x="134" y="195"/>
                        <a:pt x="129" y="186"/>
                      </a:cubicBezTo>
                      <a:cubicBezTo>
                        <a:pt x="127" y="183"/>
                        <a:pt x="125" y="180"/>
                        <a:pt x="125" y="176"/>
                      </a:cubicBezTo>
                      <a:cubicBezTo>
                        <a:pt x="124" y="173"/>
                        <a:pt x="127" y="169"/>
                        <a:pt x="122" y="167"/>
                      </a:cubicBezTo>
                      <a:cubicBezTo>
                        <a:pt x="119" y="177"/>
                        <a:pt x="123" y="185"/>
                        <a:pt x="128" y="192"/>
                      </a:cubicBezTo>
                      <a:cubicBezTo>
                        <a:pt x="118" y="192"/>
                        <a:pt x="111" y="185"/>
                        <a:pt x="111" y="174"/>
                      </a:cubicBezTo>
                      <a:cubicBezTo>
                        <a:pt x="111" y="174"/>
                        <a:pt x="111" y="174"/>
                        <a:pt x="111" y="174"/>
                      </a:cubicBezTo>
                      <a:cubicBezTo>
                        <a:pt x="111" y="171"/>
                        <a:pt x="111" y="168"/>
                        <a:pt x="111" y="165"/>
                      </a:cubicBezTo>
                      <a:cubicBezTo>
                        <a:pt x="111" y="152"/>
                        <a:pt x="111" y="139"/>
                        <a:pt x="111" y="127"/>
                      </a:cubicBezTo>
                      <a:cubicBezTo>
                        <a:pt x="116" y="127"/>
                        <a:pt x="120" y="128"/>
                        <a:pt x="125" y="129"/>
                      </a:cubicBezTo>
                      <a:cubicBezTo>
                        <a:pt x="128" y="128"/>
                        <a:pt x="131" y="127"/>
                        <a:pt x="135" y="126"/>
                      </a:cubicBezTo>
                      <a:cubicBezTo>
                        <a:pt x="136" y="125"/>
                        <a:pt x="137" y="124"/>
                        <a:pt x="138" y="123"/>
                      </a:cubicBezTo>
                      <a:cubicBezTo>
                        <a:pt x="138" y="122"/>
                        <a:pt x="137" y="121"/>
                        <a:pt x="137" y="120"/>
                      </a:cubicBezTo>
                      <a:cubicBezTo>
                        <a:pt x="133" y="120"/>
                        <a:pt x="127" y="127"/>
                        <a:pt x="124" y="121"/>
                      </a:cubicBezTo>
                      <a:cubicBezTo>
                        <a:pt x="121" y="115"/>
                        <a:pt x="124" y="109"/>
                        <a:pt x="127" y="104"/>
                      </a:cubicBezTo>
                      <a:cubicBezTo>
                        <a:pt x="130" y="100"/>
                        <a:pt x="136" y="99"/>
                        <a:pt x="138" y="94"/>
                      </a:cubicBezTo>
                      <a:cubicBezTo>
                        <a:pt x="128" y="94"/>
                        <a:pt x="124" y="101"/>
                        <a:pt x="120" y="109"/>
                      </a:cubicBezTo>
                      <a:cubicBezTo>
                        <a:pt x="119" y="110"/>
                        <a:pt x="119" y="112"/>
                        <a:pt x="119" y="113"/>
                      </a:cubicBezTo>
                      <a:cubicBezTo>
                        <a:pt x="118" y="117"/>
                        <a:pt x="122" y="122"/>
                        <a:pt x="116" y="122"/>
                      </a:cubicBezTo>
                      <a:cubicBezTo>
                        <a:pt x="114" y="122"/>
                        <a:pt x="112" y="121"/>
                        <a:pt x="111" y="119"/>
                      </a:cubicBezTo>
                      <a:cubicBezTo>
                        <a:pt x="111" y="117"/>
                        <a:pt x="111" y="115"/>
                        <a:pt x="111" y="113"/>
                      </a:cubicBezTo>
                      <a:cubicBezTo>
                        <a:pt x="111" y="113"/>
                        <a:pt x="111" y="113"/>
                        <a:pt x="111" y="113"/>
                      </a:cubicBezTo>
                      <a:cubicBezTo>
                        <a:pt x="111" y="113"/>
                        <a:pt x="111" y="113"/>
                        <a:pt x="111" y="113"/>
                      </a:cubicBezTo>
                      <a:cubicBezTo>
                        <a:pt x="111" y="101"/>
                        <a:pt x="111" y="90"/>
                        <a:pt x="111" y="79"/>
                      </a:cubicBezTo>
                      <a:cubicBezTo>
                        <a:pt x="111" y="78"/>
                        <a:pt x="112" y="77"/>
                        <a:pt x="112" y="76"/>
                      </a:cubicBezTo>
                      <a:cubicBezTo>
                        <a:pt x="112" y="75"/>
                        <a:pt x="112" y="75"/>
                        <a:pt x="112" y="75"/>
                      </a:cubicBezTo>
                      <a:cubicBezTo>
                        <a:pt x="112" y="74"/>
                        <a:pt x="111" y="73"/>
                        <a:pt x="111" y="72"/>
                      </a:cubicBezTo>
                      <a:cubicBezTo>
                        <a:pt x="111" y="62"/>
                        <a:pt x="111" y="51"/>
                        <a:pt x="111" y="40"/>
                      </a:cubicBezTo>
                      <a:cubicBezTo>
                        <a:pt x="112" y="39"/>
                        <a:pt x="113" y="39"/>
                        <a:pt x="115" y="38"/>
                      </a:cubicBezTo>
                      <a:cubicBezTo>
                        <a:pt x="118" y="38"/>
                        <a:pt x="122" y="36"/>
                        <a:pt x="123" y="32"/>
                      </a:cubicBezTo>
                      <a:cubicBezTo>
                        <a:pt x="119" y="29"/>
                        <a:pt x="114" y="39"/>
                        <a:pt x="111" y="32"/>
                      </a:cubicBezTo>
                      <a:cubicBezTo>
                        <a:pt x="111" y="31"/>
                        <a:pt x="111" y="31"/>
                        <a:pt x="111" y="30"/>
                      </a:cubicBezTo>
                      <a:cubicBezTo>
                        <a:pt x="111" y="27"/>
                        <a:pt x="111" y="24"/>
                        <a:pt x="111" y="22"/>
                      </a:cubicBezTo>
                      <a:cubicBezTo>
                        <a:pt x="111" y="19"/>
                        <a:pt x="113" y="16"/>
                        <a:pt x="115" y="14"/>
                      </a:cubicBezTo>
                      <a:cubicBezTo>
                        <a:pt x="120" y="10"/>
                        <a:pt x="125" y="8"/>
                        <a:pt x="131" y="11"/>
                      </a:cubicBezTo>
                      <a:cubicBezTo>
                        <a:pt x="134" y="13"/>
                        <a:pt x="136" y="15"/>
                        <a:pt x="137" y="18"/>
                      </a:cubicBezTo>
                      <a:cubicBezTo>
                        <a:pt x="140" y="32"/>
                        <a:pt x="148" y="24"/>
                        <a:pt x="155" y="23"/>
                      </a:cubicBezTo>
                      <a:cubicBezTo>
                        <a:pt x="159" y="22"/>
                        <a:pt x="161" y="23"/>
                        <a:pt x="164" y="25"/>
                      </a:cubicBezTo>
                      <a:cubicBezTo>
                        <a:pt x="170" y="28"/>
                        <a:pt x="171" y="33"/>
                        <a:pt x="170" y="39"/>
                      </a:cubicBezTo>
                      <a:cubicBezTo>
                        <a:pt x="168" y="49"/>
                        <a:pt x="163" y="58"/>
                        <a:pt x="153" y="63"/>
                      </a:cubicBezTo>
                      <a:cubicBezTo>
                        <a:pt x="145" y="68"/>
                        <a:pt x="141" y="66"/>
                        <a:pt x="139" y="57"/>
                      </a:cubicBezTo>
                      <a:cubicBezTo>
                        <a:pt x="139" y="54"/>
                        <a:pt x="138" y="51"/>
                        <a:pt x="137" y="49"/>
                      </a:cubicBezTo>
                      <a:cubicBezTo>
                        <a:pt x="137" y="48"/>
                        <a:pt x="136" y="47"/>
                        <a:pt x="136" y="46"/>
                      </a:cubicBezTo>
                      <a:cubicBezTo>
                        <a:pt x="134" y="45"/>
                        <a:pt x="132" y="41"/>
                        <a:pt x="131" y="47"/>
                      </a:cubicBezTo>
                      <a:cubicBezTo>
                        <a:pt x="131" y="48"/>
                        <a:pt x="133" y="50"/>
                        <a:pt x="132" y="52"/>
                      </a:cubicBezTo>
                      <a:cubicBezTo>
                        <a:pt x="131" y="52"/>
                        <a:pt x="131" y="52"/>
                        <a:pt x="131" y="52"/>
                      </a:cubicBezTo>
                      <a:cubicBezTo>
                        <a:pt x="139" y="62"/>
                        <a:pt x="137" y="68"/>
                        <a:pt x="123" y="72"/>
                      </a:cubicBezTo>
                      <a:cubicBezTo>
                        <a:pt x="123" y="72"/>
                        <a:pt x="123" y="72"/>
                        <a:pt x="123" y="72"/>
                      </a:cubicBezTo>
                      <a:cubicBezTo>
                        <a:pt x="125" y="78"/>
                        <a:pt x="130" y="75"/>
                        <a:pt x="132" y="73"/>
                      </a:cubicBezTo>
                      <a:cubicBezTo>
                        <a:pt x="137" y="69"/>
                        <a:pt x="143" y="69"/>
                        <a:pt x="149" y="70"/>
                      </a:cubicBezTo>
                      <a:cubicBezTo>
                        <a:pt x="152" y="69"/>
                        <a:pt x="155" y="68"/>
                        <a:pt x="157" y="67"/>
                      </a:cubicBezTo>
                      <a:cubicBezTo>
                        <a:pt x="164" y="62"/>
                        <a:pt x="167" y="53"/>
                        <a:pt x="178" y="55"/>
                      </a:cubicBezTo>
                      <a:cubicBezTo>
                        <a:pt x="183" y="55"/>
                        <a:pt x="188" y="57"/>
                        <a:pt x="190" y="63"/>
                      </a:cubicBezTo>
                      <a:cubicBezTo>
                        <a:pt x="195" y="78"/>
                        <a:pt x="183" y="92"/>
                        <a:pt x="165" y="91"/>
                      </a:cubicBezTo>
                      <a:cubicBezTo>
                        <a:pt x="164" y="92"/>
                        <a:pt x="160" y="91"/>
                        <a:pt x="159" y="94"/>
                      </a:cubicBezTo>
                      <a:cubicBezTo>
                        <a:pt x="166" y="106"/>
                        <a:pt x="164" y="108"/>
                        <a:pt x="149" y="108"/>
                      </a:cubicBezTo>
                      <a:cubicBezTo>
                        <a:pt x="148" y="109"/>
                        <a:pt x="147" y="110"/>
                        <a:pt x="147" y="110"/>
                      </a:cubicBezTo>
                      <a:cubicBezTo>
                        <a:pt x="147" y="111"/>
                        <a:pt x="147" y="112"/>
                        <a:pt x="147" y="113"/>
                      </a:cubicBezTo>
                      <a:cubicBezTo>
                        <a:pt x="159" y="109"/>
                        <a:pt x="164" y="117"/>
                        <a:pt x="166" y="127"/>
                      </a:cubicBezTo>
                      <a:cubicBezTo>
                        <a:pt x="172" y="126"/>
                        <a:pt x="168" y="122"/>
                        <a:pt x="169" y="119"/>
                      </a:cubicBezTo>
                      <a:cubicBezTo>
                        <a:pt x="162" y="111"/>
                        <a:pt x="164" y="102"/>
                        <a:pt x="169" y="97"/>
                      </a:cubicBezTo>
                      <a:cubicBezTo>
                        <a:pt x="176" y="88"/>
                        <a:pt x="190" y="90"/>
                        <a:pt x="198" y="98"/>
                      </a:cubicBezTo>
                      <a:cubicBezTo>
                        <a:pt x="199" y="99"/>
                        <a:pt x="200" y="101"/>
                        <a:pt x="201" y="102"/>
                      </a:cubicBezTo>
                      <a:cubicBezTo>
                        <a:pt x="206" y="115"/>
                        <a:pt x="202" y="126"/>
                        <a:pt x="189" y="13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Freeform 80">
                  <a:extLst>
                    <a:ext uri="{FF2B5EF4-FFF2-40B4-BE49-F238E27FC236}">
                      <a16:creationId xmlns:a16="http://schemas.microsoft.com/office/drawing/2014/main" xmlns="" id="{2470CB93-6F0A-08C1-4ADF-662A7E44AD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949253" y="650160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 81">
                  <a:extLst>
                    <a:ext uri="{FF2B5EF4-FFF2-40B4-BE49-F238E27FC236}">
                      <a16:creationId xmlns:a16="http://schemas.microsoft.com/office/drawing/2014/main" xmlns="" id="{47D4468E-7B6C-92B5-0096-6FD73B4077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106416" y="650160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Freeform 82">
                  <a:extLst>
                    <a:ext uri="{FF2B5EF4-FFF2-40B4-BE49-F238E27FC236}">
                      <a16:creationId xmlns:a16="http://schemas.microsoft.com/office/drawing/2014/main" xmlns="" id="{47EE4997-6779-41AE-74B2-7C037EDBE5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050853" y="6682581"/>
                  <a:ext cx="42863" cy="15875"/>
                </a:xfrm>
                <a:custGeom>
                  <a:avLst/>
                  <a:gdLst>
                    <a:gd name="T0" fmla="*/ 11 w 22"/>
                    <a:gd name="T1" fmla="*/ 8 h 8"/>
                    <a:gd name="T2" fmla="*/ 22 w 22"/>
                    <a:gd name="T3" fmla="*/ 0 h 8"/>
                    <a:gd name="T4" fmla="*/ 0 w 22"/>
                    <a:gd name="T5" fmla="*/ 0 h 8"/>
                    <a:gd name="T6" fmla="*/ 11 w 22"/>
                    <a:gd name="T7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2" h="8">
                      <a:moveTo>
                        <a:pt x="11" y="8"/>
                      </a:moveTo>
                      <a:cubicBezTo>
                        <a:pt x="16" y="8"/>
                        <a:pt x="21" y="5"/>
                        <a:pt x="2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6" y="8"/>
                        <a:pt x="11" y="8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Freeform 83">
                  <a:extLst>
                    <a:ext uri="{FF2B5EF4-FFF2-40B4-BE49-F238E27FC236}">
                      <a16:creationId xmlns:a16="http://schemas.microsoft.com/office/drawing/2014/main" xmlns="" id="{E702C2BF-9E9A-DF6C-B8CF-5EEA65A80F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096891" y="6601619"/>
                  <a:ext cx="138113" cy="14288"/>
                </a:xfrm>
                <a:custGeom>
                  <a:avLst/>
                  <a:gdLst>
                    <a:gd name="T0" fmla="*/ 63 w 70"/>
                    <a:gd name="T1" fmla="*/ 0 h 7"/>
                    <a:gd name="T2" fmla="*/ 7 w 70"/>
                    <a:gd name="T3" fmla="*/ 0 h 7"/>
                    <a:gd name="T4" fmla="*/ 0 w 70"/>
                    <a:gd name="T5" fmla="*/ 7 h 7"/>
                    <a:gd name="T6" fmla="*/ 70 w 70"/>
                    <a:gd name="T7" fmla="*/ 7 h 7"/>
                    <a:gd name="T8" fmla="*/ 63 w 70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0" h="7">
                      <a:moveTo>
                        <a:pt x="63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70" y="7"/>
                        <a:pt x="70" y="7"/>
                        <a:pt x="70" y="7"/>
                      </a:cubicBezTo>
                      <a:cubicBezTo>
                        <a:pt x="70" y="3"/>
                        <a:pt x="67" y="0"/>
                        <a:pt x="63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Freeform 84">
                  <a:extLst>
                    <a:ext uri="{FF2B5EF4-FFF2-40B4-BE49-F238E27FC236}">
                      <a16:creationId xmlns:a16="http://schemas.microsoft.com/office/drawing/2014/main" xmlns="" id="{CE871D04-A72B-F3C1-CDF9-8215498B67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096891" y="6615906"/>
                  <a:ext cx="138113" cy="14288"/>
                </a:xfrm>
                <a:custGeom>
                  <a:avLst/>
                  <a:gdLst>
                    <a:gd name="T0" fmla="*/ 7 w 70"/>
                    <a:gd name="T1" fmla="*/ 7 h 7"/>
                    <a:gd name="T2" fmla="*/ 63 w 70"/>
                    <a:gd name="T3" fmla="*/ 7 h 7"/>
                    <a:gd name="T4" fmla="*/ 70 w 70"/>
                    <a:gd name="T5" fmla="*/ 0 h 7"/>
                    <a:gd name="T6" fmla="*/ 0 w 70"/>
                    <a:gd name="T7" fmla="*/ 0 h 7"/>
                    <a:gd name="T8" fmla="*/ 7 w 70"/>
                    <a:gd name="T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0" h="7">
                      <a:moveTo>
                        <a:pt x="7" y="7"/>
                      </a:moveTo>
                      <a:cubicBezTo>
                        <a:pt x="63" y="7"/>
                        <a:pt x="63" y="7"/>
                        <a:pt x="63" y="7"/>
                      </a:cubicBezTo>
                      <a:cubicBezTo>
                        <a:pt x="67" y="7"/>
                        <a:pt x="70" y="4"/>
                        <a:pt x="7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4"/>
                        <a:pt x="3" y="7"/>
                        <a:pt x="7" y="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Freeform 85">
                  <a:extLst>
                    <a:ext uri="{FF2B5EF4-FFF2-40B4-BE49-F238E27FC236}">
                      <a16:creationId xmlns:a16="http://schemas.microsoft.com/office/drawing/2014/main" xmlns="" id="{482A1DC9-DECB-2997-4D12-D77E62311B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082603" y="6630194"/>
                  <a:ext cx="111125" cy="12700"/>
                </a:xfrm>
                <a:custGeom>
                  <a:avLst/>
                  <a:gdLst>
                    <a:gd name="T0" fmla="*/ 49 w 56"/>
                    <a:gd name="T1" fmla="*/ 0 h 7"/>
                    <a:gd name="T2" fmla="*/ 7 w 56"/>
                    <a:gd name="T3" fmla="*/ 0 h 7"/>
                    <a:gd name="T4" fmla="*/ 0 w 56"/>
                    <a:gd name="T5" fmla="*/ 7 h 7"/>
                    <a:gd name="T6" fmla="*/ 56 w 56"/>
                    <a:gd name="T7" fmla="*/ 7 h 7"/>
                    <a:gd name="T8" fmla="*/ 49 w 56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" h="7">
                      <a:moveTo>
                        <a:pt x="49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3"/>
                        <a:pt x="53" y="0"/>
                        <a:pt x="49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Freeform 86">
                  <a:extLst>
                    <a:ext uri="{FF2B5EF4-FFF2-40B4-BE49-F238E27FC236}">
                      <a16:creationId xmlns:a16="http://schemas.microsoft.com/office/drawing/2014/main" xmlns="" id="{1FC43C2D-FF42-42B5-18A1-C12FB56DA4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082603" y="6642894"/>
                  <a:ext cx="111125" cy="14288"/>
                </a:xfrm>
                <a:custGeom>
                  <a:avLst/>
                  <a:gdLst>
                    <a:gd name="T0" fmla="*/ 7 w 56"/>
                    <a:gd name="T1" fmla="*/ 7 h 7"/>
                    <a:gd name="T2" fmla="*/ 49 w 56"/>
                    <a:gd name="T3" fmla="*/ 7 h 7"/>
                    <a:gd name="T4" fmla="*/ 56 w 56"/>
                    <a:gd name="T5" fmla="*/ 0 h 7"/>
                    <a:gd name="T6" fmla="*/ 0 w 56"/>
                    <a:gd name="T7" fmla="*/ 0 h 7"/>
                    <a:gd name="T8" fmla="*/ 7 w 56"/>
                    <a:gd name="T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" h="7">
                      <a:moveTo>
                        <a:pt x="7" y="7"/>
                      </a:moveTo>
                      <a:cubicBezTo>
                        <a:pt x="49" y="7"/>
                        <a:pt x="49" y="7"/>
                        <a:pt x="49" y="7"/>
                      </a:cubicBezTo>
                      <a:cubicBezTo>
                        <a:pt x="53" y="7"/>
                        <a:pt x="56" y="3"/>
                        <a:pt x="56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3"/>
                        <a:pt x="3" y="7"/>
                        <a:pt x="7" y="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Freeform 87">
                  <a:extLst>
                    <a:ext uri="{FF2B5EF4-FFF2-40B4-BE49-F238E27FC236}">
                      <a16:creationId xmlns:a16="http://schemas.microsoft.com/office/drawing/2014/main" xmlns="" id="{AF5ADBA0-6E5D-4F61-63B4-A7B32EE06A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077841" y="6657181"/>
                  <a:ext cx="95250" cy="12700"/>
                </a:xfrm>
                <a:custGeom>
                  <a:avLst/>
                  <a:gdLst>
                    <a:gd name="T0" fmla="*/ 41 w 48"/>
                    <a:gd name="T1" fmla="*/ 0 h 6"/>
                    <a:gd name="T2" fmla="*/ 7 w 48"/>
                    <a:gd name="T3" fmla="*/ 0 h 6"/>
                    <a:gd name="T4" fmla="*/ 0 w 48"/>
                    <a:gd name="T5" fmla="*/ 6 h 6"/>
                    <a:gd name="T6" fmla="*/ 48 w 48"/>
                    <a:gd name="T7" fmla="*/ 6 h 6"/>
                    <a:gd name="T8" fmla="*/ 41 w 48"/>
                    <a:gd name="T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8" h="6">
                      <a:moveTo>
                        <a:pt x="41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48" y="6"/>
                        <a:pt x="48" y="6"/>
                        <a:pt x="48" y="6"/>
                      </a:cubicBezTo>
                      <a:cubicBezTo>
                        <a:pt x="48" y="3"/>
                        <a:pt x="45" y="0"/>
                        <a:pt x="41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Freeform 88">
                  <a:extLst>
                    <a:ext uri="{FF2B5EF4-FFF2-40B4-BE49-F238E27FC236}">
                      <a16:creationId xmlns:a16="http://schemas.microsoft.com/office/drawing/2014/main" xmlns="" id="{CC8D687B-F7C8-2E72-BC14-1B976BFDD6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077841" y="6669881"/>
                  <a:ext cx="95250" cy="12700"/>
                </a:xfrm>
                <a:custGeom>
                  <a:avLst/>
                  <a:gdLst>
                    <a:gd name="T0" fmla="*/ 7 w 48"/>
                    <a:gd name="T1" fmla="*/ 7 h 7"/>
                    <a:gd name="T2" fmla="*/ 41 w 48"/>
                    <a:gd name="T3" fmla="*/ 7 h 7"/>
                    <a:gd name="T4" fmla="*/ 48 w 48"/>
                    <a:gd name="T5" fmla="*/ 0 h 7"/>
                    <a:gd name="T6" fmla="*/ 0 w 48"/>
                    <a:gd name="T7" fmla="*/ 0 h 7"/>
                    <a:gd name="T8" fmla="*/ 7 w 48"/>
                    <a:gd name="T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8" h="7">
                      <a:moveTo>
                        <a:pt x="7" y="7"/>
                      </a:move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5" y="7"/>
                        <a:pt x="48" y="4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4"/>
                        <a:pt x="3" y="7"/>
                        <a:pt x="7" y="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Freeform 89">
                  <a:extLst>
                    <a:ext uri="{FF2B5EF4-FFF2-40B4-BE49-F238E27FC236}">
                      <a16:creationId xmlns:a16="http://schemas.microsoft.com/office/drawing/2014/main" xmlns="" id="{0520F15F-F17B-BAE9-0D2A-C10FE6D9BE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801616" y="6398419"/>
                  <a:ext cx="39688" cy="7938"/>
                </a:xfrm>
                <a:custGeom>
                  <a:avLst/>
                  <a:gdLst>
                    <a:gd name="T0" fmla="*/ 18 w 20"/>
                    <a:gd name="T1" fmla="*/ 4 h 4"/>
                    <a:gd name="T2" fmla="*/ 2 w 20"/>
                    <a:gd name="T3" fmla="*/ 4 h 4"/>
                    <a:gd name="T4" fmla="*/ 0 w 20"/>
                    <a:gd name="T5" fmla="*/ 2 h 4"/>
                    <a:gd name="T6" fmla="*/ 2 w 20"/>
                    <a:gd name="T7" fmla="*/ 0 h 4"/>
                    <a:gd name="T8" fmla="*/ 18 w 20"/>
                    <a:gd name="T9" fmla="*/ 0 h 4"/>
                    <a:gd name="T10" fmla="*/ 20 w 20"/>
                    <a:gd name="T11" fmla="*/ 2 h 4"/>
                    <a:gd name="T12" fmla="*/ 18 w 20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4">
                      <a:moveTo>
                        <a:pt x="18" y="4"/>
                      </a:move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1" y="4"/>
                        <a:pt x="0" y="3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9" y="0"/>
                        <a:pt x="20" y="1"/>
                        <a:pt x="20" y="2"/>
                      </a:cubicBezTo>
                      <a:cubicBezTo>
                        <a:pt x="20" y="3"/>
                        <a:pt x="19" y="4"/>
                        <a:pt x="18" y="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Freeform 91">
                  <a:extLst>
                    <a:ext uri="{FF2B5EF4-FFF2-40B4-BE49-F238E27FC236}">
                      <a16:creationId xmlns:a16="http://schemas.microsoft.com/office/drawing/2014/main" xmlns="" id="{288B78D0-8F4E-099B-FB76-9E4F8B38D4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801616" y="6309519"/>
                  <a:ext cx="39688" cy="17463"/>
                </a:xfrm>
                <a:custGeom>
                  <a:avLst/>
                  <a:gdLst>
                    <a:gd name="T0" fmla="*/ 2 w 20"/>
                    <a:gd name="T1" fmla="*/ 9 h 9"/>
                    <a:gd name="T2" fmla="*/ 0 w 20"/>
                    <a:gd name="T3" fmla="*/ 7 h 9"/>
                    <a:gd name="T4" fmla="*/ 2 w 20"/>
                    <a:gd name="T5" fmla="*/ 4 h 9"/>
                    <a:gd name="T6" fmla="*/ 17 w 20"/>
                    <a:gd name="T7" fmla="*/ 0 h 9"/>
                    <a:gd name="T8" fmla="*/ 20 w 20"/>
                    <a:gd name="T9" fmla="*/ 1 h 9"/>
                    <a:gd name="T10" fmla="*/ 18 w 20"/>
                    <a:gd name="T11" fmla="*/ 4 h 9"/>
                    <a:gd name="T12" fmla="*/ 3 w 20"/>
                    <a:gd name="T13" fmla="*/ 8 h 9"/>
                    <a:gd name="T14" fmla="*/ 2 w 20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" h="9">
                      <a:moveTo>
                        <a:pt x="2" y="9"/>
                      </a:moveTo>
                      <a:cubicBezTo>
                        <a:pt x="1" y="9"/>
                        <a:pt x="1" y="8"/>
                        <a:pt x="0" y="7"/>
                      </a:cubicBezTo>
                      <a:cubicBezTo>
                        <a:pt x="0" y="6"/>
                        <a:pt x="1" y="5"/>
                        <a:pt x="2" y="4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8" y="0"/>
                        <a:pt x="20" y="0"/>
                        <a:pt x="20" y="1"/>
                      </a:cubicBezTo>
                      <a:cubicBezTo>
                        <a:pt x="20" y="3"/>
                        <a:pt x="20" y="4"/>
                        <a:pt x="18" y="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8"/>
                        <a:pt x="3" y="9"/>
                        <a:pt x="2" y="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Freeform 92">
                  <a:extLst>
                    <a:ext uri="{FF2B5EF4-FFF2-40B4-BE49-F238E27FC236}">
                      <a16:creationId xmlns:a16="http://schemas.microsoft.com/office/drawing/2014/main" xmlns="" id="{A66492AD-B171-0662-DE79-378522AEA0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838128" y="6215856"/>
                  <a:ext cx="33338" cy="30163"/>
                </a:xfrm>
                <a:custGeom>
                  <a:avLst/>
                  <a:gdLst>
                    <a:gd name="T0" fmla="*/ 2 w 17"/>
                    <a:gd name="T1" fmla="*/ 15 h 15"/>
                    <a:gd name="T2" fmla="*/ 0 w 17"/>
                    <a:gd name="T3" fmla="*/ 14 h 15"/>
                    <a:gd name="T4" fmla="*/ 1 w 17"/>
                    <a:gd name="T5" fmla="*/ 11 h 15"/>
                    <a:gd name="T6" fmla="*/ 13 w 17"/>
                    <a:gd name="T7" fmla="*/ 0 h 15"/>
                    <a:gd name="T8" fmla="*/ 16 w 17"/>
                    <a:gd name="T9" fmla="*/ 1 h 15"/>
                    <a:gd name="T10" fmla="*/ 16 w 17"/>
                    <a:gd name="T11" fmla="*/ 4 h 15"/>
                    <a:gd name="T12" fmla="*/ 3 w 17"/>
                    <a:gd name="T13" fmla="*/ 14 h 15"/>
                    <a:gd name="T14" fmla="*/ 2 w 17"/>
                    <a:gd name="T15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7" h="15">
                      <a:moveTo>
                        <a:pt x="2" y="15"/>
                      </a:moveTo>
                      <a:cubicBezTo>
                        <a:pt x="1" y="15"/>
                        <a:pt x="1" y="14"/>
                        <a:pt x="0" y="14"/>
                      </a:cubicBezTo>
                      <a:cubicBezTo>
                        <a:pt x="0" y="13"/>
                        <a:pt x="0" y="12"/>
                        <a:pt x="1" y="11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4" y="0"/>
                        <a:pt x="15" y="0"/>
                        <a:pt x="16" y="1"/>
                      </a:cubicBezTo>
                      <a:cubicBezTo>
                        <a:pt x="17" y="2"/>
                        <a:pt x="16" y="3"/>
                        <a:pt x="16" y="4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5"/>
                        <a:pt x="3" y="15"/>
                        <a:pt x="2" y="1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Freeform 93">
                  <a:extLst>
                    <a:ext uri="{FF2B5EF4-FFF2-40B4-BE49-F238E27FC236}">
                      <a16:creationId xmlns:a16="http://schemas.microsoft.com/office/drawing/2014/main" xmlns="" id="{E36B2AFA-7F8E-BBF9-08DA-DE552662A6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922266" y="6142831"/>
                  <a:ext cx="23813" cy="39688"/>
                </a:xfrm>
                <a:custGeom>
                  <a:avLst/>
                  <a:gdLst>
                    <a:gd name="T0" fmla="*/ 3 w 12"/>
                    <a:gd name="T1" fmla="*/ 20 h 20"/>
                    <a:gd name="T2" fmla="*/ 2 w 12"/>
                    <a:gd name="T3" fmla="*/ 19 h 20"/>
                    <a:gd name="T4" fmla="*/ 1 w 12"/>
                    <a:gd name="T5" fmla="*/ 17 h 20"/>
                    <a:gd name="T6" fmla="*/ 7 w 12"/>
                    <a:gd name="T7" fmla="*/ 2 h 20"/>
                    <a:gd name="T8" fmla="*/ 10 w 12"/>
                    <a:gd name="T9" fmla="*/ 1 h 20"/>
                    <a:gd name="T10" fmla="*/ 11 w 12"/>
                    <a:gd name="T11" fmla="*/ 4 h 20"/>
                    <a:gd name="T12" fmla="*/ 5 w 12"/>
                    <a:gd name="T13" fmla="*/ 18 h 20"/>
                    <a:gd name="T14" fmla="*/ 3 w 12"/>
                    <a:gd name="T15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" h="20">
                      <a:moveTo>
                        <a:pt x="3" y="20"/>
                      </a:moveTo>
                      <a:cubicBezTo>
                        <a:pt x="3" y="20"/>
                        <a:pt x="2" y="20"/>
                        <a:pt x="2" y="19"/>
                      </a:cubicBezTo>
                      <a:cubicBezTo>
                        <a:pt x="1" y="19"/>
                        <a:pt x="0" y="18"/>
                        <a:pt x="1" y="17"/>
                      </a:cubicBezTo>
                      <a:cubicBezTo>
                        <a:pt x="7" y="2"/>
                        <a:pt x="7" y="2"/>
                        <a:pt x="7" y="2"/>
                      </a:cubicBezTo>
                      <a:cubicBezTo>
                        <a:pt x="8" y="1"/>
                        <a:pt x="9" y="0"/>
                        <a:pt x="10" y="1"/>
                      </a:cubicBezTo>
                      <a:cubicBezTo>
                        <a:pt x="11" y="1"/>
                        <a:pt x="12" y="3"/>
                        <a:pt x="11" y="4"/>
                      </a:cubicBezTo>
                      <a:cubicBezTo>
                        <a:pt x="5" y="18"/>
                        <a:pt x="5" y="18"/>
                        <a:pt x="5" y="18"/>
                      </a:cubicBezTo>
                      <a:cubicBezTo>
                        <a:pt x="5" y="19"/>
                        <a:pt x="4" y="20"/>
                        <a:pt x="3" y="2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Freeform 94">
                  <a:extLst>
                    <a:ext uri="{FF2B5EF4-FFF2-40B4-BE49-F238E27FC236}">
                      <a16:creationId xmlns:a16="http://schemas.microsoft.com/office/drawing/2014/main" xmlns="" id="{820A0304-D6B8-9FAE-64C8-58D52FBE62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303266" y="6398419"/>
                  <a:ext cx="42863" cy="7938"/>
                </a:xfrm>
                <a:custGeom>
                  <a:avLst/>
                  <a:gdLst>
                    <a:gd name="T0" fmla="*/ 18 w 21"/>
                    <a:gd name="T1" fmla="*/ 4 h 4"/>
                    <a:gd name="T2" fmla="*/ 3 w 21"/>
                    <a:gd name="T3" fmla="*/ 4 h 4"/>
                    <a:gd name="T4" fmla="*/ 0 w 21"/>
                    <a:gd name="T5" fmla="*/ 2 h 4"/>
                    <a:gd name="T6" fmla="*/ 3 w 21"/>
                    <a:gd name="T7" fmla="*/ 0 h 4"/>
                    <a:gd name="T8" fmla="*/ 18 w 21"/>
                    <a:gd name="T9" fmla="*/ 0 h 4"/>
                    <a:gd name="T10" fmla="*/ 21 w 21"/>
                    <a:gd name="T11" fmla="*/ 2 h 4"/>
                    <a:gd name="T12" fmla="*/ 18 w 21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" h="4">
                      <a:moveTo>
                        <a:pt x="18" y="4"/>
                      </a:move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1" y="4"/>
                        <a:pt x="0" y="3"/>
                        <a:pt x="0" y="2"/>
                      </a:cubicBezTo>
                      <a:cubicBezTo>
                        <a:pt x="0" y="1"/>
                        <a:pt x="1" y="0"/>
                        <a:pt x="3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20" y="0"/>
                        <a:pt x="21" y="1"/>
                        <a:pt x="21" y="2"/>
                      </a:cubicBezTo>
                      <a:cubicBezTo>
                        <a:pt x="21" y="3"/>
                        <a:pt x="20" y="4"/>
                        <a:pt x="18" y="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Freeform 95">
                  <a:extLst>
                    <a:ext uri="{FF2B5EF4-FFF2-40B4-BE49-F238E27FC236}">
                      <a16:creationId xmlns:a16="http://schemas.microsoft.com/office/drawing/2014/main" xmlns="" id="{0C82D9E3-3CBB-95E6-C344-B9A74CF8FF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303266" y="6309519"/>
                  <a:ext cx="42863" cy="17463"/>
                </a:xfrm>
                <a:custGeom>
                  <a:avLst/>
                  <a:gdLst>
                    <a:gd name="T0" fmla="*/ 18 w 21"/>
                    <a:gd name="T1" fmla="*/ 9 h 9"/>
                    <a:gd name="T2" fmla="*/ 18 w 21"/>
                    <a:gd name="T3" fmla="*/ 8 h 9"/>
                    <a:gd name="T4" fmla="*/ 2 w 21"/>
                    <a:gd name="T5" fmla="*/ 4 h 9"/>
                    <a:gd name="T6" fmla="*/ 1 w 21"/>
                    <a:gd name="T7" fmla="*/ 1 h 9"/>
                    <a:gd name="T8" fmla="*/ 3 w 21"/>
                    <a:gd name="T9" fmla="*/ 0 h 9"/>
                    <a:gd name="T10" fmla="*/ 19 w 21"/>
                    <a:gd name="T11" fmla="*/ 4 h 9"/>
                    <a:gd name="T12" fmla="*/ 20 w 21"/>
                    <a:gd name="T13" fmla="*/ 7 h 9"/>
                    <a:gd name="T14" fmla="*/ 18 w 21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1" h="9">
                      <a:moveTo>
                        <a:pt x="18" y="9"/>
                      </a:moveTo>
                      <a:cubicBezTo>
                        <a:pt x="18" y="9"/>
                        <a:pt x="18" y="8"/>
                        <a:pt x="18" y="8"/>
                      </a:cubicBez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1" y="4"/>
                        <a:pt x="0" y="3"/>
                        <a:pt x="1" y="1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19" y="4"/>
                        <a:pt x="19" y="4"/>
                        <a:pt x="19" y="4"/>
                      </a:cubicBezTo>
                      <a:cubicBezTo>
                        <a:pt x="20" y="5"/>
                        <a:pt x="21" y="6"/>
                        <a:pt x="20" y="7"/>
                      </a:cubicBezTo>
                      <a:cubicBezTo>
                        <a:pt x="20" y="8"/>
                        <a:pt x="19" y="9"/>
                        <a:pt x="18" y="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 96">
                  <a:extLst>
                    <a:ext uri="{FF2B5EF4-FFF2-40B4-BE49-F238E27FC236}">
                      <a16:creationId xmlns:a16="http://schemas.microsoft.com/office/drawing/2014/main" xmlns="" id="{69E16C20-698E-4F4A-10B4-C99FFDCC27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258816" y="6215856"/>
                  <a:ext cx="33338" cy="30163"/>
                </a:xfrm>
                <a:custGeom>
                  <a:avLst/>
                  <a:gdLst>
                    <a:gd name="T0" fmla="*/ 15 w 17"/>
                    <a:gd name="T1" fmla="*/ 15 h 15"/>
                    <a:gd name="T2" fmla="*/ 13 w 17"/>
                    <a:gd name="T3" fmla="*/ 14 h 15"/>
                    <a:gd name="T4" fmla="*/ 1 w 17"/>
                    <a:gd name="T5" fmla="*/ 4 h 15"/>
                    <a:gd name="T6" fmla="*/ 1 w 17"/>
                    <a:gd name="T7" fmla="*/ 1 h 15"/>
                    <a:gd name="T8" fmla="*/ 4 w 17"/>
                    <a:gd name="T9" fmla="*/ 0 h 15"/>
                    <a:gd name="T10" fmla="*/ 16 w 17"/>
                    <a:gd name="T11" fmla="*/ 11 h 15"/>
                    <a:gd name="T12" fmla="*/ 16 w 17"/>
                    <a:gd name="T13" fmla="*/ 14 h 15"/>
                    <a:gd name="T14" fmla="*/ 15 w 17"/>
                    <a:gd name="T15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7" h="15">
                      <a:moveTo>
                        <a:pt x="15" y="15"/>
                      </a:moveTo>
                      <a:cubicBezTo>
                        <a:pt x="14" y="15"/>
                        <a:pt x="14" y="15"/>
                        <a:pt x="13" y="14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3"/>
                        <a:pt x="0" y="2"/>
                        <a:pt x="1" y="1"/>
                      </a:cubicBezTo>
                      <a:cubicBezTo>
                        <a:pt x="2" y="0"/>
                        <a:pt x="3" y="0"/>
                        <a:pt x="4" y="0"/>
                      </a:cubicBezTo>
                      <a:cubicBezTo>
                        <a:pt x="16" y="11"/>
                        <a:pt x="16" y="11"/>
                        <a:pt x="16" y="11"/>
                      </a:cubicBezTo>
                      <a:cubicBezTo>
                        <a:pt x="17" y="12"/>
                        <a:pt x="17" y="13"/>
                        <a:pt x="16" y="14"/>
                      </a:cubicBezTo>
                      <a:cubicBezTo>
                        <a:pt x="16" y="14"/>
                        <a:pt x="15" y="15"/>
                        <a:pt x="15" y="1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 97">
                  <a:extLst>
                    <a:ext uri="{FF2B5EF4-FFF2-40B4-BE49-F238E27FC236}">
                      <a16:creationId xmlns:a16="http://schemas.microsoft.com/office/drawing/2014/main" xmlns="" id="{00C8F124-6751-3947-5595-AA85F5AF31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163566" y="6142831"/>
                  <a:ext cx="20638" cy="39688"/>
                </a:xfrm>
                <a:custGeom>
                  <a:avLst/>
                  <a:gdLst>
                    <a:gd name="T0" fmla="*/ 9 w 11"/>
                    <a:gd name="T1" fmla="*/ 20 h 20"/>
                    <a:gd name="T2" fmla="*/ 7 w 11"/>
                    <a:gd name="T3" fmla="*/ 18 h 20"/>
                    <a:gd name="T4" fmla="*/ 0 w 11"/>
                    <a:gd name="T5" fmla="*/ 4 h 20"/>
                    <a:gd name="T6" fmla="*/ 1 w 11"/>
                    <a:gd name="T7" fmla="*/ 1 h 20"/>
                    <a:gd name="T8" fmla="*/ 4 w 11"/>
                    <a:gd name="T9" fmla="*/ 2 h 20"/>
                    <a:gd name="T10" fmla="*/ 11 w 11"/>
                    <a:gd name="T11" fmla="*/ 17 h 20"/>
                    <a:gd name="T12" fmla="*/ 10 w 11"/>
                    <a:gd name="T13" fmla="*/ 19 h 20"/>
                    <a:gd name="T14" fmla="*/ 9 w 11"/>
                    <a:gd name="T15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" h="20">
                      <a:moveTo>
                        <a:pt x="9" y="20"/>
                      </a:moveTo>
                      <a:cubicBezTo>
                        <a:pt x="8" y="20"/>
                        <a:pt x="7" y="19"/>
                        <a:pt x="7" y="18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3"/>
                        <a:pt x="0" y="1"/>
                        <a:pt x="1" y="1"/>
                      </a:cubicBezTo>
                      <a:cubicBezTo>
                        <a:pt x="2" y="0"/>
                        <a:pt x="4" y="1"/>
                        <a:pt x="4" y="2"/>
                      </a:cubicBezTo>
                      <a:cubicBezTo>
                        <a:pt x="11" y="17"/>
                        <a:pt x="11" y="17"/>
                        <a:pt x="11" y="17"/>
                      </a:cubicBezTo>
                      <a:cubicBezTo>
                        <a:pt x="11" y="18"/>
                        <a:pt x="11" y="19"/>
                        <a:pt x="10" y="19"/>
                      </a:cubicBezTo>
                      <a:cubicBezTo>
                        <a:pt x="9" y="20"/>
                        <a:pt x="9" y="20"/>
                        <a:pt x="9" y="2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4" name="Freeform 20">
                <a:extLst>
                  <a:ext uri="{FF2B5EF4-FFF2-40B4-BE49-F238E27FC236}">
                    <a16:creationId xmlns:a16="http://schemas.microsoft.com/office/drawing/2014/main" xmlns="" id="{D2B405BF-C244-676D-FFB8-C43BFC2DC4D2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13861" y="5300513"/>
                <a:ext cx="218643" cy="300579"/>
              </a:xfrm>
              <a:custGeom>
                <a:avLst/>
                <a:gdLst>
                  <a:gd name="T0" fmla="*/ 1338 w 1504"/>
                  <a:gd name="T1" fmla="*/ 492 h 2066"/>
                  <a:gd name="T2" fmla="*/ 212 w 1504"/>
                  <a:gd name="T3" fmla="*/ 537 h 2066"/>
                  <a:gd name="T4" fmla="*/ 167 w 1504"/>
                  <a:gd name="T5" fmla="*/ 245 h 2066"/>
                  <a:gd name="T6" fmla="*/ 1292 w 1504"/>
                  <a:gd name="T7" fmla="*/ 200 h 2066"/>
                  <a:gd name="T8" fmla="*/ 1338 w 1504"/>
                  <a:gd name="T9" fmla="*/ 492 h 2066"/>
                  <a:gd name="T10" fmla="*/ 1231 w 1504"/>
                  <a:gd name="T11" fmla="*/ 914 h 2066"/>
                  <a:gd name="T12" fmla="*/ 1231 w 1504"/>
                  <a:gd name="T13" fmla="*/ 700 h 2066"/>
                  <a:gd name="T14" fmla="*/ 1231 w 1504"/>
                  <a:gd name="T15" fmla="*/ 914 h 2066"/>
                  <a:gd name="T16" fmla="*/ 1231 w 1504"/>
                  <a:gd name="T17" fmla="*/ 1237 h 2066"/>
                  <a:gd name="T18" fmla="*/ 1231 w 1504"/>
                  <a:gd name="T19" fmla="*/ 1023 h 2066"/>
                  <a:gd name="T20" fmla="*/ 1231 w 1504"/>
                  <a:gd name="T21" fmla="*/ 1237 h 2066"/>
                  <a:gd name="T22" fmla="*/ 1231 w 1504"/>
                  <a:gd name="T23" fmla="*/ 1560 h 2066"/>
                  <a:gd name="T24" fmla="*/ 1231 w 1504"/>
                  <a:gd name="T25" fmla="*/ 1346 h 2066"/>
                  <a:gd name="T26" fmla="*/ 1231 w 1504"/>
                  <a:gd name="T27" fmla="*/ 1560 h 2066"/>
                  <a:gd name="T28" fmla="*/ 1231 w 1504"/>
                  <a:gd name="T29" fmla="*/ 1883 h 2066"/>
                  <a:gd name="T30" fmla="*/ 1231 w 1504"/>
                  <a:gd name="T31" fmla="*/ 1669 h 2066"/>
                  <a:gd name="T32" fmla="*/ 1231 w 1504"/>
                  <a:gd name="T33" fmla="*/ 1883 h 2066"/>
                  <a:gd name="T34" fmla="*/ 912 w 1504"/>
                  <a:gd name="T35" fmla="*/ 914 h 2066"/>
                  <a:gd name="T36" fmla="*/ 912 w 1504"/>
                  <a:gd name="T37" fmla="*/ 700 h 2066"/>
                  <a:gd name="T38" fmla="*/ 912 w 1504"/>
                  <a:gd name="T39" fmla="*/ 914 h 2066"/>
                  <a:gd name="T40" fmla="*/ 912 w 1504"/>
                  <a:gd name="T41" fmla="*/ 1237 h 2066"/>
                  <a:gd name="T42" fmla="*/ 912 w 1504"/>
                  <a:gd name="T43" fmla="*/ 1023 h 2066"/>
                  <a:gd name="T44" fmla="*/ 912 w 1504"/>
                  <a:gd name="T45" fmla="*/ 1237 h 2066"/>
                  <a:gd name="T46" fmla="*/ 912 w 1504"/>
                  <a:gd name="T47" fmla="*/ 1560 h 2066"/>
                  <a:gd name="T48" fmla="*/ 912 w 1504"/>
                  <a:gd name="T49" fmla="*/ 1346 h 2066"/>
                  <a:gd name="T50" fmla="*/ 912 w 1504"/>
                  <a:gd name="T51" fmla="*/ 1560 h 2066"/>
                  <a:gd name="T52" fmla="*/ 912 w 1504"/>
                  <a:gd name="T53" fmla="*/ 1883 h 2066"/>
                  <a:gd name="T54" fmla="*/ 912 w 1504"/>
                  <a:gd name="T55" fmla="*/ 1669 h 2066"/>
                  <a:gd name="T56" fmla="*/ 912 w 1504"/>
                  <a:gd name="T57" fmla="*/ 1883 h 2066"/>
                  <a:gd name="T58" fmla="*/ 593 w 1504"/>
                  <a:gd name="T59" fmla="*/ 914 h 2066"/>
                  <a:gd name="T60" fmla="*/ 593 w 1504"/>
                  <a:gd name="T61" fmla="*/ 700 h 2066"/>
                  <a:gd name="T62" fmla="*/ 593 w 1504"/>
                  <a:gd name="T63" fmla="*/ 914 h 2066"/>
                  <a:gd name="T64" fmla="*/ 593 w 1504"/>
                  <a:gd name="T65" fmla="*/ 1237 h 2066"/>
                  <a:gd name="T66" fmla="*/ 593 w 1504"/>
                  <a:gd name="T67" fmla="*/ 1023 h 2066"/>
                  <a:gd name="T68" fmla="*/ 593 w 1504"/>
                  <a:gd name="T69" fmla="*/ 1237 h 2066"/>
                  <a:gd name="T70" fmla="*/ 593 w 1504"/>
                  <a:gd name="T71" fmla="*/ 1560 h 2066"/>
                  <a:gd name="T72" fmla="*/ 593 w 1504"/>
                  <a:gd name="T73" fmla="*/ 1346 h 2066"/>
                  <a:gd name="T74" fmla="*/ 593 w 1504"/>
                  <a:gd name="T75" fmla="*/ 1560 h 2066"/>
                  <a:gd name="T76" fmla="*/ 593 w 1504"/>
                  <a:gd name="T77" fmla="*/ 1883 h 2066"/>
                  <a:gd name="T78" fmla="*/ 593 w 1504"/>
                  <a:gd name="T79" fmla="*/ 1669 h 2066"/>
                  <a:gd name="T80" fmla="*/ 593 w 1504"/>
                  <a:gd name="T81" fmla="*/ 1883 h 2066"/>
                  <a:gd name="T82" fmla="*/ 274 w 1504"/>
                  <a:gd name="T83" fmla="*/ 914 h 2066"/>
                  <a:gd name="T84" fmla="*/ 274 w 1504"/>
                  <a:gd name="T85" fmla="*/ 700 h 2066"/>
                  <a:gd name="T86" fmla="*/ 274 w 1504"/>
                  <a:gd name="T87" fmla="*/ 914 h 2066"/>
                  <a:gd name="T88" fmla="*/ 274 w 1504"/>
                  <a:gd name="T89" fmla="*/ 1237 h 2066"/>
                  <a:gd name="T90" fmla="*/ 274 w 1504"/>
                  <a:gd name="T91" fmla="*/ 1023 h 2066"/>
                  <a:gd name="T92" fmla="*/ 274 w 1504"/>
                  <a:gd name="T93" fmla="*/ 1237 h 2066"/>
                  <a:gd name="T94" fmla="*/ 274 w 1504"/>
                  <a:gd name="T95" fmla="*/ 1560 h 2066"/>
                  <a:gd name="T96" fmla="*/ 274 w 1504"/>
                  <a:gd name="T97" fmla="*/ 1346 h 2066"/>
                  <a:gd name="T98" fmla="*/ 274 w 1504"/>
                  <a:gd name="T99" fmla="*/ 1560 h 2066"/>
                  <a:gd name="T100" fmla="*/ 274 w 1504"/>
                  <a:gd name="T101" fmla="*/ 1883 h 2066"/>
                  <a:gd name="T102" fmla="*/ 274 w 1504"/>
                  <a:gd name="T103" fmla="*/ 1669 h 2066"/>
                  <a:gd name="T104" fmla="*/ 274 w 1504"/>
                  <a:gd name="T105" fmla="*/ 1883 h 2066"/>
                  <a:gd name="T106" fmla="*/ 1421 w 1504"/>
                  <a:gd name="T107" fmla="*/ 0 h 2066"/>
                  <a:gd name="T108" fmla="*/ 0 w 1504"/>
                  <a:gd name="T109" fmla="*/ 83 h 2066"/>
                  <a:gd name="T110" fmla="*/ 83 w 1504"/>
                  <a:gd name="T111" fmla="*/ 2066 h 2066"/>
                  <a:gd name="T112" fmla="*/ 1504 w 1504"/>
                  <a:gd name="T113" fmla="*/ 1983 h 2066"/>
                  <a:gd name="T114" fmla="*/ 1421 w 1504"/>
                  <a:gd name="T115" fmla="*/ 0 h 20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04" h="2066">
                    <a:moveTo>
                      <a:pt x="1338" y="492"/>
                    </a:moveTo>
                    <a:lnTo>
                      <a:pt x="1338" y="492"/>
                    </a:lnTo>
                    <a:cubicBezTo>
                      <a:pt x="1338" y="517"/>
                      <a:pt x="1317" y="537"/>
                      <a:pt x="1292" y="537"/>
                    </a:cubicBezTo>
                    <a:lnTo>
                      <a:pt x="212" y="537"/>
                    </a:lnTo>
                    <a:cubicBezTo>
                      <a:pt x="187" y="537"/>
                      <a:pt x="167" y="517"/>
                      <a:pt x="167" y="492"/>
                    </a:cubicBezTo>
                    <a:lnTo>
                      <a:pt x="167" y="245"/>
                    </a:lnTo>
                    <a:cubicBezTo>
                      <a:pt x="167" y="220"/>
                      <a:pt x="187" y="200"/>
                      <a:pt x="212" y="200"/>
                    </a:cubicBezTo>
                    <a:lnTo>
                      <a:pt x="1292" y="200"/>
                    </a:lnTo>
                    <a:cubicBezTo>
                      <a:pt x="1317" y="200"/>
                      <a:pt x="1338" y="220"/>
                      <a:pt x="1338" y="245"/>
                    </a:cubicBezTo>
                    <a:lnTo>
                      <a:pt x="1338" y="492"/>
                    </a:lnTo>
                    <a:close/>
                    <a:moveTo>
                      <a:pt x="1231" y="914"/>
                    </a:moveTo>
                    <a:lnTo>
                      <a:pt x="1231" y="914"/>
                    </a:lnTo>
                    <a:cubicBezTo>
                      <a:pt x="1172" y="914"/>
                      <a:pt x="1124" y="866"/>
                      <a:pt x="1124" y="807"/>
                    </a:cubicBezTo>
                    <a:cubicBezTo>
                      <a:pt x="1124" y="748"/>
                      <a:pt x="1172" y="700"/>
                      <a:pt x="1231" y="700"/>
                    </a:cubicBezTo>
                    <a:cubicBezTo>
                      <a:pt x="1290" y="700"/>
                      <a:pt x="1338" y="748"/>
                      <a:pt x="1338" y="807"/>
                    </a:cubicBezTo>
                    <a:cubicBezTo>
                      <a:pt x="1338" y="866"/>
                      <a:pt x="1290" y="914"/>
                      <a:pt x="1231" y="914"/>
                    </a:cubicBezTo>
                    <a:close/>
                    <a:moveTo>
                      <a:pt x="1231" y="1237"/>
                    </a:moveTo>
                    <a:lnTo>
                      <a:pt x="1231" y="1237"/>
                    </a:lnTo>
                    <a:cubicBezTo>
                      <a:pt x="1172" y="1237"/>
                      <a:pt x="1124" y="1189"/>
                      <a:pt x="1124" y="1130"/>
                    </a:cubicBezTo>
                    <a:cubicBezTo>
                      <a:pt x="1124" y="1071"/>
                      <a:pt x="1172" y="1023"/>
                      <a:pt x="1231" y="1023"/>
                    </a:cubicBezTo>
                    <a:cubicBezTo>
                      <a:pt x="1290" y="1023"/>
                      <a:pt x="1338" y="1071"/>
                      <a:pt x="1338" y="1130"/>
                    </a:cubicBezTo>
                    <a:cubicBezTo>
                      <a:pt x="1338" y="1189"/>
                      <a:pt x="1290" y="1237"/>
                      <a:pt x="1231" y="1237"/>
                    </a:cubicBezTo>
                    <a:close/>
                    <a:moveTo>
                      <a:pt x="1231" y="1560"/>
                    </a:moveTo>
                    <a:lnTo>
                      <a:pt x="1231" y="1560"/>
                    </a:lnTo>
                    <a:cubicBezTo>
                      <a:pt x="1172" y="1560"/>
                      <a:pt x="1124" y="1512"/>
                      <a:pt x="1124" y="1453"/>
                    </a:cubicBezTo>
                    <a:cubicBezTo>
                      <a:pt x="1124" y="1394"/>
                      <a:pt x="1172" y="1346"/>
                      <a:pt x="1231" y="1346"/>
                    </a:cubicBezTo>
                    <a:cubicBezTo>
                      <a:pt x="1290" y="1346"/>
                      <a:pt x="1338" y="1394"/>
                      <a:pt x="1338" y="1453"/>
                    </a:cubicBezTo>
                    <a:cubicBezTo>
                      <a:pt x="1338" y="1512"/>
                      <a:pt x="1290" y="1560"/>
                      <a:pt x="1231" y="1560"/>
                    </a:cubicBezTo>
                    <a:close/>
                    <a:moveTo>
                      <a:pt x="1231" y="1883"/>
                    </a:moveTo>
                    <a:lnTo>
                      <a:pt x="1231" y="1883"/>
                    </a:lnTo>
                    <a:cubicBezTo>
                      <a:pt x="1172" y="1883"/>
                      <a:pt x="1124" y="1835"/>
                      <a:pt x="1124" y="1776"/>
                    </a:cubicBezTo>
                    <a:cubicBezTo>
                      <a:pt x="1124" y="1717"/>
                      <a:pt x="1172" y="1669"/>
                      <a:pt x="1231" y="1669"/>
                    </a:cubicBezTo>
                    <a:cubicBezTo>
                      <a:pt x="1290" y="1669"/>
                      <a:pt x="1338" y="1717"/>
                      <a:pt x="1338" y="1776"/>
                    </a:cubicBezTo>
                    <a:cubicBezTo>
                      <a:pt x="1338" y="1835"/>
                      <a:pt x="1290" y="1883"/>
                      <a:pt x="1231" y="1883"/>
                    </a:cubicBezTo>
                    <a:close/>
                    <a:moveTo>
                      <a:pt x="912" y="914"/>
                    </a:moveTo>
                    <a:lnTo>
                      <a:pt x="912" y="914"/>
                    </a:lnTo>
                    <a:cubicBezTo>
                      <a:pt x="853" y="914"/>
                      <a:pt x="805" y="866"/>
                      <a:pt x="805" y="807"/>
                    </a:cubicBezTo>
                    <a:cubicBezTo>
                      <a:pt x="805" y="748"/>
                      <a:pt x="853" y="700"/>
                      <a:pt x="912" y="700"/>
                    </a:cubicBezTo>
                    <a:cubicBezTo>
                      <a:pt x="971" y="700"/>
                      <a:pt x="1019" y="748"/>
                      <a:pt x="1019" y="807"/>
                    </a:cubicBezTo>
                    <a:cubicBezTo>
                      <a:pt x="1019" y="866"/>
                      <a:pt x="971" y="914"/>
                      <a:pt x="912" y="914"/>
                    </a:cubicBezTo>
                    <a:close/>
                    <a:moveTo>
                      <a:pt x="912" y="1237"/>
                    </a:moveTo>
                    <a:lnTo>
                      <a:pt x="912" y="1237"/>
                    </a:lnTo>
                    <a:cubicBezTo>
                      <a:pt x="853" y="1237"/>
                      <a:pt x="805" y="1189"/>
                      <a:pt x="805" y="1130"/>
                    </a:cubicBezTo>
                    <a:cubicBezTo>
                      <a:pt x="805" y="1071"/>
                      <a:pt x="853" y="1023"/>
                      <a:pt x="912" y="1023"/>
                    </a:cubicBezTo>
                    <a:cubicBezTo>
                      <a:pt x="971" y="1023"/>
                      <a:pt x="1019" y="1071"/>
                      <a:pt x="1019" y="1130"/>
                    </a:cubicBezTo>
                    <a:cubicBezTo>
                      <a:pt x="1019" y="1189"/>
                      <a:pt x="971" y="1237"/>
                      <a:pt x="912" y="1237"/>
                    </a:cubicBezTo>
                    <a:close/>
                    <a:moveTo>
                      <a:pt x="912" y="1560"/>
                    </a:moveTo>
                    <a:lnTo>
                      <a:pt x="912" y="1560"/>
                    </a:lnTo>
                    <a:cubicBezTo>
                      <a:pt x="853" y="1560"/>
                      <a:pt x="805" y="1512"/>
                      <a:pt x="805" y="1453"/>
                    </a:cubicBezTo>
                    <a:cubicBezTo>
                      <a:pt x="805" y="1394"/>
                      <a:pt x="853" y="1346"/>
                      <a:pt x="912" y="1346"/>
                    </a:cubicBezTo>
                    <a:cubicBezTo>
                      <a:pt x="971" y="1346"/>
                      <a:pt x="1019" y="1394"/>
                      <a:pt x="1019" y="1453"/>
                    </a:cubicBezTo>
                    <a:cubicBezTo>
                      <a:pt x="1019" y="1512"/>
                      <a:pt x="971" y="1560"/>
                      <a:pt x="912" y="1560"/>
                    </a:cubicBezTo>
                    <a:close/>
                    <a:moveTo>
                      <a:pt x="912" y="1883"/>
                    </a:moveTo>
                    <a:lnTo>
                      <a:pt x="912" y="1883"/>
                    </a:lnTo>
                    <a:cubicBezTo>
                      <a:pt x="853" y="1883"/>
                      <a:pt x="805" y="1835"/>
                      <a:pt x="805" y="1776"/>
                    </a:cubicBezTo>
                    <a:cubicBezTo>
                      <a:pt x="805" y="1717"/>
                      <a:pt x="853" y="1669"/>
                      <a:pt x="912" y="1669"/>
                    </a:cubicBezTo>
                    <a:cubicBezTo>
                      <a:pt x="971" y="1669"/>
                      <a:pt x="1019" y="1717"/>
                      <a:pt x="1019" y="1776"/>
                    </a:cubicBezTo>
                    <a:cubicBezTo>
                      <a:pt x="1019" y="1835"/>
                      <a:pt x="971" y="1883"/>
                      <a:pt x="912" y="1883"/>
                    </a:cubicBezTo>
                    <a:close/>
                    <a:moveTo>
                      <a:pt x="593" y="914"/>
                    </a:moveTo>
                    <a:lnTo>
                      <a:pt x="593" y="914"/>
                    </a:lnTo>
                    <a:cubicBezTo>
                      <a:pt x="534" y="914"/>
                      <a:pt x="486" y="866"/>
                      <a:pt x="486" y="807"/>
                    </a:cubicBezTo>
                    <a:cubicBezTo>
                      <a:pt x="486" y="748"/>
                      <a:pt x="534" y="700"/>
                      <a:pt x="593" y="700"/>
                    </a:cubicBezTo>
                    <a:cubicBezTo>
                      <a:pt x="652" y="700"/>
                      <a:pt x="700" y="748"/>
                      <a:pt x="700" y="807"/>
                    </a:cubicBezTo>
                    <a:cubicBezTo>
                      <a:pt x="700" y="866"/>
                      <a:pt x="652" y="914"/>
                      <a:pt x="593" y="914"/>
                    </a:cubicBezTo>
                    <a:close/>
                    <a:moveTo>
                      <a:pt x="593" y="1237"/>
                    </a:moveTo>
                    <a:lnTo>
                      <a:pt x="593" y="1237"/>
                    </a:lnTo>
                    <a:cubicBezTo>
                      <a:pt x="534" y="1237"/>
                      <a:pt x="486" y="1189"/>
                      <a:pt x="486" y="1130"/>
                    </a:cubicBezTo>
                    <a:cubicBezTo>
                      <a:pt x="486" y="1071"/>
                      <a:pt x="534" y="1023"/>
                      <a:pt x="593" y="1023"/>
                    </a:cubicBezTo>
                    <a:cubicBezTo>
                      <a:pt x="652" y="1023"/>
                      <a:pt x="700" y="1071"/>
                      <a:pt x="700" y="1130"/>
                    </a:cubicBezTo>
                    <a:cubicBezTo>
                      <a:pt x="700" y="1189"/>
                      <a:pt x="652" y="1237"/>
                      <a:pt x="593" y="1237"/>
                    </a:cubicBezTo>
                    <a:close/>
                    <a:moveTo>
                      <a:pt x="593" y="1560"/>
                    </a:moveTo>
                    <a:lnTo>
                      <a:pt x="593" y="1560"/>
                    </a:lnTo>
                    <a:cubicBezTo>
                      <a:pt x="534" y="1560"/>
                      <a:pt x="486" y="1512"/>
                      <a:pt x="486" y="1453"/>
                    </a:cubicBezTo>
                    <a:cubicBezTo>
                      <a:pt x="486" y="1394"/>
                      <a:pt x="534" y="1346"/>
                      <a:pt x="593" y="1346"/>
                    </a:cubicBezTo>
                    <a:cubicBezTo>
                      <a:pt x="652" y="1346"/>
                      <a:pt x="700" y="1394"/>
                      <a:pt x="700" y="1453"/>
                    </a:cubicBezTo>
                    <a:cubicBezTo>
                      <a:pt x="700" y="1512"/>
                      <a:pt x="652" y="1560"/>
                      <a:pt x="593" y="1560"/>
                    </a:cubicBezTo>
                    <a:close/>
                    <a:moveTo>
                      <a:pt x="593" y="1883"/>
                    </a:moveTo>
                    <a:lnTo>
                      <a:pt x="593" y="1883"/>
                    </a:lnTo>
                    <a:cubicBezTo>
                      <a:pt x="534" y="1883"/>
                      <a:pt x="486" y="1835"/>
                      <a:pt x="486" y="1776"/>
                    </a:cubicBezTo>
                    <a:cubicBezTo>
                      <a:pt x="486" y="1717"/>
                      <a:pt x="534" y="1669"/>
                      <a:pt x="593" y="1669"/>
                    </a:cubicBezTo>
                    <a:cubicBezTo>
                      <a:pt x="652" y="1669"/>
                      <a:pt x="700" y="1717"/>
                      <a:pt x="700" y="1776"/>
                    </a:cubicBezTo>
                    <a:cubicBezTo>
                      <a:pt x="700" y="1835"/>
                      <a:pt x="652" y="1883"/>
                      <a:pt x="593" y="1883"/>
                    </a:cubicBezTo>
                    <a:close/>
                    <a:moveTo>
                      <a:pt x="274" y="914"/>
                    </a:moveTo>
                    <a:lnTo>
                      <a:pt x="274" y="914"/>
                    </a:lnTo>
                    <a:cubicBezTo>
                      <a:pt x="215" y="914"/>
                      <a:pt x="167" y="866"/>
                      <a:pt x="167" y="807"/>
                    </a:cubicBezTo>
                    <a:cubicBezTo>
                      <a:pt x="167" y="748"/>
                      <a:pt x="215" y="700"/>
                      <a:pt x="274" y="700"/>
                    </a:cubicBezTo>
                    <a:cubicBezTo>
                      <a:pt x="333" y="700"/>
                      <a:pt x="381" y="748"/>
                      <a:pt x="381" y="807"/>
                    </a:cubicBezTo>
                    <a:cubicBezTo>
                      <a:pt x="381" y="866"/>
                      <a:pt x="333" y="914"/>
                      <a:pt x="274" y="914"/>
                    </a:cubicBezTo>
                    <a:close/>
                    <a:moveTo>
                      <a:pt x="274" y="1237"/>
                    </a:moveTo>
                    <a:lnTo>
                      <a:pt x="274" y="1237"/>
                    </a:lnTo>
                    <a:cubicBezTo>
                      <a:pt x="215" y="1237"/>
                      <a:pt x="167" y="1189"/>
                      <a:pt x="167" y="1130"/>
                    </a:cubicBezTo>
                    <a:cubicBezTo>
                      <a:pt x="167" y="1071"/>
                      <a:pt x="215" y="1023"/>
                      <a:pt x="274" y="1023"/>
                    </a:cubicBezTo>
                    <a:cubicBezTo>
                      <a:pt x="333" y="1023"/>
                      <a:pt x="381" y="1071"/>
                      <a:pt x="381" y="1130"/>
                    </a:cubicBezTo>
                    <a:cubicBezTo>
                      <a:pt x="381" y="1189"/>
                      <a:pt x="333" y="1237"/>
                      <a:pt x="274" y="1237"/>
                    </a:cubicBezTo>
                    <a:close/>
                    <a:moveTo>
                      <a:pt x="274" y="1560"/>
                    </a:moveTo>
                    <a:lnTo>
                      <a:pt x="274" y="1560"/>
                    </a:lnTo>
                    <a:cubicBezTo>
                      <a:pt x="215" y="1560"/>
                      <a:pt x="167" y="1512"/>
                      <a:pt x="167" y="1453"/>
                    </a:cubicBezTo>
                    <a:cubicBezTo>
                      <a:pt x="167" y="1394"/>
                      <a:pt x="215" y="1346"/>
                      <a:pt x="274" y="1346"/>
                    </a:cubicBezTo>
                    <a:cubicBezTo>
                      <a:pt x="333" y="1346"/>
                      <a:pt x="381" y="1394"/>
                      <a:pt x="381" y="1453"/>
                    </a:cubicBezTo>
                    <a:cubicBezTo>
                      <a:pt x="381" y="1512"/>
                      <a:pt x="333" y="1560"/>
                      <a:pt x="274" y="1560"/>
                    </a:cubicBezTo>
                    <a:close/>
                    <a:moveTo>
                      <a:pt x="274" y="1883"/>
                    </a:moveTo>
                    <a:lnTo>
                      <a:pt x="274" y="1883"/>
                    </a:lnTo>
                    <a:cubicBezTo>
                      <a:pt x="215" y="1883"/>
                      <a:pt x="167" y="1835"/>
                      <a:pt x="167" y="1776"/>
                    </a:cubicBezTo>
                    <a:cubicBezTo>
                      <a:pt x="167" y="1717"/>
                      <a:pt x="215" y="1669"/>
                      <a:pt x="274" y="1669"/>
                    </a:cubicBezTo>
                    <a:cubicBezTo>
                      <a:pt x="333" y="1669"/>
                      <a:pt x="381" y="1717"/>
                      <a:pt x="381" y="1776"/>
                    </a:cubicBezTo>
                    <a:cubicBezTo>
                      <a:pt x="381" y="1835"/>
                      <a:pt x="333" y="1883"/>
                      <a:pt x="274" y="1883"/>
                    </a:cubicBezTo>
                    <a:close/>
                    <a:moveTo>
                      <a:pt x="1421" y="0"/>
                    </a:moveTo>
                    <a:lnTo>
                      <a:pt x="1421" y="0"/>
                    </a:lnTo>
                    <a:lnTo>
                      <a:pt x="83" y="0"/>
                    </a:lnTo>
                    <a:cubicBezTo>
                      <a:pt x="37" y="0"/>
                      <a:pt x="0" y="37"/>
                      <a:pt x="0" y="83"/>
                    </a:cubicBezTo>
                    <a:lnTo>
                      <a:pt x="0" y="1983"/>
                    </a:lnTo>
                    <a:cubicBezTo>
                      <a:pt x="0" y="2029"/>
                      <a:pt x="37" y="2066"/>
                      <a:pt x="83" y="2066"/>
                    </a:cubicBezTo>
                    <a:lnTo>
                      <a:pt x="1421" y="2066"/>
                    </a:lnTo>
                    <a:cubicBezTo>
                      <a:pt x="1467" y="2066"/>
                      <a:pt x="1504" y="2029"/>
                      <a:pt x="1504" y="1983"/>
                    </a:cubicBezTo>
                    <a:lnTo>
                      <a:pt x="1504" y="83"/>
                    </a:lnTo>
                    <a:cubicBezTo>
                      <a:pt x="1504" y="37"/>
                      <a:pt x="1467" y="0"/>
                      <a:pt x="142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xmlns="" id="{0D2DA0B5-A5A5-A099-8C6A-182A7B6EBDAF}"/>
                  </a:ext>
                </a:extLst>
              </p:cNvPr>
              <p:cNvSpPr txBox="1"/>
              <p:nvPr/>
            </p:nvSpPr>
            <p:spPr>
              <a:xfrm>
                <a:off x="1615824" y="2100847"/>
                <a:ext cx="179456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QoLISSY</a:t>
                </a:r>
                <a:r>
                  <a:rPr kumimoji="0" lang="en-GB" sz="14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1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76" name="Graphic 75">
                <a:extLst>
                  <a:ext uri="{FF2B5EF4-FFF2-40B4-BE49-F238E27FC236}">
                    <a16:creationId xmlns:a16="http://schemas.microsoft.com/office/drawing/2014/main" xmlns="" id="{70CDE186-93FB-1B8B-0500-32B3C29792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xmlns="" r:embed="rId12"/>
                  </a:ext>
                </a:extLst>
              </a:blip>
              <a:stretch>
                <a:fillRect/>
              </a:stretch>
            </p:blipFill>
            <p:spPr>
              <a:xfrm>
                <a:off x="1681489" y="2963326"/>
                <a:ext cx="249069" cy="308371"/>
              </a:xfrm>
              <a:prstGeom prst="rect">
                <a:avLst/>
              </a:prstGeom>
            </p:spPr>
          </p:pic>
          <p:pic>
            <p:nvPicPr>
              <p:cNvPr id="77" name="Graphic 76">
                <a:extLst>
                  <a:ext uri="{FF2B5EF4-FFF2-40B4-BE49-F238E27FC236}">
                    <a16:creationId xmlns:a16="http://schemas.microsoft.com/office/drawing/2014/main" xmlns="" id="{C8D9405B-9D92-C200-384D-78629DC7DF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xmlns="" r:embed="rId14"/>
                  </a:ext>
                </a:extLst>
              </a:blip>
              <a:stretch>
                <a:fillRect/>
              </a:stretch>
            </p:blipFill>
            <p:spPr>
              <a:xfrm>
                <a:off x="1675984" y="3775872"/>
                <a:ext cx="294967" cy="317657"/>
              </a:xfrm>
              <a:prstGeom prst="rect">
                <a:avLst/>
              </a:prstGeom>
            </p:spPr>
          </p:pic>
        </p:grp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xmlns="" id="{1A7CD74B-E942-EA6D-CBEA-0F704C67CD8B}"/>
                </a:ext>
              </a:extLst>
            </p:cNvPr>
            <p:cNvSpPr/>
            <p:nvPr/>
          </p:nvSpPr>
          <p:spPr>
            <a:xfrm>
              <a:off x="3658448" y="1945242"/>
              <a:ext cx="578679" cy="1634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11004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light in the corner of a black background&#10;&#10;Description automatically generated">
            <a:extLst>
              <a:ext uri="{FF2B5EF4-FFF2-40B4-BE49-F238E27FC236}">
                <a16:creationId xmlns:a16="http://schemas.microsoft.com/office/drawing/2014/main" xmlns="" id="{B6911603-AE08-4CE2-55A4-1C70170409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987723" y="1560786"/>
            <a:ext cx="1048255" cy="3675003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xmlns="" id="{4AA44DE8-B8C1-2D52-8D2E-1BB5B6CC5FC5}"/>
              </a:ext>
            </a:extLst>
          </p:cNvPr>
          <p:cNvSpPr/>
          <p:nvPr/>
        </p:nvSpPr>
        <p:spPr>
          <a:xfrm>
            <a:off x="744751" y="1451839"/>
            <a:ext cx="2664000" cy="49298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stema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Órgão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asse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xmlns="" id="{F2547BAD-2800-2494-8EC1-AF3D16DC9880}"/>
              </a:ext>
            </a:extLst>
          </p:cNvPr>
          <p:cNvSpPr/>
          <p:nvPr/>
        </p:nvSpPr>
        <p:spPr>
          <a:xfrm>
            <a:off x="3509805" y="1451839"/>
            <a:ext cx="2664000" cy="492982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ito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um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xmlns="" id="{90735234-6ACD-59B5-D001-C14FA954B897}"/>
              </a:ext>
            </a:extLst>
          </p:cNvPr>
          <p:cNvSpPr/>
          <p:nvPr/>
        </p:nvSpPr>
        <p:spPr>
          <a:xfrm>
            <a:off x="6297781" y="1451839"/>
            <a:ext cx="2664000" cy="49298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um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BAA0307-C476-58E7-8414-EC6002C38E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971" y="297428"/>
            <a:ext cx="11198101" cy="914400"/>
          </a:xfrm>
        </p:spPr>
        <p:txBody>
          <a:bodyPr anchor="t"/>
          <a:lstStyle/>
          <a:p>
            <a:r>
              <a:rPr kumimoji="1" lang="pt-BR" sz="2800" b="1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urança: </a:t>
            </a:r>
            <a:r>
              <a:rPr kumimoji="1" lang="pt-BR" sz="2800" b="1" dirty="0"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ensaio clínico cumulativo e experiência no mundo real com vosoritida em </a:t>
            </a:r>
            <a:r>
              <a:rPr kumimoji="1" lang="pt-BR" sz="2800" b="1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6.000 </a:t>
            </a:r>
            <a:r>
              <a:rPr kumimoji="1" lang="pt-BR" sz="2800" b="1" dirty="0">
                <a:gradFill flip="none" rotWithShape="1">
                  <a:gsLst>
                    <a:gs pos="100000">
                      <a:srgbClr val="343C98"/>
                    </a:gs>
                    <a:gs pos="0">
                      <a:srgbClr val="A9208E"/>
                    </a:gs>
                  </a:gsLst>
                  <a:lin ang="108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pessoas-ano de acompanhamento</a:t>
            </a:r>
            <a:endParaRPr kumimoji="1" lang="en-GB" sz="2800" b="1" dirty="0">
              <a:gradFill flip="none" rotWithShape="1">
                <a:gsLst>
                  <a:gs pos="100000">
                    <a:srgbClr val="343C98"/>
                  </a:gs>
                  <a:gs pos="0">
                    <a:srgbClr val="A9208E"/>
                  </a:gs>
                </a:gsLst>
                <a:lin ang="10800000" scaled="1"/>
                <a:tileRect/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C90A7ACB-DEBC-E1DB-C3D9-C9DCD7E7B113}"/>
              </a:ext>
            </a:extLst>
          </p:cNvPr>
          <p:cNvSpPr txBox="1"/>
          <p:nvPr/>
        </p:nvSpPr>
        <p:spPr>
          <a:xfrm>
            <a:off x="9547590" y="1924943"/>
            <a:ext cx="2300279" cy="318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pt-BR" sz="1400" kern="0" dirty="0">
                <a:solidFill>
                  <a:srgbClr val="505050"/>
                </a:solidFill>
                <a:latin typeface="Arial" panose="020B0604020202020204"/>
              </a:rPr>
              <a:t>A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osoritida 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i bem tolerada em todos os ensaios clínicos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 os EAs mais comuns foram reações leves e transitórias no local da injeção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 perfil de segurança relatado no cenário do 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ndo real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é 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istente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m o observado em ensaios clínicos</a:t>
            </a:r>
            <a:r>
              <a:rPr kumimoji="0" lang="pt-BR" sz="1400" b="0" i="0" u="none" strike="noStrike" kern="0" cap="none" spc="0" normalizeH="0" baseline="3000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–9</a:t>
            </a:r>
            <a:endParaRPr kumimoji="0" lang="en-GB" sz="1400" b="0" i="0" u="none" strike="noStrike" kern="0" cap="none" spc="0" normalizeH="0" baseline="3000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xmlns="" id="{4438AA75-6055-942F-338F-DA6317E5B8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7679934"/>
              </p:ext>
            </p:extLst>
          </p:nvPr>
        </p:nvGraphicFramePr>
        <p:xfrm>
          <a:off x="752663" y="1893925"/>
          <a:ext cx="8212433" cy="31333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70608">
                  <a:extLst>
                    <a:ext uri="{9D8B030D-6E8A-4147-A177-3AD203B41FA5}">
                      <a16:colId xmlns:a16="http://schemas.microsoft.com/office/drawing/2014/main" xmlns="" val="2292424838"/>
                    </a:ext>
                  </a:extLst>
                </a:gridCol>
                <a:gridCol w="2770608">
                  <a:extLst>
                    <a:ext uri="{9D8B030D-6E8A-4147-A177-3AD203B41FA5}">
                      <a16:colId xmlns:a16="http://schemas.microsoft.com/office/drawing/2014/main" xmlns="" val="2775851362"/>
                    </a:ext>
                  </a:extLst>
                </a:gridCol>
                <a:gridCol w="2671217">
                  <a:extLst>
                    <a:ext uri="{9D8B030D-6E8A-4147-A177-3AD203B41FA5}">
                      <a16:colId xmlns:a16="http://schemas.microsoft.com/office/drawing/2014/main" xmlns="" val="1816843949"/>
                    </a:ext>
                  </a:extLst>
                </a:gridCol>
              </a:tblGrid>
              <a:tr h="831745">
                <a:tc>
                  <a:txBody>
                    <a:bodyPr/>
                    <a:lstStyle/>
                    <a:p>
                      <a:pPr algn="l"/>
                      <a:r>
                        <a:rPr lang="en-GB" sz="1400" dirty="0" err="1"/>
                        <a:t>Distúrbio</a:t>
                      </a:r>
                      <a:r>
                        <a:rPr lang="en-GB" sz="1400" dirty="0"/>
                        <a:t> no Sistema </a:t>
                      </a:r>
                      <a:r>
                        <a:rPr lang="en-GB" sz="1400" dirty="0" err="1"/>
                        <a:t>Nervoso</a:t>
                      </a:r>
                      <a:r>
                        <a:rPr lang="en-GB" sz="1400" dirty="0"/>
                        <a:t> Centra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/>
                        <a:t>Tontura</a:t>
                      </a:r>
                      <a:endParaRPr lang="en-GB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21416976"/>
                  </a:ext>
                </a:extLst>
              </a:tr>
              <a:tr h="570826">
                <a:tc>
                  <a:txBody>
                    <a:bodyPr/>
                    <a:lstStyle/>
                    <a:p>
                      <a:pPr algn="l"/>
                      <a:r>
                        <a:rPr lang="en-GB" sz="1400" dirty="0" err="1"/>
                        <a:t>Distúrbio</a:t>
                      </a:r>
                      <a:r>
                        <a:rPr lang="en-GB" sz="1400" dirty="0"/>
                        <a:t> Vascula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/>
                        <a:t>Hipotensão</a:t>
                      </a:r>
                      <a:endParaRPr lang="en-GB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23745455"/>
                  </a:ext>
                </a:extLst>
              </a:tr>
              <a:tr h="570826">
                <a:tc>
                  <a:txBody>
                    <a:bodyPr/>
                    <a:lstStyle/>
                    <a:p>
                      <a:pPr algn="l"/>
                      <a:r>
                        <a:rPr lang="en-GB" sz="1400" dirty="0" err="1"/>
                        <a:t>Distúrbio</a:t>
                      </a:r>
                      <a:r>
                        <a:rPr lang="en-GB" sz="1400" dirty="0"/>
                        <a:t> Gastrointestina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/>
                        <a:t>Vômito</a:t>
                      </a:r>
                      <a:endParaRPr lang="en-GB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/>
                        <a:t>Náusea</a:t>
                      </a:r>
                      <a:endParaRPr lang="en-GB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30689114"/>
                  </a:ext>
                </a:extLst>
              </a:tr>
              <a:tr h="589153">
                <a:tc>
                  <a:txBody>
                    <a:bodyPr/>
                    <a:lstStyle/>
                    <a:p>
                      <a:pPr algn="l"/>
                      <a:r>
                        <a:rPr lang="pt-BR" sz="1400" dirty="0"/>
                        <a:t>Distúrbios gerais e condições do local de administração</a:t>
                      </a:r>
                      <a:endParaRPr lang="en-GB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/>
                        <a:t>Reação</a:t>
                      </a:r>
                      <a:r>
                        <a:rPr lang="en-GB" sz="1400" dirty="0"/>
                        <a:t> no local da </a:t>
                      </a:r>
                      <a:r>
                        <a:rPr lang="en-GB" sz="1400" dirty="0" err="1"/>
                        <a:t>injeção</a:t>
                      </a:r>
                      <a:r>
                        <a:rPr lang="en-GB" sz="1400" baseline="30000" dirty="0"/>
                        <a:t>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Fadig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72854825"/>
                  </a:ext>
                </a:extLst>
              </a:tr>
              <a:tr h="570826">
                <a:tc>
                  <a:txBody>
                    <a:bodyPr/>
                    <a:lstStyle/>
                    <a:p>
                      <a:pPr algn="l"/>
                      <a:r>
                        <a:rPr lang="en-GB" sz="1400" dirty="0" err="1"/>
                        <a:t>Investigações</a:t>
                      </a:r>
                      <a:endParaRPr lang="en-GB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/>
                        <a:t>Aumento</a:t>
                      </a:r>
                      <a:r>
                        <a:rPr lang="en-GB" sz="1400" dirty="0"/>
                        <a:t> </a:t>
                      </a:r>
                      <a:r>
                        <a:rPr lang="en-GB" sz="1400" dirty="0" err="1"/>
                        <a:t>na</a:t>
                      </a:r>
                      <a:r>
                        <a:rPr lang="en-GB" sz="1400" dirty="0"/>
                        <a:t> </a:t>
                      </a:r>
                      <a:r>
                        <a:rPr lang="en-GB" sz="1400" dirty="0" err="1"/>
                        <a:t>Fosfatase</a:t>
                      </a:r>
                      <a:r>
                        <a:rPr lang="en-GB" sz="1400" dirty="0"/>
                        <a:t> </a:t>
                      </a:r>
                      <a:r>
                        <a:rPr lang="en-GB" sz="1400" dirty="0" err="1"/>
                        <a:t>Alcalina</a:t>
                      </a:r>
                      <a:endParaRPr lang="en-GB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12098906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2BFADFDD-479B-A670-7D1A-93550EE8F854}"/>
              </a:ext>
            </a:extLst>
          </p:cNvPr>
          <p:cNvSpPr txBox="1"/>
          <p:nvPr/>
        </p:nvSpPr>
        <p:spPr>
          <a:xfrm>
            <a:off x="760575" y="5027303"/>
            <a:ext cx="866659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Es listed by MedDRA system organ class and by frequency. Frequencies defined as very common (≥1/10); common (≥1/100 to &lt;1/10); uncommon (≥1/1,000 to &lt;1/100); rare (≥1/10,000 to &lt;1/1,000); very rare (&lt;1/10,000); not known (cannot be estimated from available data). Within each frequency grouping, AEs are presented in order of decreasing seriousness. *Hypotension includes both asymptomatic and symptomatic adverse events; events of hypotension were self-limiting and of no major clinical consequence. </a:t>
            </a:r>
            <a:r>
              <a:rPr kumimoji="0" lang="en-GB" sz="600" b="0" i="0" u="none" strike="noStrike" kern="1200" cap="none" spc="0" normalizeH="0" baseline="3000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†</a:t>
            </a: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jection site reactions include the preferred terms: injection site erythema, injection site reaction, injection site swelling, injection site urticaria, injection site pain, injection site bruising, injection site pruritus, injection site </a:t>
            </a:r>
            <a:r>
              <a:rPr kumimoji="0" lang="en-GB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emorrhIdade</a:t>
            </a: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injection site discolouration and injection site </a:t>
            </a:r>
            <a:r>
              <a:rPr kumimoji="0" lang="en-GB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uração</a:t>
            </a: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117A1BDC-68FE-76F8-9BD3-816D116FCBEE}"/>
              </a:ext>
            </a:extLst>
          </p:cNvPr>
          <p:cNvSpPr txBox="1"/>
          <p:nvPr/>
        </p:nvSpPr>
        <p:spPr>
          <a:xfrm>
            <a:off x="440493" y="5559187"/>
            <a:ext cx="9820130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AE, adverse event; MedDRA, Medical Dictionary for Regulatory Activiti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1. Savarirayan R </a:t>
            </a:r>
            <a:r>
              <a:rPr kumimoji="0" lang="da-DK" sz="800" b="0" i="1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et al. N Engl J Med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2019;381:25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–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35; 2. Hoover-Fong J </a:t>
            </a:r>
            <a:r>
              <a:rPr kumimoji="0" lang="da-DK" sz="800" b="0" i="1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et al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Poster presented at: Annual Clinical Genetics Meeting of the American College of Medical Genetics and Genomics; 13-16 April 2021; 3. Savarirayan R </a:t>
            </a:r>
            <a:r>
              <a:rPr kumimoji="0" lang="da-DK" sz="800" b="0" i="1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et al. Lancet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 2020;396:684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–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92;</a:t>
            </a:r>
            <a:b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</a:b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4. Savarirayan R </a:t>
            </a:r>
            <a:r>
              <a:rPr kumimoji="0" lang="da-DK" sz="800" b="0" i="1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et al. Genet Med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2021;23:2443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–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7; 5. Savarirayan R </a:t>
            </a:r>
            <a:r>
              <a:rPr kumimoji="0" lang="da-DK" sz="800" b="0" i="1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et al. Lancet Child Adolesc Health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2024;8:40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–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50; 6. VOXZOGO® (vosoritide) US Prescribing information. Available at: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accessdata.fda.gov/drugsatfda_docs/label/2021/214938s000lbl.pdf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/>
            </a:r>
            <a:b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</a:b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(accessed July 2024); 6. VOXZOGO® (vosoritide) Summary of Product Characteristics. Available at: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ema.europa.eu/en/documents/product-information/voxzogo-epar-product-information_en.pdf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 (accessed July 2024); 7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rmier-Daire V,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t al.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resented at ESPE 2023, The Hague, Netherlands, September 21–23, 2023; 8. Kunkel P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t a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Presented at ESPE 2023, The Hague, Netherlands, September 21–23, 2023; 9. Pimenta JM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t a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49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Presented at ESPE 2023, The Hague, Netherlands, September 21–23, 2023 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505050">
                  <a:lumMod val="49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74986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.8|10.3|5.7|3.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Office Theme">
  <a:themeElements>
    <a:clrScheme name="Custom 28">
      <a:dk1>
        <a:srgbClr val="505050"/>
      </a:dk1>
      <a:lt1>
        <a:srgbClr val="FFFFFF"/>
      </a:lt1>
      <a:dk2>
        <a:srgbClr val="28509C"/>
      </a:dk2>
      <a:lt2>
        <a:srgbClr val="A0A0A0"/>
      </a:lt2>
      <a:accent1>
        <a:srgbClr val="A9208E"/>
      </a:accent1>
      <a:accent2>
        <a:srgbClr val="ED037C"/>
      </a:accent2>
      <a:accent3>
        <a:srgbClr val="F26530"/>
      </a:accent3>
      <a:accent4>
        <a:srgbClr val="ED1849"/>
      </a:accent4>
      <a:accent5>
        <a:srgbClr val="343C98"/>
      </a:accent5>
      <a:accent6>
        <a:srgbClr val="002E56"/>
      </a:accent6>
      <a:hlink>
        <a:srgbClr val="343C98"/>
      </a:hlink>
      <a:folHlink>
        <a:srgbClr val="A9208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Updated 2023 GTH BH" id="{D7D8E229-0581-4D1C-ADC6-1F2E15DE0CDE}" vid="{7F90994A-5DBE-40DB-BA53-5084202539BD}"/>
    </a:ext>
  </a:extLst>
</a:theme>
</file>

<file path=ppt/theme/theme2.xml><?xml version="1.0" encoding="utf-8"?>
<a:theme xmlns:a="http://schemas.openxmlformats.org/drawingml/2006/main" name="1_Global Medical Affairs">
  <a:themeElements>
    <a:clrScheme name="Biomari1">
      <a:dk1>
        <a:srgbClr val="000000"/>
      </a:dk1>
      <a:lt1>
        <a:sysClr val="window" lastClr="FFFFFF"/>
      </a:lt1>
      <a:dk2>
        <a:srgbClr val="002E56"/>
      </a:dk2>
      <a:lt2>
        <a:srgbClr val="F2F2F2"/>
      </a:lt2>
      <a:accent1>
        <a:srgbClr val="00509C"/>
      </a:accent1>
      <a:accent2>
        <a:srgbClr val="EE304E"/>
      </a:accent2>
      <a:accent3>
        <a:srgbClr val="A9218E"/>
      </a:accent3>
      <a:accent4>
        <a:srgbClr val="F26631"/>
      </a:accent4>
      <a:accent5>
        <a:srgbClr val="353D98"/>
      </a:accent5>
      <a:accent6>
        <a:srgbClr val="646464"/>
      </a:accent6>
      <a:hlink>
        <a:srgbClr val="002E56"/>
      </a:hlink>
      <a:folHlink>
        <a:srgbClr val="6464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/>
      <a:bodyPr wrap="none" rtlCol="0">
        <a:spAutoFit/>
      </a:bodyPr>
      <a:lstStyle>
        <a:defPPr marL="0" marR="0" indent="0" algn="l" defTabSz="457200" rtl="0" eaLnBrk="1" fontAlgn="auto" latinLnBrk="0" hangingPunct="1">
          <a:lnSpc>
            <a:spcPct val="100000"/>
          </a:lnSpc>
          <a:spcBef>
            <a:spcPct val="20000"/>
          </a:spcBef>
          <a:spcAft>
            <a:spcPts val="0"/>
          </a:spcAft>
          <a:buClrTx/>
          <a:buSzTx/>
          <a:buFont typeface="Arial"/>
          <a:buNone/>
          <a:tabLst/>
          <a:defRPr kumimoji="0" i="0" u="none" strike="noStrike" kern="1200" spc="0" normalizeH="0" baseline="0" noProof="0" dirty="0" err="1" smtClean="0">
            <a:ln>
              <a:noFill/>
            </a:ln>
            <a:solidFill>
              <a:schemeClr val="tx2"/>
            </a:solidFill>
            <a:effectLst/>
            <a:uLnTx/>
            <a:uFillTx/>
            <a:latin typeface="Arial"/>
            <a:ea typeface="+mn-ea"/>
            <a:cs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Office Theme">
  <a:themeElements>
    <a:clrScheme name="Custom 28">
      <a:dk1>
        <a:srgbClr val="505050"/>
      </a:dk1>
      <a:lt1>
        <a:srgbClr val="FFFFFF"/>
      </a:lt1>
      <a:dk2>
        <a:srgbClr val="28509C"/>
      </a:dk2>
      <a:lt2>
        <a:srgbClr val="A0A0A0"/>
      </a:lt2>
      <a:accent1>
        <a:srgbClr val="A9208E"/>
      </a:accent1>
      <a:accent2>
        <a:srgbClr val="ED037C"/>
      </a:accent2>
      <a:accent3>
        <a:srgbClr val="F26530"/>
      </a:accent3>
      <a:accent4>
        <a:srgbClr val="ED1849"/>
      </a:accent4>
      <a:accent5>
        <a:srgbClr val="343C98"/>
      </a:accent5>
      <a:accent6>
        <a:srgbClr val="002E56"/>
      </a:accent6>
      <a:hlink>
        <a:srgbClr val="343C98"/>
      </a:hlink>
      <a:folHlink>
        <a:srgbClr val="A9208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7" id="{24170271-F4F6-154C-91B6-71F3432F5786}" vid="{89F3C850-FA82-4545-ACC2-94D30486D29F}"/>
    </a:ext>
  </a:extLst>
</a:theme>
</file>

<file path=ppt/theme/theme4.xml><?xml version="1.0" encoding="utf-8"?>
<a:theme xmlns:a="http://schemas.openxmlformats.org/drawingml/2006/main" name="1_Tema do Office">
  <a:themeElements>
    <a:clrScheme name="VOXZOGO">
      <a:dk1>
        <a:srgbClr val="000000"/>
      </a:dk1>
      <a:lt1>
        <a:srgbClr val="FFFFFF"/>
      </a:lt1>
      <a:dk2>
        <a:srgbClr val="0E2841"/>
      </a:dk2>
      <a:lt2>
        <a:srgbClr val="E8E8E8"/>
      </a:lt2>
      <a:accent1>
        <a:srgbClr val="5F3799"/>
      </a:accent1>
      <a:accent2>
        <a:srgbClr val="971F8F"/>
      </a:accent2>
      <a:accent3>
        <a:srgbClr val="EC0677"/>
      </a:accent3>
      <a:accent4>
        <a:srgbClr val="FF3031"/>
      </a:accent4>
      <a:accent5>
        <a:srgbClr val="7F2993"/>
      </a:accent5>
      <a:accent6>
        <a:srgbClr val="DA0866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Biomarin">
    <a:dk1>
      <a:srgbClr val="505050"/>
    </a:dk1>
    <a:lt1>
      <a:sysClr val="window" lastClr="FFFFFF"/>
    </a:lt1>
    <a:dk2>
      <a:srgbClr val="002D55"/>
    </a:dk2>
    <a:lt2>
      <a:srgbClr val="E7E6E6"/>
    </a:lt2>
    <a:accent1>
      <a:srgbClr val="EC1848"/>
    </a:accent1>
    <a:accent2>
      <a:srgbClr val="00529B"/>
    </a:accent2>
    <a:accent3>
      <a:srgbClr val="3D3C97"/>
    </a:accent3>
    <a:accent4>
      <a:srgbClr val="AA218D"/>
    </a:accent4>
    <a:accent5>
      <a:srgbClr val="EC037C"/>
    </a:accent5>
    <a:accent6>
      <a:srgbClr val="F16531"/>
    </a:accent6>
    <a:hlink>
      <a:srgbClr val="00529B"/>
    </a:hlink>
    <a:folHlink>
      <a:srgbClr val="AA218D"/>
    </a:folHlink>
  </a:clrScheme>
  <a:fontScheme name="Custom 1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Biomarin">
    <a:dk1>
      <a:srgbClr val="505050"/>
    </a:dk1>
    <a:lt1>
      <a:sysClr val="window" lastClr="FFFFFF"/>
    </a:lt1>
    <a:dk2>
      <a:srgbClr val="002D55"/>
    </a:dk2>
    <a:lt2>
      <a:srgbClr val="E7E6E6"/>
    </a:lt2>
    <a:accent1>
      <a:srgbClr val="EC1848"/>
    </a:accent1>
    <a:accent2>
      <a:srgbClr val="00529B"/>
    </a:accent2>
    <a:accent3>
      <a:srgbClr val="3D3C97"/>
    </a:accent3>
    <a:accent4>
      <a:srgbClr val="AA218D"/>
    </a:accent4>
    <a:accent5>
      <a:srgbClr val="EC037C"/>
    </a:accent5>
    <a:accent6>
      <a:srgbClr val="F16531"/>
    </a:accent6>
    <a:hlink>
      <a:srgbClr val="00529B"/>
    </a:hlink>
    <a:folHlink>
      <a:srgbClr val="AA218D"/>
    </a:folHlink>
  </a:clrScheme>
  <a:fontScheme name="Custom 1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26</TotalTime>
  <Words>1512</Words>
  <Application>Microsoft Office PowerPoint</Application>
  <PresentationFormat>Widescreen</PresentationFormat>
  <Paragraphs>205</Paragraphs>
  <Slides>12</Slides>
  <Notes>5</Notes>
  <HiddenSlides>0</HiddenSlides>
  <MMClips>0</MMClips>
  <ScaleCrop>false</ScaleCrop>
  <HeadingPairs>
    <vt:vector size="8" baseType="variant">
      <vt:variant>
        <vt:lpstr>Fontes usadas</vt:lpstr>
      </vt:variant>
      <vt:variant>
        <vt:i4>15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32" baseType="lpstr">
      <vt:lpstr>MS PGothic</vt:lpstr>
      <vt:lpstr>MS PGothic</vt:lpstr>
      <vt:lpstr>Aptos</vt:lpstr>
      <vt:lpstr>Aptos Black</vt:lpstr>
      <vt:lpstr>Aptos Display</vt:lpstr>
      <vt:lpstr>Arial</vt:lpstr>
      <vt:lpstr>Arial</vt:lpstr>
      <vt:lpstr>Avenir Next LT Pro</vt:lpstr>
      <vt:lpstr>Calibri</vt:lpstr>
      <vt:lpstr>Courier New</vt:lpstr>
      <vt:lpstr>Futura Medium</vt:lpstr>
      <vt:lpstr>Geneva</vt:lpstr>
      <vt:lpstr>Segoe UI</vt:lpstr>
      <vt:lpstr>System Font Regular</vt:lpstr>
      <vt:lpstr>Wingdings</vt:lpstr>
      <vt:lpstr>5_Office Theme</vt:lpstr>
      <vt:lpstr>1_Global Medical Affairs</vt:lpstr>
      <vt:lpstr>1_Office Theme</vt:lpstr>
      <vt:lpstr>1_Tema do Office</vt:lpstr>
      <vt:lpstr>Slide do think-cell</vt:lpstr>
      <vt:lpstr>tratamento medicamentoso da acondroplasia: desenvolvimento e resultados</vt:lpstr>
      <vt:lpstr>CRESCIMENTO ÓSSEO</vt:lpstr>
      <vt:lpstr>Apresentação do PowerPoint</vt:lpstr>
      <vt:lpstr>Vosoritida: Evidência Clínica Robusta</vt:lpstr>
      <vt:lpstr>Apresentação do PowerPoint</vt:lpstr>
      <vt:lpstr>Apresentação do PowerPoint</vt:lpstr>
      <vt:lpstr>Maior redução na proporção dos segmentos superior e inferior do corpo em crianças tratadas com vosoritida em comparação ao grupo não tratado         </vt:lpstr>
      <vt:lpstr>Melhora na Qualidade de Vida Relatadas por Cuidadores em Crianças Tratadas com Vosoritida por até 3 anos</vt:lpstr>
      <vt:lpstr>Segurança: ensaio clínico cumulativo e experiência no mundo real com vosoritida em &gt;6.000 pessoas-ano de acompanhamento</vt:lpstr>
      <vt:lpstr>Apresentação do PowerPoint</vt:lpstr>
      <vt:lpstr>Apresentação do PowerPoint</vt:lpstr>
      <vt:lpstr>Apresentação do PowerPoint</vt:lpstr>
    </vt:vector>
  </TitlesOfParts>
  <Company>Biomari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tamento medicamentoso da acondroplasia: desenvolvimento e resultados</dc:title>
  <dc:creator>Wilson Kuwabara</dc:creator>
  <cp:lastModifiedBy>Silvia Regina dos Santos Coelho</cp:lastModifiedBy>
  <cp:revision>2</cp:revision>
  <dcterms:created xsi:type="dcterms:W3CDTF">2025-04-02T19:25:06Z</dcterms:created>
  <dcterms:modified xsi:type="dcterms:W3CDTF">2025-04-03T18:37:23Z</dcterms:modified>
</cp:coreProperties>
</file>